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omments/modernComment_144_E138AE73.xml" ContentType="application/vnd.ms-powerpoint.comments+xml"/>
  <Override PartName="/ppt/media/image25.jpg" ContentType="image/png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091" r:id="rId1"/>
  </p:sldMasterIdLst>
  <p:notesMasterIdLst>
    <p:notesMasterId r:id="rId25"/>
  </p:notesMasterIdLst>
  <p:handoutMasterIdLst>
    <p:handoutMasterId r:id="rId26"/>
  </p:handoutMasterIdLst>
  <p:sldIdLst>
    <p:sldId id="336" r:id="rId2"/>
    <p:sldId id="2147483639" r:id="rId3"/>
    <p:sldId id="2147483647" r:id="rId4"/>
    <p:sldId id="258" r:id="rId5"/>
    <p:sldId id="2147483637" r:id="rId6"/>
    <p:sldId id="310" r:id="rId7"/>
    <p:sldId id="334" r:id="rId8"/>
    <p:sldId id="261" r:id="rId9"/>
    <p:sldId id="256" r:id="rId10"/>
    <p:sldId id="321" r:id="rId11"/>
    <p:sldId id="263" r:id="rId12"/>
    <p:sldId id="350" r:id="rId13"/>
    <p:sldId id="262" r:id="rId14"/>
    <p:sldId id="2147483641" r:id="rId15"/>
    <p:sldId id="259" r:id="rId16"/>
    <p:sldId id="257" r:id="rId17"/>
    <p:sldId id="328" r:id="rId18"/>
    <p:sldId id="317" r:id="rId19"/>
    <p:sldId id="324" r:id="rId20"/>
    <p:sldId id="302" r:id="rId21"/>
    <p:sldId id="304" r:id="rId22"/>
    <p:sldId id="260" r:id="rId23"/>
    <p:sldId id="329" r:id="rId24"/>
  </p:sldIdLst>
  <p:sldSz cx="24382413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5EAFC30-05AE-CE82-D9EC-C73A632A72E0}" name="Elena Poddubnaya" initials="" userId="S::elena-p@yandex-team.ru::09a07654-0bbd-497f-8138-42b73f2b923d" providerId="AD"/>
  <p188:author id="{7C57634C-6E5F-E853-E5BD-0C1BC1F37511}" name="Anna Solomakhina" initials="AS" userId="Anna Solomakhina" providerId="None"/>
  <p188:author id="{78B8625C-0F3B-F003-136C-AFC98E605C1B}" name="Mariia Saveleva" initials="MS" userId="Mariia Saveleva" providerId="None"/>
  <p188:author id="{268D9263-5173-028E-85A1-0B1D1D90B20F}" name="Rafael Nurtdinov" initials="А" userId="Rafael Nurtdinov" providerId="None"/>
  <p188:author id="{FD6DAE63-F9E4-88F3-AD54-28EE7FA0D49D}" name="Ksenia Kats" initials="KK" userId="Ksenia Kats" providerId="None"/>
  <p188:author id="{8567B263-A851-7CC8-8251-B02EE5EEF10B}" name="Pavel S. Zakharov" initials="PSZ" userId="S::zaza28@yandex-team.ru::136404db-e207-44a6-b25b-41fb800845bd" providerId="AD"/>
  <p188:author id="{E98C2579-F78D-504E-5BFD-263814A840DD}" name="Кети Воротникова" initials="КВ" userId="901c9ae53a1f8eab" providerId="Windows Live"/>
  <p188:author id="{43DEF7DF-DAE5-E9A4-82D5-419602ECBEDC}" name="Anastasiia Utkina" initials="AU" userId="S::utkina-a@yandex-team.ru::895dbf1e-0c19-47fe-830e-d3375f827e4c" providerId="AD"/>
  <p188:author id="{059240F9-4640-EF99-8097-955C56F878A0}" name="Anna Solomakhina" initials="AS" userId="S::asolomakhina@yandex-team.ru::1964b362-6639-48ab-87da-c2ec71af9fa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fael Nurtdinov" initials="NRR" lastIdx="53" clrIdx="0">
    <p:extLst>
      <p:ext uri="{19B8F6BF-5375-455C-9EA6-DF929625EA0E}">
        <p15:presenceInfo xmlns:p15="http://schemas.microsoft.com/office/powerpoint/2012/main" userId="Rafael Nurtdino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73FF"/>
    <a:srgbClr val="6A00EC"/>
    <a:srgbClr val="0F141E"/>
    <a:srgbClr val="A2FF9A"/>
    <a:srgbClr val="A0AFC8"/>
    <a:srgbClr val="465161"/>
    <a:srgbClr val="4B3CFF"/>
    <a:srgbClr val="00EAEE"/>
    <a:srgbClr val="191E28"/>
    <a:srgbClr val="8495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42" autoAdjust="0"/>
    <p:restoredTop sz="71088" autoAdjust="0"/>
  </p:normalViewPr>
  <p:slideViewPr>
    <p:cSldViewPr snapToGrid="0">
      <p:cViewPr varScale="1">
        <p:scale>
          <a:sx n="54" d="100"/>
          <a:sy n="54" d="100"/>
        </p:scale>
        <p:origin x="920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9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omments/modernComment_144_E138AE7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A46A0D2-FA5F-4EAA-84A9-F47C6E0E4E87}" authorId="{268D9263-5173-028E-85A1-0B1D1D90B20F}" created="2026-06-25T11:27:14.77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778588275" sldId="324"/>
      <ac:spMk id="4389" creationId="{B4360F45-C59F-448E-ADD4-8633862853C8}"/>
      <ac:txMk cp="30" len="9">
        <ac:context len="52" hash="4124137429"/>
      </ac:txMk>
    </ac:txMkLst>
    <p188:pos x="3991909" y="967392"/>
    <p188:txBody>
      <a:bodyPr/>
      <a:lstStyle/>
      <a:p>
        <a:r>
          <a:rPr lang="ru-RU"/>
          <a:t>именно в Поиске, не в чате?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D229825-10BF-3644-89E6-B049F279C70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7DFDF4-DBC1-EA4C-B550-27B9F4CFCEE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59C77B-EB7F-884A-84DB-B0F1F9ECE81D}" type="datetimeFigureOut">
              <a:rPr lang="en-RU" smtClean="0">
                <a:latin typeface="YS Text Regular" pitchFamily="2" charset="0"/>
              </a:rPr>
              <a:t>6/25/26</a:t>
            </a:fld>
            <a:endParaRPr lang="en-RU">
              <a:latin typeface="YS Text Regular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3DF04F-742A-0A47-894F-5D9D94E722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15E168-A95F-9D40-9ADB-977035C71C7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82F69E-2033-F148-9CE9-92E594800F98}" type="slidenum">
              <a:rPr lang="en-RU" smtClean="0">
                <a:latin typeface="YS Text Regular" pitchFamily="2" charset="0"/>
              </a:rPr>
              <a:t>‹#›</a:t>
            </a:fld>
            <a:endParaRPr lang="en-RU">
              <a:latin typeface="YS Text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2457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7B954CF8-AF7E-4EB9-A796-066AA6FAAF3E}" type="datetimeFigureOut">
              <a:rPr lang="ru-RU" smtClean="0"/>
              <a:pPr/>
              <a:t>25.06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ACE75DF2-1DC0-40EC-8693-A70E2755161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0390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1pPr>
    <a:lvl2pPr marL="914354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2pPr>
    <a:lvl3pPr marL="1828709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3pPr>
    <a:lvl4pPr marL="2743063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4pPr>
    <a:lvl5pPr marL="3657417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A3451A-89CD-7C39-D659-D6C3AA0EC9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B82F5F6E-5ACE-4437-08DA-4F00F4905E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 lang="ru-RU"/>
          </a:p>
        </p:txBody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DBFF6644-247D-F203-83C0-9D63CEE717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И — это уже не фича. Это новая инфраструктура рекламного рынка.</a:t>
            </a:r>
            <a:endParaRPr lang="ru-RU" b="0" dirty="0">
              <a:effectLst/>
            </a:endParaRPr>
          </a:p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По данным Ромир, нейросети уже используют больше 60% представителей бизнеса — и это данные февраля 2026-го. Рынок прошёл точку невозврата.</a:t>
            </a:r>
            <a:endParaRPr lang="ru-RU" b="0" dirty="0">
              <a:effectLst/>
            </a:endParaRPr>
          </a:p>
          <a:p>
            <a:pPr rtl="0"/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Яндекс видит это изнутри: 620 000 активных рекламодателей — по сути, мы зеркало российского рекламного рынка. И мы видим, что сегодня 85% рекламодателей запускают кампании с помощью ИИ</a:t>
            </a:r>
            <a:endParaRPr lang="ru-RU" b="0" dirty="0">
              <a:effectLst/>
            </a:endParaRPr>
          </a:p>
          <a:p>
            <a:pPr rtl="0"/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endParaRPr lang="ru-RU" b="0" dirty="0">
              <a:effectLst/>
            </a:endParaRPr>
          </a:p>
          <a:p>
            <a:br>
              <a:rPr lang="ru-RU" dirty="0"/>
            </a:br>
            <a:endParaRPr lang="ru-RU" b="0" dirty="0">
              <a:effectLst/>
            </a:endParaRPr>
          </a:p>
          <a:p>
            <a:pPr rtl="0"/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endParaRPr lang="ru-RU" b="0" dirty="0">
              <a:effectLst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48D55D9-0B52-2B35-E910-73E97CB43F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70750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7F8EAF-CC7F-8A32-1EDB-CB5802DDB6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70ADC461-A3D5-9B4A-FDBD-4B94AFA568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F58E99DB-8D9C-8DDE-18CA-C3F6A6EB8A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CA2EEDD-E018-485F-0ABA-4EB4DEE831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15555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79">
          <a:extLst>
            <a:ext uri="{FF2B5EF4-FFF2-40B4-BE49-F238E27FC236}">
              <a16:creationId xmlns:a16="http://schemas.microsoft.com/office/drawing/2014/main" id="{AC8DF179-62B0-5D83-5414-9320BFD6F5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0" name="Google Shape;4380;g3ec18748a0a_2_1387:notes">
            <a:extLst>
              <a:ext uri="{FF2B5EF4-FFF2-40B4-BE49-F238E27FC236}">
                <a16:creationId xmlns:a16="http://schemas.microsoft.com/office/drawing/2014/main" id="{C269247C-0F2B-FDDE-72ED-63D5CEC1B6F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81" name="Google Shape;4381;g3ec18748a0a_2_1387:notes">
            <a:extLst>
              <a:ext uri="{FF2B5EF4-FFF2-40B4-BE49-F238E27FC236}">
                <a16:creationId xmlns:a16="http://schemas.microsoft.com/office/drawing/2014/main" id="{F811EFD6-D307-8CF1-A5C0-2FCBECB3809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Яндекс запустил форматы продвижения в Алисе AI ещё летом 2025-го — к концу года они охватили 100% пользователей. Еженедельная аудитория Алисы — более 20 млн человек. Рекламные объявления сегодня появляются в 10% ответов нейросети. Мы тестируем три модели: рекламную, подписочную, транзакционную. Потому что будущее — не в одной модели. Выручка от экспериментов с монетизацией ИИ в 2025 году превысила 2 млрд рублей.</a:t>
            </a:r>
            <a:endParaRPr lang="ru-RU" b="0" dirty="0">
              <a:effectLst/>
            </a:endParaRPr>
          </a:p>
          <a:p>
            <a:pPr rtl="0"/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endParaRPr lang="ru-RU" b="0" dirty="0">
              <a:effectLst/>
            </a:endParaRPr>
          </a:p>
          <a:p>
            <a:br>
              <a:rPr lang="ru-RU" dirty="0"/>
            </a:br>
            <a:endParaRPr dirty="0"/>
          </a:p>
        </p:txBody>
      </p:sp>
      <p:sp>
        <p:nvSpPr>
          <p:cNvPr id="4382" name="Google Shape;4382;g3ec18748a0a_2_1387:notes">
            <a:extLst>
              <a:ext uri="{FF2B5EF4-FFF2-40B4-BE49-F238E27FC236}">
                <a16:creationId xmlns:a16="http://schemas.microsoft.com/office/drawing/2014/main" id="{0BC542CE-18CC-CCAC-37B0-88B231A24BA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2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93181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43A437-F538-AE39-B8E6-8E5FD727CA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D4032D6A-10FB-D01C-B112-32A1B4B0AC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8FDF10E-FC6B-1176-7AD9-06734A022B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9D112F-9672-FE6F-F3CE-F1BCD3EA32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65190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76731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A535F2-FAF2-7E15-D35A-28F63C7144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A1069D6F-BC78-AE71-E911-DA52967C00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D94CD40C-CA21-DBAF-9F1F-B761CDD73F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638C7E6-E17F-0079-BE8A-FCE7B44113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20505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32F44E-C202-636E-47EB-DB964216BF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BFA41DD-81EF-D55A-BDCF-E1DF3F2310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54C2B8F2-E34B-5D3F-2C3F-A0A8916F40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По нашим оценкам, к 2030 году рынок онлайн-транзакций превысит 30 трлн рублей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A916038-E9EB-016A-112B-3DFFDEE2B6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71397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EC577E-611D-2299-AFEC-4794E55596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32C8C4D0-1EA4-75AA-5BC6-DA08AAABFD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EE079B54-87A8-8F1C-4F66-DE761D5CFB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Не менее 10% из них придётся на покупки внутри ИИ-ассистентов.</a:t>
            </a:r>
            <a:endParaRPr lang="ru-RU" b="0" dirty="0">
              <a:effectLst/>
            </a:endParaRPr>
          </a:p>
          <a:p>
            <a:pPr rtl="0"/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endParaRPr lang="ru-RU" b="0" dirty="0">
              <a:effectLst/>
            </a:endParaRPr>
          </a:p>
          <a:p>
            <a:br>
              <a:rPr lang="ru-RU" dirty="0"/>
            </a:br>
            <a:endParaRPr lang="ru-RU" dirty="0"/>
          </a:p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654715E-D1BE-2A7E-E759-1D48BEECEE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7685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Что это означает для рекламы? Целевая аудитория расширяется: теперь это не только человек, но и его агент. Реклама не исчезает — она перестраивается. Нужно быть видимым для алгоритма, не только для человека.</a:t>
            </a:r>
            <a:endParaRPr lang="ru-RU" b="0" dirty="0">
              <a:effectLst/>
            </a:endParaRPr>
          </a:p>
          <a:p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22829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79">
          <a:extLst>
            <a:ext uri="{FF2B5EF4-FFF2-40B4-BE49-F238E27FC236}">
              <a16:creationId xmlns:a16="http://schemas.microsoft.com/office/drawing/2014/main" id="{24B73437-B9C8-29B5-58EA-7996026EB7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0" name="Google Shape;4380;g3ec18748a0a_2_1387:notes">
            <a:extLst>
              <a:ext uri="{FF2B5EF4-FFF2-40B4-BE49-F238E27FC236}">
                <a16:creationId xmlns:a16="http://schemas.microsoft.com/office/drawing/2014/main" id="{69AD917F-6A79-6E5B-38F4-CE9D32A8D6F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81" name="Google Shape;4381;g3ec18748a0a_2_1387:notes">
            <a:extLst>
              <a:ext uri="{FF2B5EF4-FFF2-40B4-BE49-F238E27FC236}">
                <a16:creationId xmlns:a16="http://schemas.microsoft.com/office/drawing/2014/main" id="{1F70D3C5-73A7-3D3F-9D3F-95D6D6EE725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Яндекс готов к этому миру: рекомендательная система, данные, инвентарь — инфраструктура уже есть.  В 2025 году мы начали тестировать показ  объявлений рекламодателей в чатах с Алисой AI. Эти тесты продолжаются. Новый механизм подбора основан не только на анализе текущего запроса пользователя, но и текста ответа Алисы AI. Рекомендательная система сопоставляет смысл запроса и ответа с объектом продвижения, используя технологии ИИ. Это позволяет алгоритмам подбирать объявления рекламодателей так, что они наилучшим образом подходят для решения задачи пользователя. 260 000 бизнесов  уже </a:t>
            </a:r>
            <a:r>
              <a:rPr lang="ru-RU" sz="2400" b="0" i="0" u="none" strike="noStrike" kern="1200" dirty="0" err="1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прорекламировались</a:t>
            </a: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 в Алисе на Поиске. </a:t>
            </a:r>
            <a:endParaRPr lang="ru-RU" b="0" dirty="0">
              <a:effectLst/>
            </a:endParaRPr>
          </a:p>
          <a:p>
            <a:pPr rtl="0"/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endParaRPr lang="ru-RU" b="0" dirty="0">
              <a:effectLst/>
            </a:endParaRPr>
          </a:p>
          <a:p>
            <a:br>
              <a:rPr lang="ru-RU" dirty="0"/>
            </a:br>
            <a:endParaRPr dirty="0"/>
          </a:p>
        </p:txBody>
      </p:sp>
      <p:sp>
        <p:nvSpPr>
          <p:cNvPr id="4382" name="Google Shape;4382;g3ec18748a0a_2_1387:notes">
            <a:extLst>
              <a:ext uri="{FF2B5EF4-FFF2-40B4-BE49-F238E27FC236}">
                <a16:creationId xmlns:a16="http://schemas.microsoft.com/office/drawing/2014/main" id="{7247F594-8120-5832-2787-512DD4CF343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9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915567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79">
          <a:extLst>
            <a:ext uri="{FF2B5EF4-FFF2-40B4-BE49-F238E27FC236}">
              <a16:creationId xmlns:a16="http://schemas.microsoft.com/office/drawing/2014/main" id="{94597BB9-8D15-17B4-82F3-F461F7B6E1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0" name="Google Shape;4380;g3ec18748a0a_2_1387:notes">
            <a:extLst>
              <a:ext uri="{FF2B5EF4-FFF2-40B4-BE49-F238E27FC236}">
                <a16:creationId xmlns:a16="http://schemas.microsoft.com/office/drawing/2014/main" id="{EDA985DF-CA0A-E293-3CA5-CF9B07F44CC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81" name="Google Shape;4381;g3ec18748a0a_2_1387:notes">
            <a:extLst>
              <a:ext uri="{FF2B5EF4-FFF2-40B4-BE49-F238E27FC236}">
                <a16:creationId xmlns:a16="http://schemas.microsoft.com/office/drawing/2014/main" id="{6E64FC26-9077-C071-1543-7BF39F982C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Мы провели опрос среди рекламных агентств. ХХ% уже используют ИИ в работе. Но важнее не цифра проникновения — важно, как именно.</a:t>
            </a:r>
            <a:endParaRPr lang="ru-RU" b="0" dirty="0">
              <a:effectLst/>
            </a:endParaRPr>
          </a:p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Три роли, которые ИИ берёт на себя уже сегодня:</a:t>
            </a:r>
            <a:endParaRPr lang="ru-RU" b="0" dirty="0">
              <a:effectLst/>
            </a:endParaRPr>
          </a:p>
          <a:p>
            <a:pPr rtl="0"/>
            <a:r>
              <a:rPr lang="ru-RU" sz="2400" b="1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Производство.</a:t>
            </a: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 Генерация креативов, </a:t>
            </a:r>
            <a:r>
              <a:rPr lang="ru-RU" sz="2400" b="0" i="0" u="none" strike="noStrike" kern="1200" dirty="0" err="1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переформулировки</a:t>
            </a: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, </a:t>
            </a:r>
            <a:r>
              <a:rPr lang="ru-RU" sz="2400" b="0" i="0" u="none" strike="noStrike" kern="1200" dirty="0" err="1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A</a:t>
            </a: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/</a:t>
            </a:r>
            <a:r>
              <a:rPr lang="ru-RU" sz="2400" b="0" i="0" u="none" strike="noStrike" kern="1200" dirty="0" err="1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B</a:t>
            </a: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-тесты — Директ делает это сам. Агентство освобождает ресурс от рутины.</a:t>
            </a:r>
            <a:endParaRPr lang="ru-RU" b="0" dirty="0">
              <a:effectLst/>
            </a:endParaRPr>
          </a:p>
          <a:p>
            <a:pPr rtl="0"/>
            <a:r>
              <a:rPr lang="ru-RU" sz="2400" b="1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Аналитика.</a:t>
            </a: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 ИИ-помощник в Метрике превращает данные в готовые выводы. Агентство перестаёт продавать выгрузки и начинает продавать интерпретацию.</a:t>
            </a:r>
            <a:endParaRPr lang="ru-RU" b="0" dirty="0">
              <a:effectLst/>
            </a:endParaRPr>
          </a:p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ХХ </a:t>
            </a:r>
            <a:endParaRPr lang="ru-RU" b="0" dirty="0">
              <a:effectLst/>
            </a:endParaRPr>
          </a:p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YY</a:t>
            </a:r>
            <a:endParaRPr lang="ru-RU" b="0" dirty="0">
              <a:effectLst/>
            </a:endParaRPr>
          </a:p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Тем не менее, есть то, что ИИ не заменит. Понимание бизнеса клиента, постановка задач для алгоритмов, управление экосистемой — это человеческая экспертиза. Агентства сегодня не под ударом. Они, напротив, получают новые инструменты, чтобы делать то же самое лучше, быстрее и дороже.</a:t>
            </a:r>
            <a:endParaRPr lang="ru-RU" b="0" dirty="0">
              <a:effectLst/>
            </a:endParaRPr>
          </a:p>
          <a:p>
            <a:pPr rtl="0"/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endParaRPr lang="ru-RU" b="0" dirty="0">
              <a:effectLst/>
            </a:endParaRPr>
          </a:p>
          <a:p>
            <a:br>
              <a:rPr lang="ru-RU" dirty="0"/>
            </a:br>
            <a:endParaRPr dirty="0"/>
          </a:p>
        </p:txBody>
      </p:sp>
      <p:sp>
        <p:nvSpPr>
          <p:cNvPr id="4382" name="Google Shape;4382;g3ec18748a0a_2_1387:notes">
            <a:extLst>
              <a:ext uri="{FF2B5EF4-FFF2-40B4-BE49-F238E27FC236}">
                <a16:creationId xmlns:a16="http://schemas.microsoft.com/office/drawing/2014/main" id="{6B075178-35E5-6986-2593-38DC1E5D4A6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21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9929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Что это означает для рекламы? Целевая аудитория расширяется: теперь это не только человек, но и его агент. Реклама не исчезает — она перестраивается. Нужно быть видимым для алгоритма, не только для человека.</a:t>
            </a:r>
            <a:endParaRPr lang="ru-RU" b="0" dirty="0">
              <a:effectLst/>
            </a:endParaRP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67893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0662AA-0514-3AC1-3C34-A66E68D58B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7FEFBA00-79C6-5008-B7FE-C859AB1456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9349ED0A-A96E-B470-4CEB-7EF6D16F5E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Тем не менее, есть то, что ИИ не заменит. Понимание бизнеса клиента, постановка задач для алгоритмов, управление экосистемой — это человеческая экспертиза. Агентства сегодня не под ударом. Они, напротив, получают новые инструменты, чтобы делать то же самое лучше, быстрее и дороже.</a:t>
            </a:r>
            <a:endParaRPr lang="ru-RU" b="0" dirty="0">
              <a:effectLst/>
            </a:endParaRPr>
          </a:p>
          <a:p>
            <a:br>
              <a:rPr lang="ru-RU" dirty="0"/>
            </a:b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A103D8-8EE5-CE0C-C868-EEA780C8E9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092360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Вопрос не в том, использовать ли ИИ. Вопрос в том, кто научится управлять им раньше остальных.</a:t>
            </a:r>
            <a:endParaRPr lang="ru-RU" b="0" dirty="0">
              <a:effectLst/>
            </a:endParaRPr>
          </a:p>
          <a:p>
            <a:pPr rtl="0"/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endParaRPr lang="ru-RU" b="0" dirty="0">
              <a:effectLst/>
            </a:endParaRPr>
          </a:p>
          <a:p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66429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8DD3EA-5909-99E4-26AF-DD9141DCA2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BEFF4F4E-36C8-33B9-C6A5-1242736DA1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21EF1043-9AFD-B54B-B6CF-D7DD042038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F87DEB6-A4E9-6118-1480-76D2DD1BE1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03770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5">
          <a:extLst>
            <a:ext uri="{FF2B5EF4-FFF2-40B4-BE49-F238E27FC236}">
              <a16:creationId xmlns:a16="http://schemas.microsoft.com/office/drawing/2014/main" id="{16050093-AF46-4FCC-3D39-2C22A89D46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" name="Google Shape;766;g3edb634b934_2_722:notes">
            <a:extLst>
              <a:ext uri="{FF2B5EF4-FFF2-40B4-BE49-F238E27FC236}">
                <a16:creationId xmlns:a16="http://schemas.microsoft.com/office/drawing/2014/main" id="{5183DA32-3A4A-D51D-F7DE-389C42C388B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Каждый раз, когда пользователь видит рекламу — за этим стоит решение, принятое за 200 миллисекунд. Не человеком. Алгоритмом. </a:t>
            </a:r>
            <a:br>
              <a:rPr lang="ru-RU" dirty="0"/>
            </a:br>
            <a:endParaRPr dirty="0"/>
          </a:p>
        </p:txBody>
      </p:sp>
      <p:sp>
        <p:nvSpPr>
          <p:cNvPr id="767" name="Google Shape;767;g3edb634b934_2_722:notes">
            <a:extLst>
              <a:ext uri="{FF2B5EF4-FFF2-40B4-BE49-F238E27FC236}">
                <a16:creationId xmlns:a16="http://schemas.microsoft.com/office/drawing/2014/main" id="{B314140F-A23B-19F6-3460-20C9910E09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029276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Нейротехнологии очень глубоко проникли в продукты Яндекс </a:t>
            </a:r>
            <a:r>
              <a:rPr lang="ru-RU" sz="2400" b="0" i="0" u="none" strike="noStrike" kern="1200" dirty="0" err="1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Рекамы</a:t>
            </a: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. По итогам 2025 года они  повысили общую эффективность Директа на 38%. Сейчас это позволяет нам расти быстрее темпов рынка. Буквально в начале недели АКАР выпустили отчет за 1 квартал. И сравнивая с нашими радарами, мы видим, что наши цифры выше средних темпов по индустрии. И в первую очередь это результат роста эффективности рекламы. Точки роста здесь: DOOH, CTV, </a:t>
            </a:r>
            <a:r>
              <a:rPr lang="ru-RU" sz="2400" b="0" i="0" u="none" strike="noStrike" kern="1200" dirty="0" err="1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инфлюенс</a:t>
            </a: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-маркетинг. </a:t>
            </a:r>
            <a:endParaRPr lang="ru-RU" b="0" dirty="0">
              <a:effectLst/>
            </a:endParaRPr>
          </a:p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Рекламные технологии Яндекса - одна из крупнейших в России и Европе рекомендательной системой, а также входят в число мировых лидеров по масштабу пользовательского опыта наравне с </a:t>
            </a:r>
            <a:r>
              <a:rPr lang="en-US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Google, Amazon, Taobao, Pinterest, Spotify </a:t>
            </a: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и др. Индустрия сегодня двигается от поэтапных воронок к сквозным архитектурам. ИИ перестаёт быть надстройкой над рекламой. Он становится её несущей конструкцией.</a:t>
            </a:r>
            <a:endParaRPr lang="ru-RU" b="0" dirty="0">
              <a:effectLst/>
            </a:endParaRPr>
          </a:p>
          <a:p>
            <a:pPr rtl="0"/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endParaRPr lang="ru-RU" b="0" dirty="0">
              <a:effectLst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71429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В апреле 2026 года мы внедрили в наши рекламные технологии собственную нейросетевую архитектуру Аргус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39552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B24E99-59F6-072D-2A87-EF408270A8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F6653D4A-0C22-5C77-B9F8-A06EEFF739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 lang="ru-RU"/>
          </a:p>
        </p:txBody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DCBDBEB-8FB5-0CDD-FC71-E223EB5292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 Раньше наши алгоритмы «помнили» до 256 действий пользователя. Теперь — до 8 000. Глубина памяти выросла в 30 раз.</a:t>
            </a:r>
            <a:endParaRPr lang="ru-RU" b="0" dirty="0">
              <a:effectLst/>
            </a:endParaRPr>
          </a:p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8F4F3FE-5A10-2F25-A02E-486AD5C726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73637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817F9A-EB5D-D483-040B-00E905F38A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620F5CF2-58FF-AB6B-BF12-BB96151A1E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49A4DE4-643A-EDA7-F59E-27FEEFD71F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B8CDDDE-93EC-C375-A939-63804EF3F5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4174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По итогам I квартала 2026 года 85% рекламных бюджетов в Яндексе полностью управляются ИИ. 65% рекламодателей используют ИИ для оптимизации текстов. Почти каждый третий баннер создаётся нейросетью.</a:t>
            </a:r>
            <a:endParaRPr lang="ru-RU" b="0" dirty="0">
              <a:effectLst/>
            </a:endParaRPr>
          </a:p>
          <a:p>
            <a:pPr rtl="0"/>
            <a: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  <a:t>Это не будущее. Это уже сегодня.</a:t>
            </a:r>
            <a:endParaRPr lang="ru-RU" b="0" dirty="0">
              <a:effectLst/>
            </a:endParaRPr>
          </a:p>
          <a:p>
            <a:pPr rtl="0"/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br>
              <a:rPr lang="ru-RU" sz="2400" b="0" i="0" u="none" strike="noStrike" kern="1200" dirty="0">
                <a:solidFill>
                  <a:schemeClr val="tx1"/>
                </a:solidFill>
                <a:effectLst/>
                <a:latin typeface="YS Text Regular" pitchFamily="2" charset="0"/>
                <a:ea typeface="+mn-ea"/>
                <a:cs typeface="+mn-cs"/>
              </a:rPr>
            </a:br>
            <a:endParaRPr lang="ru-RU" b="0" dirty="0">
              <a:effectLst/>
            </a:endParaRPr>
          </a:p>
          <a:p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3874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1407039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796400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B91C1BE-9757-F6C2-CA00-D5F9E9E5C5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1144194"/>
            <a:ext cx="17862550" cy="3662734"/>
          </a:xfrm>
        </p:spPr>
        <p:txBody>
          <a:bodyPr vert="horz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88C61EF0-1A83-6293-2304-9718A527A40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70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5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3F413DB7-B596-1296-851D-73CB81551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DEE1852F-A42F-4480-9CEE-1F11E764A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0800"/>
            <a:ext cx="21492000" cy="1534010"/>
          </a:xfrm>
        </p:spPr>
        <p:txBody>
          <a:bodyPr/>
          <a:lstStyle>
            <a:lvl1pPr algn="l" defTabSz="1828709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lang="ru-RU" sz="5600" b="0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r>
              <a:rPr lang="en-US" dirty="0"/>
              <a:t>56 pt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35276267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56 pt + 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085D6528-428C-99AD-5A70-31A52E8CC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890395B1-EA0E-6BA5-188F-731A73A75E3D}"/>
              </a:ext>
            </a:extLst>
          </p:cNvPr>
          <p:cNvSpPr/>
          <p:nvPr/>
        </p:nvSpPr>
        <p:spPr>
          <a:xfrm>
            <a:off x="301624" y="302400"/>
            <a:ext cx="8702676" cy="13104812"/>
          </a:xfrm>
          <a:prstGeom prst="roundRect">
            <a:avLst>
              <a:gd name="adj" fmla="val 355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AC47B5AB-4F26-9000-A58A-9319661CD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9999" y="12369600"/>
            <a:ext cx="6654799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818F1B2D-9B2F-E402-C1F4-D1579F1A4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0800"/>
            <a:ext cx="6654799" cy="1533600"/>
          </a:xfrm>
        </p:spPr>
        <p:txBody>
          <a:bodyPr/>
          <a:lstStyle>
            <a:lvl1pPr algn="l" defTabSz="1828709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lang="ru-RU" sz="5600" b="0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r>
              <a:rPr lang="en-US" dirty="0"/>
              <a:t>56 pt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4856027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4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316FD2ED-9AC7-F3AD-B80D-0C765DEE4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62C427DF-3DDF-582C-ECDD-CCA124D334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4400"/>
            <a:ext cx="21492000" cy="615553"/>
          </a:xfrm>
        </p:spPr>
        <p:txBody>
          <a:bodyPr/>
          <a:lstStyle>
            <a:lvl1pPr>
              <a:lnSpc>
                <a:spcPct val="100000"/>
              </a:lnSpc>
              <a:defRPr sz="4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Небольшой заголовок </a:t>
            </a:r>
            <a:r>
              <a:rPr lang="en-US" dirty="0"/>
              <a:t>40 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70264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9E87C3E4-1A2E-C85E-B064-18A9B2C2E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592360" y="12366000"/>
            <a:ext cx="327013" cy="317972"/>
          </a:xfrm>
        </p:spPr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FE4CC2B2-965C-2419-EEAC-930A033226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</p:spTree>
    <p:extLst>
      <p:ext uri="{BB962C8B-B14F-4D97-AF65-F5344CB8AC3E}">
        <p14:creationId xmlns:p14="http://schemas.microsoft.com/office/powerpoint/2010/main" val="1808777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>
            <a:extLst>
              <a:ext uri="{FF2B5EF4-FFF2-40B4-BE49-F238E27FC236}">
                <a16:creationId xmlns:a16="http://schemas.microsoft.com/office/drawing/2014/main" id="{2C293702-EB37-CFF7-A1CB-233E37A4FFD1}"/>
              </a:ext>
            </a:extLst>
          </p:cNvPr>
          <p:cNvSpPr/>
          <p:nvPr userDrawn="1"/>
        </p:nvSpPr>
        <p:spPr>
          <a:xfrm>
            <a:off x="7794626" y="302400"/>
            <a:ext cx="16281400" cy="13104812"/>
          </a:xfrm>
          <a:prstGeom prst="roundRect">
            <a:avLst>
              <a:gd name="adj" fmla="val 227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footer">
            <a:extLst>
              <a:ext uri="{FF2B5EF4-FFF2-40B4-BE49-F238E27FC236}">
                <a16:creationId xmlns:a16="http://schemas.microsoft.com/office/drawing/2014/main" id="{77DBA660-865D-CA4E-1D16-3AED7BF540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0" y="12369600"/>
            <a:ext cx="5760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A05461F4-A499-2550-42AD-F07444CD2D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53032" y="2012612"/>
            <a:ext cx="5738343" cy="9849950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3000"/>
              </a:spcAft>
              <a:def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4D99278-2D64-1EC1-F7A0-008DCCB5F8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1088" y="3838025"/>
            <a:ext cx="14228293" cy="1238400"/>
          </a:xfrm>
        </p:spPr>
        <p:txBody>
          <a:bodyPr/>
          <a:lstStyle>
            <a:lvl1pPr>
              <a:lnSpc>
                <a:spcPct val="105000"/>
              </a:lnSpc>
              <a:spcAft>
                <a:spcPts val="0"/>
              </a:spcAft>
              <a:defRPr sz="2600"/>
            </a:lvl1pPr>
          </a:lstStyle>
          <a:p>
            <a:pPr lvl="0"/>
            <a:r>
              <a:rPr lang="ru-RU" dirty="0"/>
              <a:t>Результат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F41362D4-2514-73A2-0B32-F52D81C9D6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01088" y="1659600"/>
            <a:ext cx="14228293" cy="1688319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lang="ru-RU" sz="4800" kern="1200" dirty="0">
                <a:solidFill>
                  <a:schemeClr val="bg1"/>
                </a:solidFill>
                <a:latin typeface="YS Display Bold" pitchFamily="2" charset="-52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CDE8DD09-71DE-3758-BD48-321A7114BF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8000" y="982800"/>
            <a:ext cx="3023229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algn="r" fontAlgn="auto">
              <a:buClrTx/>
              <a:buSzTx/>
            </a:pPr>
            <a:r>
              <a:rPr lang="ru-RU" dirty="0"/>
              <a:t>ДАТА</a:t>
            </a:r>
          </a:p>
        </p:txBody>
      </p:sp>
      <p:sp>
        <p:nvSpPr>
          <p:cNvPr id="15" name="company">
            <a:extLst>
              <a:ext uri="{FF2B5EF4-FFF2-40B4-BE49-F238E27FC236}">
                <a16:creationId xmlns:a16="http://schemas.microsoft.com/office/drawing/2014/main" id="{556C3212-9887-624B-6E5B-C699D40D7A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3903" y="982800"/>
            <a:ext cx="9936000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fontAlgn="auto">
              <a:buClrTx/>
              <a:buSzTx/>
            </a:pPr>
            <a:r>
              <a:rPr lang="ru-RU" dirty="0"/>
              <a:t>НАЗВАНИЕ КОМПАНИИ</a:t>
            </a:r>
          </a:p>
        </p:txBody>
      </p:sp>
      <p:sp>
        <p:nvSpPr>
          <p:cNvPr id="17" name="icon">
            <a:extLst>
              <a:ext uri="{FF2B5EF4-FFF2-40B4-BE49-F238E27FC236}">
                <a16:creationId xmlns:a16="http://schemas.microsoft.com/office/drawing/2014/main" id="{E387E008-74EB-B835-C1A7-2F71574318BF}"/>
              </a:ext>
            </a:extLst>
          </p:cNvPr>
          <p:cNvSpPr>
            <a:spLocks noChangeAspect="1"/>
          </p:cNvSpPr>
          <p:nvPr userDrawn="1"/>
        </p:nvSpPr>
        <p:spPr>
          <a:xfrm>
            <a:off x="8719402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solidFill>
              <a:srgbClr val="6E82AA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case">
            <a:extLst>
              <a:ext uri="{FF2B5EF4-FFF2-40B4-BE49-F238E27FC236}">
                <a16:creationId xmlns:a16="http://schemas.microsoft.com/office/drawing/2014/main" id="{B2E2BA34-8040-DAC0-45A2-9E83D1942165}"/>
              </a:ext>
            </a:extLst>
          </p:cNvPr>
          <p:cNvSpPr/>
          <p:nvPr userDrawn="1"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  <p:sp>
        <p:nvSpPr>
          <p:cNvPr id="3" name="footer">
            <a:extLst>
              <a:ext uri="{FF2B5EF4-FFF2-40B4-BE49-F238E27FC236}">
                <a16:creationId xmlns:a16="http://schemas.microsoft.com/office/drawing/2014/main" id="{BBD51A12-5918-0654-C644-1150BC9D28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13637" y="12369600"/>
            <a:ext cx="14220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</p:spTree>
    <p:extLst>
      <p:ext uri="{BB962C8B-B14F-4D97-AF65-F5344CB8AC3E}">
        <p14:creationId xmlns:p14="http://schemas.microsoft.com/office/powerpoint/2010/main" val="2373248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8CFBFECA-8448-4E85-B236-8AF0376F920D}"/>
              </a:ext>
            </a:extLst>
          </p:cNvPr>
          <p:cNvSpPr/>
          <p:nvPr userDrawn="1"/>
        </p:nvSpPr>
        <p:spPr>
          <a:xfrm>
            <a:off x="12341224" y="303213"/>
            <a:ext cx="11734801" cy="13104812"/>
          </a:xfrm>
          <a:prstGeom prst="roundRect">
            <a:avLst>
              <a:gd name="adj" fmla="val 259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681CE9AC-2844-D72E-CC94-E8914BB194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0" y="12369600"/>
            <a:ext cx="9381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10" name="data">
            <a:extLst>
              <a:ext uri="{FF2B5EF4-FFF2-40B4-BE49-F238E27FC236}">
                <a16:creationId xmlns:a16="http://schemas.microsoft.com/office/drawing/2014/main" id="{D6CC76B7-9061-6038-9800-1FED6948BC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483144" y="982618"/>
            <a:ext cx="2448000" cy="307777"/>
          </a:xfrm>
        </p:spPr>
        <p:txBody>
          <a:bodyPr vert="horz" wrap="square" lIns="0" tIns="0" rIns="0" bIns="0" rtlCol="0">
            <a:spAutoFit/>
          </a:bodyPr>
          <a:lstStyle>
            <a:lvl1pPr algn="r"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fontAlgn="auto">
              <a:buClrTx/>
              <a:buSzTx/>
            </a:pPr>
            <a:r>
              <a:rPr lang="ru-RU" dirty="0"/>
              <a:t>ДАТА</a:t>
            </a:r>
          </a:p>
        </p:txBody>
      </p:sp>
      <p:sp>
        <p:nvSpPr>
          <p:cNvPr id="9" name="company">
            <a:extLst>
              <a:ext uri="{FF2B5EF4-FFF2-40B4-BE49-F238E27FC236}">
                <a16:creationId xmlns:a16="http://schemas.microsoft.com/office/drawing/2014/main" id="{25CC4E7F-CAE9-0019-53DC-E8B7B389C9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95292" y="982618"/>
            <a:ext cx="55800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000" spc="150" baseline="0">
                <a:solidFill>
                  <a:srgbClr val="6E82AA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КОМПАНИИ</a:t>
            </a:r>
          </a:p>
        </p:txBody>
      </p:sp>
      <p:sp>
        <p:nvSpPr>
          <p:cNvPr id="8" name="icon">
            <a:extLst>
              <a:ext uri="{FF2B5EF4-FFF2-40B4-BE49-F238E27FC236}">
                <a16:creationId xmlns:a16="http://schemas.microsoft.com/office/drawing/2014/main" id="{F7D68EDF-5ECE-C22A-05B2-60EB20DC42DF}"/>
              </a:ext>
            </a:extLst>
          </p:cNvPr>
          <p:cNvSpPr>
            <a:spLocks noChangeAspect="1"/>
          </p:cNvSpPr>
          <p:nvPr/>
        </p:nvSpPr>
        <p:spPr>
          <a:xfrm>
            <a:off x="13540791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case">
            <a:extLst>
              <a:ext uri="{FF2B5EF4-FFF2-40B4-BE49-F238E27FC236}">
                <a16:creationId xmlns:a16="http://schemas.microsoft.com/office/drawing/2014/main" id="{0201677F-2D91-376B-CE40-87ADF062D229}"/>
              </a:ext>
            </a:extLst>
          </p:cNvPr>
          <p:cNvSpPr/>
          <p:nvPr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4D51624A-E79D-0623-B246-F648CD97B5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41451" y="5713200"/>
            <a:ext cx="9380149" cy="2022990"/>
          </a:xfrm>
        </p:spPr>
        <p:txBody>
          <a:bodyPr/>
          <a:lstStyle>
            <a:lvl1pPr>
              <a:lnSpc>
                <a:spcPct val="104000"/>
              </a:lnSpc>
              <a:defRPr sz="3200">
                <a:latin typeface="+mn-lt"/>
              </a:defRPr>
            </a:lvl1pPr>
            <a:lvl2pPr>
              <a:lnSpc>
                <a:spcPct val="104000"/>
              </a:lnSpc>
              <a:defRPr sz="3200">
                <a:latin typeface="+mn-lt"/>
              </a:defRPr>
            </a:lvl2pPr>
            <a:lvl3pPr>
              <a:lnSpc>
                <a:spcPct val="104000"/>
              </a:lnSpc>
              <a:defRPr sz="3200">
                <a:latin typeface="+mn-lt"/>
              </a:defRPr>
            </a:lvl3pPr>
            <a:lvl4pPr>
              <a:lnSpc>
                <a:spcPct val="104000"/>
              </a:lnSpc>
              <a:defRPr sz="3200">
                <a:latin typeface="+mn-lt"/>
              </a:defRPr>
            </a:lvl4pPr>
            <a:lvl5pPr>
              <a:lnSpc>
                <a:spcPct val="104000"/>
              </a:lnSpc>
              <a:defRPr sz="3200">
                <a:latin typeface="+mn-lt"/>
              </a:defRPr>
            </a:lvl5pPr>
          </a:lstStyle>
          <a:p>
            <a:pPr lvl="0"/>
            <a:r>
              <a:rPr lang="ru-RU" dirty="0"/>
              <a:t>Развернутый результат кейса. Этот текст не должен дублировать цифры справа. Допускается использование не более шести широких строк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6FCFA56C-3384-2B97-9486-133A837A84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1" y="2171204"/>
            <a:ext cx="9380150" cy="2301015"/>
          </a:xfrm>
        </p:spPr>
        <p:txBody>
          <a:bodyPr/>
          <a:lstStyle>
            <a:lvl1pPr>
              <a:lnSpc>
                <a:spcPct val="89000"/>
              </a:lnSpc>
              <a:defRPr sz="5600"/>
            </a:lvl1pPr>
          </a:lstStyle>
          <a:p>
            <a:r>
              <a:rPr lang="ru-RU" dirty="0"/>
              <a:t>Краткий заголовок о сути кейса, используйте не больше четырех строк</a:t>
            </a:r>
          </a:p>
        </p:txBody>
      </p:sp>
      <p:sp>
        <p:nvSpPr>
          <p:cNvPr id="14" name="icon">
            <a:extLst>
              <a:ext uri="{FF2B5EF4-FFF2-40B4-BE49-F238E27FC236}">
                <a16:creationId xmlns:a16="http://schemas.microsoft.com/office/drawing/2014/main" id="{6409D026-F0FE-425F-A4D9-1D47E56CE911}"/>
              </a:ext>
            </a:extLst>
          </p:cNvPr>
          <p:cNvSpPr>
            <a:spLocks noChangeAspect="1"/>
          </p:cNvSpPr>
          <p:nvPr userDrawn="1"/>
        </p:nvSpPr>
        <p:spPr>
          <a:xfrm>
            <a:off x="13540791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case">
            <a:extLst>
              <a:ext uri="{FF2B5EF4-FFF2-40B4-BE49-F238E27FC236}">
                <a16:creationId xmlns:a16="http://schemas.microsoft.com/office/drawing/2014/main" id="{2EFFE8E3-5399-4DCC-8609-9EEDFA2256A9}"/>
              </a:ext>
            </a:extLst>
          </p:cNvPr>
          <p:cNvSpPr/>
          <p:nvPr userDrawn="1"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</p:spTree>
    <p:extLst>
      <p:ext uri="{BB962C8B-B14F-4D97-AF65-F5344CB8AC3E}">
        <p14:creationId xmlns:p14="http://schemas.microsoft.com/office/powerpoint/2010/main" val="1801726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_2">
            <a:extLst>
              <a:ext uri="{FF2B5EF4-FFF2-40B4-BE49-F238E27FC236}">
                <a16:creationId xmlns:a16="http://schemas.microsoft.com/office/drawing/2014/main" id="{635798A0-999C-4AF4-FEF0-78605A00B3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text_1">
            <a:extLst>
              <a:ext uri="{FF2B5EF4-FFF2-40B4-BE49-F238E27FC236}">
                <a16:creationId xmlns:a16="http://schemas.microsoft.com/office/drawing/2014/main" id="{1C23B8D3-3500-2140-D51F-0CFA58521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F87551C-C976-7D20-13CD-846B4366C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8699092"/>
            <a:ext cx="21492000" cy="3662734"/>
          </a:xfrm>
        </p:spPr>
        <p:txBody>
          <a:bodyPr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епоправимо улучшим вашу рекламу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C796A45-2228-9753-01BF-B211FB28FFD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82E178D6-1A24-4BEA-9C61-4E76D150734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1651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TA Ad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_2">
            <a:extLst>
              <a:ext uri="{FF2B5EF4-FFF2-40B4-BE49-F238E27FC236}">
                <a16:creationId xmlns:a16="http://schemas.microsoft.com/office/drawing/2014/main" id="{635798A0-999C-4AF4-FEF0-78605A00B3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text_1">
            <a:extLst>
              <a:ext uri="{FF2B5EF4-FFF2-40B4-BE49-F238E27FC236}">
                <a16:creationId xmlns:a16="http://schemas.microsoft.com/office/drawing/2014/main" id="{1C23B8D3-3500-2140-D51F-0CFA58521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F87551C-C976-7D20-13CD-846B4366C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8699092"/>
            <a:ext cx="21492000" cy="3662734"/>
          </a:xfrm>
        </p:spPr>
        <p:txBody>
          <a:bodyPr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стались вопросы? Обращайтесь!</a:t>
            </a:r>
          </a:p>
        </p:txBody>
      </p:sp>
      <p:pic>
        <p:nvPicPr>
          <p:cNvPr id="3" name="Рисунок 15">
            <a:extLst>
              <a:ext uri="{FF2B5EF4-FFF2-40B4-BE49-F238E27FC236}">
                <a16:creationId xmlns:a16="http://schemas.microsoft.com/office/drawing/2014/main" id="{DF494EA4-FC0D-C59C-350F-02E0C35BC37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1961476" y="1217613"/>
            <a:ext cx="971549" cy="97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385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TA with contac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A5A809-F589-5082-2CAC-7D23E9D3DA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1144800"/>
            <a:ext cx="18162588" cy="3662734"/>
          </a:xfrm>
        </p:spPr>
        <p:txBody>
          <a:bodyPr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стались вопросы? Свяжитесь с нами</a:t>
            </a:r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DDB09A1D-7A0A-A75F-DE09-367A4F93A17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EC18E09F-8B47-4D17-A640-A17A923EF6D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sp>
        <p:nvSpPr>
          <p:cNvPr id="29" name="text_8">
            <a:extLst>
              <a:ext uri="{FF2B5EF4-FFF2-40B4-BE49-F238E27FC236}">
                <a16:creationId xmlns:a16="http://schemas.microsoft.com/office/drawing/2014/main" id="{1763EB29-281C-DCFA-8D3C-A938DB1312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48750" y="12009645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Телефон</a:t>
            </a:r>
          </a:p>
        </p:txBody>
      </p:sp>
      <p:sp>
        <p:nvSpPr>
          <p:cNvPr id="30" name="text_7">
            <a:extLst>
              <a:ext uri="{FF2B5EF4-FFF2-40B4-BE49-F238E27FC236}">
                <a16:creationId xmlns:a16="http://schemas.microsoft.com/office/drawing/2014/main" id="{E0BF4D75-4EF8-D404-94FC-A6E20BAE58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48750" y="11399475"/>
            <a:ext cx="8448863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31" name="text_6">
            <a:extLst>
              <a:ext uri="{FF2B5EF4-FFF2-40B4-BE49-F238E27FC236}">
                <a16:creationId xmlns:a16="http://schemas.microsoft.com/office/drawing/2014/main" id="{AE76D02D-4A08-A68F-A089-F98F194454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48750" y="9880132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Должность</a:t>
            </a:r>
          </a:p>
        </p:txBody>
      </p:sp>
      <p:sp>
        <p:nvSpPr>
          <p:cNvPr id="32" name="text_5">
            <a:extLst>
              <a:ext uri="{FF2B5EF4-FFF2-40B4-BE49-F238E27FC236}">
                <a16:creationId xmlns:a16="http://schemas.microsoft.com/office/drawing/2014/main" id="{9685C2DA-75D8-DE87-5B9E-703A19A7EB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48750" y="9269962"/>
            <a:ext cx="8448863" cy="615553"/>
          </a:xfrm>
        </p:spPr>
        <p:txBody>
          <a:bodyPr wrap="square">
            <a:spAutoFit/>
          </a:bodyPr>
          <a:lstStyle>
            <a:lvl1pPr>
              <a:defRPr lang="ru-RU" sz="4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Имя Фамилия</a:t>
            </a:r>
          </a:p>
        </p:txBody>
      </p:sp>
      <p:sp>
        <p:nvSpPr>
          <p:cNvPr id="33" name="text_4">
            <a:extLst>
              <a:ext uri="{FF2B5EF4-FFF2-40B4-BE49-F238E27FC236}">
                <a16:creationId xmlns:a16="http://schemas.microsoft.com/office/drawing/2014/main" id="{F872F2E8-ED25-42E2-76ED-9D1BF5E223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40000" y="12009600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Телефон</a:t>
            </a:r>
          </a:p>
        </p:txBody>
      </p:sp>
      <p:sp>
        <p:nvSpPr>
          <p:cNvPr id="34" name="text_3">
            <a:extLst>
              <a:ext uri="{FF2B5EF4-FFF2-40B4-BE49-F238E27FC236}">
                <a16:creationId xmlns:a16="http://schemas.microsoft.com/office/drawing/2014/main" id="{4739DD05-981E-3831-DCF3-1298FECEE8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40000" y="11401200"/>
            <a:ext cx="8448863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35" name="text_2">
            <a:extLst>
              <a:ext uri="{FF2B5EF4-FFF2-40B4-BE49-F238E27FC236}">
                <a16:creationId xmlns:a16="http://schemas.microsoft.com/office/drawing/2014/main" id="{37682105-5CCA-9B0A-90DF-B12CDF39B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9880132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Должность</a:t>
            </a:r>
          </a:p>
        </p:txBody>
      </p:sp>
      <p:sp>
        <p:nvSpPr>
          <p:cNvPr id="36" name="text_1">
            <a:extLst>
              <a:ext uri="{FF2B5EF4-FFF2-40B4-BE49-F238E27FC236}">
                <a16:creationId xmlns:a16="http://schemas.microsoft.com/office/drawing/2014/main" id="{BC63450E-312F-72A9-8861-7507735D79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9269962"/>
            <a:ext cx="8448863" cy="615553"/>
          </a:xfrm>
        </p:spPr>
        <p:txBody>
          <a:bodyPr wrap="square">
            <a:spAutoFit/>
          </a:bodyPr>
          <a:lstStyle>
            <a:lvl1pPr>
              <a:defRPr lang="ru-RU" sz="4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Имя Фамилия</a:t>
            </a:r>
          </a:p>
        </p:txBody>
      </p:sp>
    </p:spTree>
    <p:extLst>
      <p:ext uri="{BB962C8B-B14F-4D97-AF65-F5344CB8AC3E}">
        <p14:creationId xmlns:p14="http://schemas.microsoft.com/office/powerpoint/2010/main" val="3890124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ograph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670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Типографика шаблона</a:t>
            </a:r>
            <a:endParaRPr lang="ru-RU" noProof="0" dirty="0"/>
          </a:p>
        </p:txBody>
      </p:sp>
      <p:sp>
        <p:nvSpPr>
          <p:cNvPr id="102" name="Заголовок 2">
            <a:extLst>
              <a:ext uri="{FF2B5EF4-FFF2-40B4-BE49-F238E27FC236}">
                <a16:creationId xmlns:a16="http://schemas.microsoft.com/office/drawing/2014/main" id="{9B9FC431-C7F0-221F-0BDD-4BF77D1C7B91}"/>
              </a:ext>
            </a:extLst>
          </p:cNvPr>
          <p:cNvSpPr txBox="1">
            <a:spLocks/>
          </p:cNvSpPr>
          <p:nvPr/>
        </p:nvSpPr>
        <p:spPr>
          <a:xfrm>
            <a:off x="3593515" y="7389420"/>
            <a:ext cx="441270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Заголовки слайдов</a:t>
            </a:r>
          </a:p>
        </p:txBody>
      </p:sp>
      <p:sp>
        <p:nvSpPr>
          <p:cNvPr id="103" name="Заголовок 2">
            <a:extLst>
              <a:ext uri="{FF2B5EF4-FFF2-40B4-BE49-F238E27FC236}">
                <a16:creationId xmlns:a16="http://schemas.microsoft.com/office/drawing/2014/main" id="{9FEFE45E-BDC5-18CC-1FB0-E3F7EABC74DB}"/>
              </a:ext>
            </a:extLst>
          </p:cNvPr>
          <p:cNvSpPr txBox="1">
            <a:spLocks/>
          </p:cNvSpPr>
          <p:nvPr/>
        </p:nvSpPr>
        <p:spPr>
          <a:xfrm>
            <a:off x="3593515" y="7965974"/>
            <a:ext cx="10833722" cy="124098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96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lnSpc>
                <a:spcPct val="82000"/>
              </a:lnSpc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3" name="Заголовок 2">
            <a:extLst>
              <a:ext uri="{FF2B5EF4-FFF2-40B4-BE49-F238E27FC236}">
                <a16:creationId xmlns:a16="http://schemas.microsoft.com/office/drawing/2014/main" id="{4801E485-2255-1B66-863D-269A7C7DEFCF}"/>
              </a:ext>
            </a:extLst>
          </p:cNvPr>
          <p:cNvSpPr txBox="1">
            <a:spLocks/>
          </p:cNvSpPr>
          <p:nvPr/>
        </p:nvSpPr>
        <p:spPr>
          <a:xfrm>
            <a:off x="3593515" y="2663386"/>
            <a:ext cx="6912016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Заголовки на титульном и разделительном слайдах</a:t>
            </a:r>
          </a:p>
        </p:txBody>
      </p:sp>
      <p:sp>
        <p:nvSpPr>
          <p:cNvPr id="114" name="Заголовок 2">
            <a:extLst>
              <a:ext uri="{FF2B5EF4-FFF2-40B4-BE49-F238E27FC236}">
                <a16:creationId xmlns:a16="http://schemas.microsoft.com/office/drawing/2014/main" id="{B7866C77-E67A-ACDE-3BBF-6065B2EE34AD}"/>
              </a:ext>
            </a:extLst>
          </p:cNvPr>
          <p:cNvSpPr txBox="1">
            <a:spLocks/>
          </p:cNvSpPr>
          <p:nvPr/>
        </p:nvSpPr>
        <p:spPr>
          <a:xfrm>
            <a:off x="3593515" y="3523758"/>
            <a:ext cx="14962488" cy="18806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spcAft>
                <a:spcPts val="2400"/>
              </a:spcAft>
              <a:defRPr sz="148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5" name="Заголовок 2">
            <a:extLst>
              <a:ext uri="{FF2B5EF4-FFF2-40B4-BE49-F238E27FC236}">
                <a16:creationId xmlns:a16="http://schemas.microsoft.com/office/drawing/2014/main" id="{5EE4AC7C-69B0-556B-6955-0E8132F9324F}"/>
              </a:ext>
            </a:extLst>
          </p:cNvPr>
          <p:cNvSpPr txBox="1">
            <a:spLocks/>
          </p:cNvSpPr>
          <p:nvPr/>
        </p:nvSpPr>
        <p:spPr>
          <a:xfrm>
            <a:off x="3593515" y="5446347"/>
            <a:ext cx="13954303" cy="152016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2000"/>
              </a:lnSpc>
              <a:spcAft>
                <a:spcPts val="2400"/>
              </a:spcAft>
              <a:defRPr sz="120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6" name="Скругленный прямоугольник 115">
            <a:extLst>
              <a:ext uri="{FF2B5EF4-FFF2-40B4-BE49-F238E27FC236}">
                <a16:creationId xmlns:a16="http://schemas.microsoft.com/office/drawing/2014/main" id="{ED9010C6-475F-D6C7-B38A-7731D824DB53}"/>
              </a:ext>
            </a:extLst>
          </p:cNvPr>
          <p:cNvSpPr/>
          <p:nvPr/>
        </p:nvSpPr>
        <p:spPr>
          <a:xfrm>
            <a:off x="1440000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148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7" name="Скругленный прямоугольник 116">
            <a:extLst>
              <a:ext uri="{FF2B5EF4-FFF2-40B4-BE49-F238E27FC236}">
                <a16:creationId xmlns:a16="http://schemas.microsoft.com/office/drawing/2014/main" id="{C32B5103-F6B5-1448-0638-7391F0425117}"/>
              </a:ext>
            </a:extLst>
          </p:cNvPr>
          <p:cNvSpPr/>
          <p:nvPr/>
        </p:nvSpPr>
        <p:spPr>
          <a:xfrm>
            <a:off x="1440000" y="551582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12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2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8" name="Скругленный прямоугольник 117">
            <a:extLst>
              <a:ext uri="{FF2B5EF4-FFF2-40B4-BE49-F238E27FC236}">
                <a16:creationId xmlns:a16="http://schemas.microsoft.com/office/drawing/2014/main" id="{F8362F25-FD11-35B5-1705-9ACC4348F2C0}"/>
              </a:ext>
            </a:extLst>
          </p:cNvPr>
          <p:cNvSpPr/>
          <p:nvPr/>
        </p:nvSpPr>
        <p:spPr>
          <a:xfrm>
            <a:off x="1440000" y="801087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96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2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9" name="Заголовок 2">
            <a:extLst>
              <a:ext uri="{FF2B5EF4-FFF2-40B4-BE49-F238E27FC236}">
                <a16:creationId xmlns:a16="http://schemas.microsoft.com/office/drawing/2014/main" id="{B4C60318-C407-FA16-5BD3-7186F1FFA769}"/>
              </a:ext>
            </a:extLst>
          </p:cNvPr>
          <p:cNvSpPr txBox="1">
            <a:spLocks/>
          </p:cNvSpPr>
          <p:nvPr/>
        </p:nvSpPr>
        <p:spPr>
          <a:xfrm>
            <a:off x="3593515" y="9356395"/>
            <a:ext cx="8351174" cy="93070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72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20" name="Скругленный прямоугольник 119">
            <a:extLst>
              <a:ext uri="{FF2B5EF4-FFF2-40B4-BE49-F238E27FC236}">
                <a16:creationId xmlns:a16="http://schemas.microsoft.com/office/drawing/2014/main" id="{F92BB29D-658B-7EB7-C9C9-4F3B8F3B0627}"/>
              </a:ext>
            </a:extLst>
          </p:cNvPr>
          <p:cNvSpPr/>
          <p:nvPr/>
        </p:nvSpPr>
        <p:spPr>
          <a:xfrm>
            <a:off x="1440000" y="94245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72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4" name="Заголовок 2">
            <a:extLst>
              <a:ext uri="{FF2B5EF4-FFF2-40B4-BE49-F238E27FC236}">
                <a16:creationId xmlns:a16="http://schemas.microsoft.com/office/drawing/2014/main" id="{4E56B7AE-17B4-E7E4-2818-B6D592E37993}"/>
              </a:ext>
            </a:extLst>
          </p:cNvPr>
          <p:cNvSpPr txBox="1">
            <a:spLocks/>
          </p:cNvSpPr>
          <p:nvPr/>
        </p:nvSpPr>
        <p:spPr>
          <a:xfrm>
            <a:off x="1440000" y="2663386"/>
            <a:ext cx="2085975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Размер / интерлиньяж</a:t>
            </a:r>
          </a:p>
        </p:txBody>
      </p:sp>
      <p:sp>
        <p:nvSpPr>
          <p:cNvPr id="140" name="Заголовок 2">
            <a:extLst>
              <a:ext uri="{FF2B5EF4-FFF2-40B4-BE49-F238E27FC236}">
                <a16:creationId xmlns:a16="http://schemas.microsoft.com/office/drawing/2014/main" id="{7D77EAFB-7407-02A0-827B-B7C5C51A4C77}"/>
              </a:ext>
            </a:extLst>
          </p:cNvPr>
          <p:cNvSpPr txBox="1">
            <a:spLocks/>
          </p:cNvSpPr>
          <p:nvPr/>
        </p:nvSpPr>
        <p:spPr>
          <a:xfrm>
            <a:off x="3593515" y="10436539"/>
            <a:ext cx="6912016" cy="76700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60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lnSpc>
                <a:spcPct val="89000"/>
              </a:lnSpc>
              <a:spcAft>
                <a:spcPts val="0"/>
              </a:spcAft>
            </a:pPr>
            <a:r>
              <a:rPr lang="en-US" sz="5600" b="0" dirty="0">
                <a:latin typeface="+mj-lt"/>
              </a:rPr>
              <a:t>YS Display Bold</a:t>
            </a:r>
            <a:endParaRPr lang="ru-RU" sz="5600" b="0" dirty="0">
              <a:latin typeface="+mj-lt"/>
            </a:endParaRPr>
          </a:p>
        </p:txBody>
      </p:sp>
      <p:sp>
        <p:nvSpPr>
          <p:cNvPr id="141" name="Скругленный прямоугольник 140">
            <a:extLst>
              <a:ext uri="{FF2B5EF4-FFF2-40B4-BE49-F238E27FC236}">
                <a16:creationId xmlns:a16="http://schemas.microsoft.com/office/drawing/2014/main" id="{12FC60E6-30DD-4027-31F7-5B303BE2E347}"/>
              </a:ext>
            </a:extLst>
          </p:cNvPr>
          <p:cNvSpPr/>
          <p:nvPr/>
        </p:nvSpPr>
        <p:spPr>
          <a:xfrm>
            <a:off x="1440000" y="1047378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56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42" name="Заголовок 2">
            <a:extLst>
              <a:ext uri="{FF2B5EF4-FFF2-40B4-BE49-F238E27FC236}">
                <a16:creationId xmlns:a16="http://schemas.microsoft.com/office/drawing/2014/main" id="{80132DA5-0E43-90D4-B609-0C26D91128E5}"/>
              </a:ext>
            </a:extLst>
          </p:cNvPr>
          <p:cNvSpPr txBox="1">
            <a:spLocks/>
          </p:cNvSpPr>
          <p:nvPr/>
        </p:nvSpPr>
        <p:spPr>
          <a:xfrm>
            <a:off x="3593515" y="11380042"/>
            <a:ext cx="3796473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3" name="Скругленный прямоугольник 142">
            <a:extLst>
              <a:ext uri="{FF2B5EF4-FFF2-40B4-BE49-F238E27FC236}">
                <a16:creationId xmlns:a16="http://schemas.microsoft.com/office/drawing/2014/main" id="{200E8E59-F0BF-D126-44C2-9FF82F4D9189}"/>
              </a:ext>
            </a:extLst>
          </p:cNvPr>
          <p:cNvSpPr/>
          <p:nvPr/>
        </p:nvSpPr>
        <p:spPr>
          <a:xfrm>
            <a:off x="1440000" y="11500469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" name="Заголовок 2">
            <a:extLst>
              <a:ext uri="{FF2B5EF4-FFF2-40B4-BE49-F238E27FC236}">
                <a16:creationId xmlns:a16="http://schemas.microsoft.com/office/drawing/2014/main" id="{C4F76B54-79DC-FB24-2A33-9CC81BD25CFF}"/>
              </a:ext>
            </a:extLst>
          </p:cNvPr>
          <p:cNvSpPr txBox="1">
            <a:spLocks/>
          </p:cNvSpPr>
          <p:nvPr/>
        </p:nvSpPr>
        <p:spPr>
          <a:xfrm>
            <a:off x="18148161" y="4511664"/>
            <a:ext cx="477592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Графики и схемы </a:t>
            </a:r>
            <a:br>
              <a:rPr lang="ru-RU" sz="2000" dirty="0">
                <a:solidFill>
                  <a:schemeClr val="tx1"/>
                </a:solidFill>
                <a:latin typeface="+mn-lt"/>
              </a:rPr>
            </a:br>
            <a:r>
              <a:rPr lang="ru-RU" sz="2000" dirty="0">
                <a:solidFill>
                  <a:schemeClr val="tx1"/>
                </a:solidFill>
                <a:latin typeface="+mn-lt"/>
              </a:rPr>
              <a:t>(зависит от типа презентаций)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611FB8FF-EA6F-5E60-9FC1-6E506B118140}"/>
              </a:ext>
            </a:extLst>
          </p:cNvPr>
          <p:cNvSpPr txBox="1">
            <a:spLocks/>
          </p:cNvSpPr>
          <p:nvPr/>
        </p:nvSpPr>
        <p:spPr>
          <a:xfrm>
            <a:off x="19614541" y="5960043"/>
            <a:ext cx="1505560" cy="46580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04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800" dirty="0">
                <a:solidFill>
                  <a:schemeClr val="tx1"/>
                </a:solidFill>
                <a:latin typeface="YS Text Regular"/>
                <a:ea typeface="+mn-ea"/>
                <a:cs typeface="+mn-cs"/>
              </a:rPr>
              <a:t>YS Text</a:t>
            </a:r>
            <a:endParaRPr lang="ru-RU" sz="2800" dirty="0">
              <a:solidFill>
                <a:schemeClr val="tx1"/>
              </a:solidFill>
              <a:latin typeface="YS Text Regular"/>
              <a:ea typeface="+mn-ea"/>
              <a:cs typeface="+mn-cs"/>
            </a:endParaRP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0425DA4B-261A-EB05-FD74-BD4734820FFA}"/>
              </a:ext>
            </a:extLst>
          </p:cNvPr>
          <p:cNvSpPr/>
          <p:nvPr/>
        </p:nvSpPr>
        <p:spPr>
          <a:xfrm>
            <a:off x="21120483" y="598575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408709CD-9CCD-6E81-59CF-6A7710E9B60B}"/>
              </a:ext>
            </a:extLst>
          </p:cNvPr>
          <p:cNvSpPr txBox="1">
            <a:spLocks/>
          </p:cNvSpPr>
          <p:nvPr/>
        </p:nvSpPr>
        <p:spPr>
          <a:xfrm>
            <a:off x="19781701" y="5262946"/>
            <a:ext cx="1338400" cy="421563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D91604DA-B195-9C86-427B-83A90CE76785}"/>
              </a:ext>
            </a:extLst>
          </p:cNvPr>
          <p:cNvSpPr/>
          <p:nvPr/>
        </p:nvSpPr>
        <p:spPr>
          <a:xfrm>
            <a:off x="21120483" y="528756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4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482576F2-4D47-7D20-05E3-ECB12856DC84}"/>
              </a:ext>
            </a:extLst>
          </p:cNvPr>
          <p:cNvSpPr txBox="1">
            <a:spLocks/>
          </p:cNvSpPr>
          <p:nvPr/>
        </p:nvSpPr>
        <p:spPr>
          <a:xfrm>
            <a:off x="16567686" y="5311607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чтения</a:t>
            </a:r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E714C57C-CF66-3DE8-E17F-46CDC285BD12}"/>
              </a:ext>
            </a:extLst>
          </p:cNvPr>
          <p:cNvSpPr txBox="1">
            <a:spLocks/>
          </p:cNvSpPr>
          <p:nvPr/>
        </p:nvSpPr>
        <p:spPr>
          <a:xfrm>
            <a:off x="16575088" y="6010428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выступления</a:t>
            </a:r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DC059372-D1F5-F695-DBB9-ACF2B6D4EC97}"/>
              </a:ext>
            </a:extLst>
          </p:cNvPr>
          <p:cNvSpPr txBox="1">
            <a:spLocks/>
          </p:cNvSpPr>
          <p:nvPr/>
        </p:nvSpPr>
        <p:spPr>
          <a:xfrm>
            <a:off x="20240356" y="6979309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Наборный текст</a:t>
            </a:r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3BFF4E70-7D81-EFFE-C0DD-4DC2ACED3485}"/>
              </a:ext>
            </a:extLst>
          </p:cNvPr>
          <p:cNvSpPr txBox="1">
            <a:spLocks/>
          </p:cNvSpPr>
          <p:nvPr/>
        </p:nvSpPr>
        <p:spPr>
          <a:xfrm>
            <a:off x="19247799" y="8802162"/>
            <a:ext cx="1855003" cy="59398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3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4412F45F-E32B-EF32-A56C-15C5EFD7A0C7}"/>
              </a:ext>
            </a:extLst>
          </p:cNvPr>
          <p:cNvSpPr txBox="1">
            <a:spLocks/>
          </p:cNvSpPr>
          <p:nvPr/>
        </p:nvSpPr>
        <p:spPr>
          <a:xfrm>
            <a:off x="19079899" y="9530488"/>
            <a:ext cx="2022904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Заголовок 2">
            <a:extLst>
              <a:ext uri="{FF2B5EF4-FFF2-40B4-BE49-F238E27FC236}">
                <a16:creationId xmlns:a16="http://schemas.microsoft.com/office/drawing/2014/main" id="{D8114C43-DB18-5F69-44D9-84B295402B42}"/>
              </a:ext>
            </a:extLst>
          </p:cNvPr>
          <p:cNvSpPr txBox="1">
            <a:spLocks/>
          </p:cNvSpPr>
          <p:nvPr/>
        </p:nvSpPr>
        <p:spPr>
          <a:xfrm>
            <a:off x="18732537" y="10320368"/>
            <a:ext cx="2370265" cy="75646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97000"/>
              </a:lnSpc>
              <a:spcAft>
                <a:spcPts val="2400"/>
              </a:spcAft>
            </a:pPr>
            <a:r>
              <a:rPr lang="en-US" sz="4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C22155CF-18F8-EC9B-D715-B73A98035F0D}"/>
              </a:ext>
            </a:extLst>
          </p:cNvPr>
          <p:cNvSpPr txBox="1">
            <a:spLocks/>
          </p:cNvSpPr>
          <p:nvPr/>
        </p:nvSpPr>
        <p:spPr>
          <a:xfrm>
            <a:off x="18390929" y="11246008"/>
            <a:ext cx="2711873" cy="806989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89000"/>
              </a:lnSpc>
              <a:spcAft>
                <a:spcPts val="2400"/>
              </a:spcAft>
            </a:pPr>
            <a:r>
              <a:rPr lang="en-US" sz="5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5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Заголовок 2">
            <a:extLst>
              <a:ext uri="{FF2B5EF4-FFF2-40B4-BE49-F238E27FC236}">
                <a16:creationId xmlns:a16="http://schemas.microsoft.com/office/drawing/2014/main" id="{09559A83-1DC3-BB90-EA04-EF59E0EEF31D}"/>
              </a:ext>
            </a:extLst>
          </p:cNvPr>
          <p:cNvSpPr txBox="1">
            <a:spLocks/>
          </p:cNvSpPr>
          <p:nvPr/>
        </p:nvSpPr>
        <p:spPr>
          <a:xfrm>
            <a:off x="20242896" y="2663386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Примечание</a:t>
            </a: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007CB92F-B233-4228-D1E4-DB81B4823FE5}"/>
              </a:ext>
            </a:extLst>
          </p:cNvPr>
          <p:cNvSpPr txBox="1">
            <a:spLocks/>
          </p:cNvSpPr>
          <p:nvPr/>
        </p:nvSpPr>
        <p:spPr>
          <a:xfrm>
            <a:off x="19957863" y="3552817"/>
            <a:ext cx="1144939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Заголовок 2">
            <a:extLst>
              <a:ext uri="{FF2B5EF4-FFF2-40B4-BE49-F238E27FC236}">
                <a16:creationId xmlns:a16="http://schemas.microsoft.com/office/drawing/2014/main" id="{3A38A01D-93DE-DE56-892A-7FA69624C765}"/>
              </a:ext>
            </a:extLst>
          </p:cNvPr>
          <p:cNvSpPr txBox="1">
            <a:spLocks/>
          </p:cNvSpPr>
          <p:nvPr/>
        </p:nvSpPr>
        <p:spPr>
          <a:xfrm>
            <a:off x="19597124" y="7530180"/>
            <a:ext cx="1505678" cy="470871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1800"/>
              </a:spcAft>
            </a:pPr>
            <a:r>
              <a:rPr lang="en-US" sz="2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E1DA972A-7632-70ED-FFDF-DCAB2371F423}"/>
              </a:ext>
            </a:extLst>
          </p:cNvPr>
          <p:cNvSpPr/>
          <p:nvPr/>
        </p:nvSpPr>
        <p:spPr>
          <a:xfrm>
            <a:off x="21120483" y="754449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7A850238-6A61-A9C7-B826-B6E429A18898}"/>
              </a:ext>
            </a:extLst>
          </p:cNvPr>
          <p:cNvSpPr/>
          <p:nvPr/>
        </p:nvSpPr>
        <p:spPr>
          <a:xfrm>
            <a:off x="21120483" y="82176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2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0F8F4971-A6EF-48CA-4F95-A2CB34994B4A}"/>
              </a:ext>
            </a:extLst>
          </p:cNvPr>
          <p:cNvSpPr/>
          <p:nvPr/>
        </p:nvSpPr>
        <p:spPr>
          <a:xfrm>
            <a:off x="21120483" y="894461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6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75FC9145-1D1D-2C74-8815-F0D3DBC4711E}"/>
              </a:ext>
            </a:extLst>
          </p:cNvPr>
          <p:cNvSpPr/>
          <p:nvPr/>
        </p:nvSpPr>
        <p:spPr>
          <a:xfrm>
            <a:off x="21120483" y="9690183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C24A8901-8571-181A-10BF-867CF3791BAC}"/>
              </a:ext>
            </a:extLst>
          </p:cNvPr>
          <p:cNvSpPr/>
          <p:nvPr/>
        </p:nvSpPr>
        <p:spPr>
          <a:xfrm>
            <a:off x="21120483" y="1050363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97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F17A8D9F-9B4C-11B2-EB37-A956F87D36FE}"/>
              </a:ext>
            </a:extLst>
          </p:cNvPr>
          <p:cNvSpPr/>
          <p:nvPr/>
        </p:nvSpPr>
        <p:spPr>
          <a:xfrm>
            <a:off x="21120483" y="1146879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56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63581A2F-99F2-DD83-EA90-FD1D966FD584}"/>
              </a:ext>
            </a:extLst>
          </p:cNvPr>
          <p:cNvSpPr/>
          <p:nvPr/>
        </p:nvSpPr>
        <p:spPr>
          <a:xfrm>
            <a:off x="21120483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tx2"/>
                </a:solidFill>
                <a:latin typeface="YS Text Regular" pitchFamily="2" charset="0"/>
              </a:rPr>
              <a:t>20 </a:t>
            </a:r>
            <a:r>
              <a:rPr lang="en-US" sz="2000" dirty="0">
                <a:solidFill>
                  <a:schemeClr val="tx2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tx2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tx2"/>
              </a:solidFill>
              <a:sym typeface="Arial"/>
            </a:endParaRPr>
          </a:p>
        </p:txBody>
      </p:sp>
      <p:sp>
        <p:nvSpPr>
          <p:cNvPr id="24" name="Заголовок 2">
            <a:extLst>
              <a:ext uri="{FF2B5EF4-FFF2-40B4-BE49-F238E27FC236}">
                <a16:creationId xmlns:a16="http://schemas.microsoft.com/office/drawing/2014/main" id="{5AC564A9-1570-B475-DD8C-907DCF1CA43F}"/>
              </a:ext>
            </a:extLst>
          </p:cNvPr>
          <p:cNvSpPr txBox="1">
            <a:spLocks/>
          </p:cNvSpPr>
          <p:nvPr/>
        </p:nvSpPr>
        <p:spPr>
          <a:xfrm>
            <a:off x="19426904" y="8135394"/>
            <a:ext cx="1675898" cy="53242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2400"/>
              </a:spcAft>
            </a:pPr>
            <a:r>
              <a:rPr lang="en-US" sz="32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Заголовок 2">
            <a:extLst>
              <a:ext uri="{FF2B5EF4-FFF2-40B4-BE49-F238E27FC236}">
                <a16:creationId xmlns:a16="http://schemas.microsoft.com/office/drawing/2014/main" id="{2E223A40-5637-B2B8-7A7D-CD393474E470}"/>
              </a:ext>
            </a:extLst>
          </p:cNvPr>
          <p:cNvSpPr txBox="1">
            <a:spLocks/>
          </p:cNvSpPr>
          <p:nvPr/>
        </p:nvSpPr>
        <p:spPr>
          <a:xfrm>
            <a:off x="17308166" y="8769961"/>
            <a:ext cx="162538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Основная размерность</a:t>
            </a:r>
          </a:p>
        </p:txBody>
      </p:sp>
      <p:sp>
        <p:nvSpPr>
          <p:cNvPr id="42" name="Заголовок 2">
            <a:extLst>
              <a:ext uri="{FF2B5EF4-FFF2-40B4-BE49-F238E27FC236}">
                <a16:creationId xmlns:a16="http://schemas.microsoft.com/office/drawing/2014/main" id="{46900514-2ECD-40F8-B977-4E54ACCBD2A6}"/>
              </a:ext>
            </a:extLst>
          </p:cNvPr>
          <p:cNvSpPr txBox="1">
            <a:spLocks/>
          </p:cNvSpPr>
          <p:nvPr userDrawn="1"/>
        </p:nvSpPr>
        <p:spPr>
          <a:xfrm>
            <a:off x="18148161" y="4511664"/>
            <a:ext cx="477592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Графики и схемы </a:t>
            </a:r>
            <a:br>
              <a:rPr lang="ru-RU" sz="2000" dirty="0">
                <a:solidFill>
                  <a:schemeClr val="tx1"/>
                </a:solidFill>
                <a:latin typeface="+mn-lt"/>
              </a:rPr>
            </a:br>
            <a:r>
              <a:rPr lang="ru-RU" sz="2000" dirty="0">
                <a:solidFill>
                  <a:schemeClr val="tx1"/>
                </a:solidFill>
                <a:latin typeface="+mn-lt"/>
              </a:rPr>
              <a:t>(зависит от типа презентаций)</a:t>
            </a:r>
          </a:p>
        </p:txBody>
      </p:sp>
      <p:sp>
        <p:nvSpPr>
          <p:cNvPr id="43" name="Заголовок 2">
            <a:extLst>
              <a:ext uri="{FF2B5EF4-FFF2-40B4-BE49-F238E27FC236}">
                <a16:creationId xmlns:a16="http://schemas.microsoft.com/office/drawing/2014/main" id="{F8C7D18D-4CDC-4A8F-8324-B2971080D12A}"/>
              </a:ext>
            </a:extLst>
          </p:cNvPr>
          <p:cNvSpPr txBox="1">
            <a:spLocks/>
          </p:cNvSpPr>
          <p:nvPr userDrawn="1"/>
        </p:nvSpPr>
        <p:spPr>
          <a:xfrm>
            <a:off x="19614541" y="5960043"/>
            <a:ext cx="1505560" cy="46580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04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800" dirty="0">
                <a:solidFill>
                  <a:schemeClr val="tx1"/>
                </a:solidFill>
                <a:latin typeface="YS Text Regular"/>
                <a:ea typeface="+mn-ea"/>
                <a:cs typeface="+mn-cs"/>
              </a:rPr>
              <a:t>YS Text</a:t>
            </a:r>
            <a:endParaRPr lang="ru-RU" sz="2800" dirty="0">
              <a:solidFill>
                <a:schemeClr val="tx1"/>
              </a:solidFill>
              <a:latin typeface="YS Text Regular"/>
              <a:ea typeface="+mn-ea"/>
              <a:cs typeface="+mn-cs"/>
            </a:endParaRPr>
          </a:p>
        </p:txBody>
      </p:sp>
      <p:sp>
        <p:nvSpPr>
          <p:cNvPr id="44" name="Скругленный прямоугольник 3">
            <a:extLst>
              <a:ext uri="{FF2B5EF4-FFF2-40B4-BE49-F238E27FC236}">
                <a16:creationId xmlns:a16="http://schemas.microsoft.com/office/drawing/2014/main" id="{59698BB8-011C-4BD1-82B0-D645E3A701E8}"/>
              </a:ext>
            </a:extLst>
          </p:cNvPr>
          <p:cNvSpPr/>
          <p:nvPr userDrawn="1"/>
        </p:nvSpPr>
        <p:spPr>
          <a:xfrm>
            <a:off x="21120483" y="598575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5" name="Заголовок 2">
            <a:extLst>
              <a:ext uri="{FF2B5EF4-FFF2-40B4-BE49-F238E27FC236}">
                <a16:creationId xmlns:a16="http://schemas.microsoft.com/office/drawing/2014/main" id="{7F5CA482-4534-42F9-AD31-7154918725A2}"/>
              </a:ext>
            </a:extLst>
          </p:cNvPr>
          <p:cNvSpPr txBox="1">
            <a:spLocks/>
          </p:cNvSpPr>
          <p:nvPr userDrawn="1"/>
        </p:nvSpPr>
        <p:spPr>
          <a:xfrm>
            <a:off x="19781701" y="5262946"/>
            <a:ext cx="1338400" cy="421563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6" name="Скругленный прямоугольник 5">
            <a:extLst>
              <a:ext uri="{FF2B5EF4-FFF2-40B4-BE49-F238E27FC236}">
                <a16:creationId xmlns:a16="http://schemas.microsoft.com/office/drawing/2014/main" id="{2212661F-56A1-42E2-BA07-921E40EF07E9}"/>
              </a:ext>
            </a:extLst>
          </p:cNvPr>
          <p:cNvSpPr/>
          <p:nvPr userDrawn="1"/>
        </p:nvSpPr>
        <p:spPr>
          <a:xfrm>
            <a:off x="21120483" y="528756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4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7" name="Заголовок 2">
            <a:extLst>
              <a:ext uri="{FF2B5EF4-FFF2-40B4-BE49-F238E27FC236}">
                <a16:creationId xmlns:a16="http://schemas.microsoft.com/office/drawing/2014/main" id="{51CA9A4E-1838-4CFC-9090-C10F16AD433A}"/>
              </a:ext>
            </a:extLst>
          </p:cNvPr>
          <p:cNvSpPr txBox="1">
            <a:spLocks/>
          </p:cNvSpPr>
          <p:nvPr userDrawn="1"/>
        </p:nvSpPr>
        <p:spPr>
          <a:xfrm>
            <a:off x="16567686" y="5311607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чтения</a:t>
            </a:r>
          </a:p>
        </p:txBody>
      </p:sp>
      <p:sp>
        <p:nvSpPr>
          <p:cNvPr id="48" name="Заголовок 2">
            <a:extLst>
              <a:ext uri="{FF2B5EF4-FFF2-40B4-BE49-F238E27FC236}">
                <a16:creationId xmlns:a16="http://schemas.microsoft.com/office/drawing/2014/main" id="{8DDE325B-0721-4354-AB82-80E3A4647377}"/>
              </a:ext>
            </a:extLst>
          </p:cNvPr>
          <p:cNvSpPr txBox="1">
            <a:spLocks/>
          </p:cNvSpPr>
          <p:nvPr userDrawn="1"/>
        </p:nvSpPr>
        <p:spPr>
          <a:xfrm>
            <a:off x="16575088" y="6010428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выступления</a:t>
            </a:r>
          </a:p>
        </p:txBody>
      </p:sp>
      <p:sp>
        <p:nvSpPr>
          <p:cNvPr id="49" name="Заголовок 2">
            <a:extLst>
              <a:ext uri="{FF2B5EF4-FFF2-40B4-BE49-F238E27FC236}">
                <a16:creationId xmlns:a16="http://schemas.microsoft.com/office/drawing/2014/main" id="{F7C647BF-B0F2-4615-8968-728B7600F579}"/>
              </a:ext>
            </a:extLst>
          </p:cNvPr>
          <p:cNvSpPr txBox="1">
            <a:spLocks/>
          </p:cNvSpPr>
          <p:nvPr userDrawn="1"/>
        </p:nvSpPr>
        <p:spPr>
          <a:xfrm>
            <a:off x="20240356" y="6979309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Наборный текст</a:t>
            </a:r>
          </a:p>
        </p:txBody>
      </p:sp>
      <p:sp>
        <p:nvSpPr>
          <p:cNvPr id="50" name="Заголовок 2">
            <a:extLst>
              <a:ext uri="{FF2B5EF4-FFF2-40B4-BE49-F238E27FC236}">
                <a16:creationId xmlns:a16="http://schemas.microsoft.com/office/drawing/2014/main" id="{0C804189-FFF2-4465-998E-ABC1CAF2DD39}"/>
              </a:ext>
            </a:extLst>
          </p:cNvPr>
          <p:cNvSpPr txBox="1">
            <a:spLocks/>
          </p:cNvSpPr>
          <p:nvPr userDrawn="1"/>
        </p:nvSpPr>
        <p:spPr>
          <a:xfrm>
            <a:off x="19247799" y="8802162"/>
            <a:ext cx="1855003" cy="59398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3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1" name="Заголовок 2">
            <a:extLst>
              <a:ext uri="{FF2B5EF4-FFF2-40B4-BE49-F238E27FC236}">
                <a16:creationId xmlns:a16="http://schemas.microsoft.com/office/drawing/2014/main" id="{241B0241-E26F-4317-AE0A-0ED1A747F71B}"/>
              </a:ext>
            </a:extLst>
          </p:cNvPr>
          <p:cNvSpPr txBox="1">
            <a:spLocks/>
          </p:cNvSpPr>
          <p:nvPr userDrawn="1"/>
        </p:nvSpPr>
        <p:spPr>
          <a:xfrm>
            <a:off x="19079899" y="9530488"/>
            <a:ext cx="2022904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2" name="Заголовок 2">
            <a:extLst>
              <a:ext uri="{FF2B5EF4-FFF2-40B4-BE49-F238E27FC236}">
                <a16:creationId xmlns:a16="http://schemas.microsoft.com/office/drawing/2014/main" id="{2F150289-B275-4308-9F91-5AD84A0975D1}"/>
              </a:ext>
            </a:extLst>
          </p:cNvPr>
          <p:cNvSpPr txBox="1">
            <a:spLocks/>
          </p:cNvSpPr>
          <p:nvPr userDrawn="1"/>
        </p:nvSpPr>
        <p:spPr>
          <a:xfrm>
            <a:off x="18732537" y="10320368"/>
            <a:ext cx="2370265" cy="75646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97000"/>
              </a:lnSpc>
              <a:spcAft>
                <a:spcPts val="2400"/>
              </a:spcAft>
            </a:pPr>
            <a:r>
              <a:rPr lang="en-US" sz="4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3" name="Заголовок 2">
            <a:extLst>
              <a:ext uri="{FF2B5EF4-FFF2-40B4-BE49-F238E27FC236}">
                <a16:creationId xmlns:a16="http://schemas.microsoft.com/office/drawing/2014/main" id="{F394F185-6EC7-4748-9984-DCE4A669CDEC}"/>
              </a:ext>
            </a:extLst>
          </p:cNvPr>
          <p:cNvSpPr txBox="1">
            <a:spLocks/>
          </p:cNvSpPr>
          <p:nvPr userDrawn="1"/>
        </p:nvSpPr>
        <p:spPr>
          <a:xfrm>
            <a:off x="18390929" y="11246008"/>
            <a:ext cx="2711873" cy="806989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89000"/>
              </a:lnSpc>
              <a:spcAft>
                <a:spcPts val="2400"/>
              </a:spcAft>
            </a:pPr>
            <a:r>
              <a:rPr lang="en-US" sz="5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5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4" name="Заголовок 2">
            <a:extLst>
              <a:ext uri="{FF2B5EF4-FFF2-40B4-BE49-F238E27FC236}">
                <a16:creationId xmlns:a16="http://schemas.microsoft.com/office/drawing/2014/main" id="{45F56AEE-A4DE-4E77-9029-8302CE045FC8}"/>
              </a:ext>
            </a:extLst>
          </p:cNvPr>
          <p:cNvSpPr txBox="1">
            <a:spLocks/>
          </p:cNvSpPr>
          <p:nvPr userDrawn="1"/>
        </p:nvSpPr>
        <p:spPr>
          <a:xfrm>
            <a:off x="20242896" y="2663386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Примечание</a:t>
            </a:r>
          </a:p>
        </p:txBody>
      </p:sp>
      <p:sp>
        <p:nvSpPr>
          <p:cNvPr id="55" name="Заголовок 2">
            <a:extLst>
              <a:ext uri="{FF2B5EF4-FFF2-40B4-BE49-F238E27FC236}">
                <a16:creationId xmlns:a16="http://schemas.microsoft.com/office/drawing/2014/main" id="{FB845D0E-30BC-4031-8454-71EBBBB387B7}"/>
              </a:ext>
            </a:extLst>
          </p:cNvPr>
          <p:cNvSpPr txBox="1">
            <a:spLocks/>
          </p:cNvSpPr>
          <p:nvPr userDrawn="1"/>
        </p:nvSpPr>
        <p:spPr>
          <a:xfrm>
            <a:off x="19957863" y="3552817"/>
            <a:ext cx="1144939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529091D7-E023-4369-961A-A7AF056666DC}"/>
              </a:ext>
            </a:extLst>
          </p:cNvPr>
          <p:cNvSpPr txBox="1">
            <a:spLocks/>
          </p:cNvSpPr>
          <p:nvPr userDrawn="1"/>
        </p:nvSpPr>
        <p:spPr>
          <a:xfrm>
            <a:off x="19597124" y="7530180"/>
            <a:ext cx="1505678" cy="470871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1800"/>
              </a:spcAft>
            </a:pPr>
            <a:r>
              <a:rPr lang="en-US" sz="2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7" name="Скругленный прямоугольник 16">
            <a:extLst>
              <a:ext uri="{FF2B5EF4-FFF2-40B4-BE49-F238E27FC236}">
                <a16:creationId xmlns:a16="http://schemas.microsoft.com/office/drawing/2014/main" id="{7F0CF69B-86A9-4D45-9585-84AAA3172CE8}"/>
              </a:ext>
            </a:extLst>
          </p:cNvPr>
          <p:cNvSpPr/>
          <p:nvPr userDrawn="1"/>
        </p:nvSpPr>
        <p:spPr>
          <a:xfrm>
            <a:off x="21120483" y="754449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8" name="Скругленный прямоугольник 17">
            <a:extLst>
              <a:ext uri="{FF2B5EF4-FFF2-40B4-BE49-F238E27FC236}">
                <a16:creationId xmlns:a16="http://schemas.microsoft.com/office/drawing/2014/main" id="{B62DE1D8-6CDB-4643-B7C4-41B3B0B6D55A}"/>
              </a:ext>
            </a:extLst>
          </p:cNvPr>
          <p:cNvSpPr/>
          <p:nvPr userDrawn="1"/>
        </p:nvSpPr>
        <p:spPr>
          <a:xfrm>
            <a:off x="21120483" y="82176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2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9" name="Скругленный прямоугольник 18">
            <a:extLst>
              <a:ext uri="{FF2B5EF4-FFF2-40B4-BE49-F238E27FC236}">
                <a16:creationId xmlns:a16="http://schemas.microsoft.com/office/drawing/2014/main" id="{94CC1745-156E-48A5-891C-2E1C7C31D9EA}"/>
              </a:ext>
            </a:extLst>
          </p:cNvPr>
          <p:cNvSpPr/>
          <p:nvPr userDrawn="1"/>
        </p:nvSpPr>
        <p:spPr>
          <a:xfrm>
            <a:off x="21120483" y="894461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6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0" name="Скругленный прямоугольник 19">
            <a:extLst>
              <a:ext uri="{FF2B5EF4-FFF2-40B4-BE49-F238E27FC236}">
                <a16:creationId xmlns:a16="http://schemas.microsoft.com/office/drawing/2014/main" id="{BDDA92CA-5762-43E2-88EE-E784B06F8C8B}"/>
              </a:ext>
            </a:extLst>
          </p:cNvPr>
          <p:cNvSpPr/>
          <p:nvPr userDrawn="1"/>
        </p:nvSpPr>
        <p:spPr>
          <a:xfrm>
            <a:off x="21120483" y="9690183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1" name="Скругленный прямоугольник 20">
            <a:extLst>
              <a:ext uri="{FF2B5EF4-FFF2-40B4-BE49-F238E27FC236}">
                <a16:creationId xmlns:a16="http://schemas.microsoft.com/office/drawing/2014/main" id="{4DF1C5D6-9A50-481C-AD3B-198F8B200B16}"/>
              </a:ext>
            </a:extLst>
          </p:cNvPr>
          <p:cNvSpPr/>
          <p:nvPr userDrawn="1"/>
        </p:nvSpPr>
        <p:spPr>
          <a:xfrm>
            <a:off x="21120483" y="1050363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97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2" name="Скругленный прямоугольник 21">
            <a:extLst>
              <a:ext uri="{FF2B5EF4-FFF2-40B4-BE49-F238E27FC236}">
                <a16:creationId xmlns:a16="http://schemas.microsoft.com/office/drawing/2014/main" id="{C4E2A585-1360-4502-86E4-3E20F7DF4005}"/>
              </a:ext>
            </a:extLst>
          </p:cNvPr>
          <p:cNvSpPr/>
          <p:nvPr userDrawn="1"/>
        </p:nvSpPr>
        <p:spPr>
          <a:xfrm>
            <a:off x="21120483" y="1146879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56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3" name="Скругленный прямоугольник 22">
            <a:extLst>
              <a:ext uri="{FF2B5EF4-FFF2-40B4-BE49-F238E27FC236}">
                <a16:creationId xmlns:a16="http://schemas.microsoft.com/office/drawing/2014/main" id="{5D8DD55B-1FE1-4DFB-ABF5-E21449308B8E}"/>
              </a:ext>
            </a:extLst>
          </p:cNvPr>
          <p:cNvSpPr/>
          <p:nvPr userDrawn="1"/>
        </p:nvSpPr>
        <p:spPr>
          <a:xfrm>
            <a:off x="21120483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4" name="Заголовок 2">
            <a:extLst>
              <a:ext uri="{FF2B5EF4-FFF2-40B4-BE49-F238E27FC236}">
                <a16:creationId xmlns:a16="http://schemas.microsoft.com/office/drawing/2014/main" id="{8627C992-6628-4EC3-B66A-7FD4DD4D1891}"/>
              </a:ext>
            </a:extLst>
          </p:cNvPr>
          <p:cNvSpPr txBox="1">
            <a:spLocks/>
          </p:cNvSpPr>
          <p:nvPr userDrawn="1"/>
        </p:nvSpPr>
        <p:spPr>
          <a:xfrm>
            <a:off x="19426904" y="8135394"/>
            <a:ext cx="1675898" cy="53242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2400"/>
              </a:spcAft>
            </a:pPr>
            <a:r>
              <a:rPr lang="en-US" sz="32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5" name="Заголовок 2">
            <a:extLst>
              <a:ext uri="{FF2B5EF4-FFF2-40B4-BE49-F238E27FC236}">
                <a16:creationId xmlns:a16="http://schemas.microsoft.com/office/drawing/2014/main" id="{00299CD3-2E47-4C8C-B502-48349F8012AE}"/>
              </a:ext>
            </a:extLst>
          </p:cNvPr>
          <p:cNvSpPr txBox="1">
            <a:spLocks/>
          </p:cNvSpPr>
          <p:nvPr userDrawn="1"/>
        </p:nvSpPr>
        <p:spPr>
          <a:xfrm>
            <a:off x="17308166" y="8769961"/>
            <a:ext cx="162538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Основная размерность</a:t>
            </a:r>
          </a:p>
        </p:txBody>
      </p:sp>
    </p:spTree>
    <p:extLst>
      <p:ext uri="{BB962C8B-B14F-4D97-AF65-F5344CB8AC3E}">
        <p14:creationId xmlns:p14="http://schemas.microsoft.com/office/powerpoint/2010/main" val="38538561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8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8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0E22720-58D6-7E6C-888F-7E3AD9A07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0000" y="10386597"/>
            <a:ext cx="18170402" cy="1534010"/>
          </a:xfrm>
        </p:spPr>
        <p:txBody>
          <a:bodyPr anchor="t"/>
          <a:lstStyle>
            <a:lvl1pPr>
              <a:lnSpc>
                <a:spcPct val="89000"/>
              </a:lnSpc>
              <a:defRPr sz="5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lnSpc>
                <a:spcPct val="89000"/>
              </a:lnSpc>
              <a:defRPr sz="5600">
                <a:latin typeface="+mn-lt"/>
              </a:defRPr>
            </a:lvl2pPr>
            <a:lvl3pPr>
              <a:lnSpc>
                <a:spcPct val="89000"/>
              </a:lnSpc>
              <a:defRPr sz="5600">
                <a:latin typeface="+mn-lt"/>
              </a:defRPr>
            </a:lvl3pPr>
            <a:lvl4pPr>
              <a:lnSpc>
                <a:spcPct val="89000"/>
              </a:lnSpc>
              <a:defRPr sz="5600">
                <a:latin typeface="+mn-lt"/>
              </a:defRPr>
            </a:lvl4pPr>
            <a:lvl5pPr>
              <a:lnSpc>
                <a:spcPct val="89000"/>
              </a:lnSpc>
              <a:defRPr sz="5600">
                <a:latin typeface="+mn-lt"/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6C2636-F924-EB3D-C3F7-C698E9988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6259603"/>
            <a:ext cx="19678650" cy="3662734"/>
          </a:xfrm>
        </p:spPr>
        <p:txBody>
          <a:bodyPr vert="horz"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88C61EF0-1A83-6293-2304-9718A527A40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566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ograph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670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Оформление списков</a:t>
            </a:r>
            <a:endParaRPr lang="ru-RU" noProof="0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BBA08F69-5FA1-C9F9-F659-52489D1E8E2F}"/>
              </a:ext>
            </a:extLst>
          </p:cNvPr>
          <p:cNvGrpSpPr/>
          <p:nvPr userDrawn="1"/>
        </p:nvGrpSpPr>
        <p:grpSpPr>
          <a:xfrm>
            <a:off x="3593514" y="10714273"/>
            <a:ext cx="7336989" cy="466900"/>
            <a:chOff x="12530137" y="2818368"/>
            <a:chExt cx="7490410" cy="466900"/>
          </a:xfrm>
        </p:grpSpPr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F21541D6-DAAF-B378-79DF-2D25D5408E4A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25F23708-7DBF-1541-09E2-AD714D48738E}"/>
                </a:ext>
              </a:extLst>
            </p:cNvPr>
            <p:cNvCxnSpPr/>
            <p:nvPr/>
          </p:nvCxnSpPr>
          <p:spPr>
            <a:xfrm>
              <a:off x="12530137" y="32852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5DE05A3-01C4-1918-102B-D10C8B9A1D40}"/>
              </a:ext>
            </a:extLst>
          </p:cNvPr>
          <p:cNvGrpSpPr/>
          <p:nvPr userDrawn="1"/>
        </p:nvGrpSpPr>
        <p:grpSpPr>
          <a:xfrm>
            <a:off x="3593514" y="3854138"/>
            <a:ext cx="7336989" cy="642185"/>
            <a:chOff x="12530137" y="2818368"/>
            <a:chExt cx="7490410" cy="642185"/>
          </a:xfrm>
        </p:grpSpPr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152267A2-7AC7-F229-716F-BC2FDFCD4532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C39A0FDC-8F0B-DF83-A3F8-6F830D87C090}"/>
                </a:ext>
              </a:extLst>
            </p:cNvPr>
            <p:cNvCxnSpPr/>
            <p:nvPr/>
          </p:nvCxnSpPr>
          <p:spPr>
            <a:xfrm>
              <a:off x="12530137" y="3460553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9D1819B6-7485-9CAE-AF06-2202DF0062DD}"/>
              </a:ext>
            </a:extLst>
          </p:cNvPr>
          <p:cNvGrpSpPr/>
          <p:nvPr userDrawn="1"/>
        </p:nvGrpSpPr>
        <p:grpSpPr>
          <a:xfrm>
            <a:off x="3593514" y="8451973"/>
            <a:ext cx="7336989" cy="598387"/>
            <a:chOff x="12530137" y="2818368"/>
            <a:chExt cx="7490410" cy="598387"/>
          </a:xfrm>
        </p:grpSpPr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8833937C-4FBB-24DC-8210-0F8EED56D6DE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868D7F01-273A-BF88-08EC-428B4E70A22B}"/>
                </a:ext>
              </a:extLst>
            </p:cNvPr>
            <p:cNvCxnSpPr/>
            <p:nvPr/>
          </p:nvCxnSpPr>
          <p:spPr>
            <a:xfrm>
              <a:off x="12530137" y="3416755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40B525F6-0465-CF62-F584-1652311C7D15}"/>
              </a:ext>
            </a:extLst>
          </p:cNvPr>
          <p:cNvGrpSpPr/>
          <p:nvPr userDrawn="1"/>
        </p:nvGrpSpPr>
        <p:grpSpPr>
          <a:xfrm>
            <a:off x="15097990" y="3853533"/>
            <a:ext cx="6121216" cy="457756"/>
            <a:chOff x="12530137" y="2818368"/>
            <a:chExt cx="7490410" cy="457756"/>
          </a:xfrm>
        </p:grpSpPr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C1635808-C46A-8287-7714-15D531B36974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7EF0B1E6-7852-61D5-E693-F1052AABC25D}"/>
                </a:ext>
              </a:extLst>
            </p:cNvPr>
            <p:cNvCxnSpPr/>
            <p:nvPr/>
          </p:nvCxnSpPr>
          <p:spPr>
            <a:xfrm>
              <a:off x="12530137" y="3276124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883B6805-8F50-BBEF-BAAB-CDB3CA7E34CF}"/>
              </a:ext>
            </a:extLst>
          </p:cNvPr>
          <p:cNvGrpSpPr/>
          <p:nvPr userDrawn="1"/>
        </p:nvGrpSpPr>
        <p:grpSpPr>
          <a:xfrm>
            <a:off x="15097990" y="6228895"/>
            <a:ext cx="6121216" cy="366692"/>
            <a:chOff x="12530137" y="2818368"/>
            <a:chExt cx="7490410" cy="366692"/>
          </a:xfrm>
        </p:grpSpPr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6F67DDC3-EDD3-C2B8-DDF7-41CE52ED3424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4843D186-88A3-C79E-A569-98C3EBBD419F}"/>
                </a:ext>
              </a:extLst>
            </p:cNvPr>
            <p:cNvCxnSpPr/>
            <p:nvPr/>
          </p:nvCxnSpPr>
          <p:spPr>
            <a:xfrm>
              <a:off x="12530137" y="3185060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430E9741-E1CA-DD3B-EDDD-3B91237CC262}"/>
              </a:ext>
            </a:extLst>
          </p:cNvPr>
          <p:cNvGrpSpPr/>
          <p:nvPr userDrawn="1"/>
        </p:nvGrpSpPr>
        <p:grpSpPr>
          <a:xfrm>
            <a:off x="15097990" y="10713245"/>
            <a:ext cx="6121216" cy="313527"/>
            <a:chOff x="12530137" y="2818368"/>
            <a:chExt cx="7490410" cy="313527"/>
          </a:xfrm>
        </p:grpSpPr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E7D46401-79D1-4E3E-EDB5-E9FA904B0AA3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CA7B7EB7-8E0E-D599-CE4F-91AB041BC98F}"/>
                </a:ext>
              </a:extLst>
            </p:cNvPr>
            <p:cNvCxnSpPr/>
            <p:nvPr/>
          </p:nvCxnSpPr>
          <p:spPr>
            <a:xfrm>
              <a:off x="12530137" y="3131895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B99A11D5-CA4A-B46C-23E1-E8A1AA0847C6}"/>
              </a:ext>
            </a:extLst>
          </p:cNvPr>
          <p:cNvGrpSpPr/>
          <p:nvPr userDrawn="1"/>
        </p:nvGrpSpPr>
        <p:grpSpPr>
          <a:xfrm>
            <a:off x="3593514" y="6228402"/>
            <a:ext cx="7248212" cy="596376"/>
            <a:chOff x="12530137" y="2818368"/>
            <a:chExt cx="7490410" cy="596376"/>
          </a:xfrm>
        </p:grpSpPr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91BA138C-0E8B-89F3-9DAE-17A73D19C858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8C074D7E-D9EE-4ADC-91D5-BE5867B7B603}"/>
                </a:ext>
              </a:extLst>
            </p:cNvPr>
            <p:cNvCxnSpPr/>
            <p:nvPr/>
          </p:nvCxnSpPr>
          <p:spPr>
            <a:xfrm>
              <a:off x="12530137" y="3414744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B9B61C55-0937-7C82-4FC3-9B942D126363}"/>
              </a:ext>
            </a:extLst>
          </p:cNvPr>
          <p:cNvGrpSpPr/>
          <p:nvPr userDrawn="1"/>
        </p:nvGrpSpPr>
        <p:grpSpPr>
          <a:xfrm>
            <a:off x="15097990" y="8472235"/>
            <a:ext cx="6121216" cy="366692"/>
            <a:chOff x="12530137" y="2818368"/>
            <a:chExt cx="7490410" cy="366692"/>
          </a:xfrm>
        </p:grpSpPr>
        <p:cxnSp>
          <p:nvCxnSpPr>
            <p:cNvPr id="45" name="Прямая соединительная линия 44">
              <a:extLst>
                <a:ext uri="{FF2B5EF4-FFF2-40B4-BE49-F238E27FC236}">
                  <a16:creationId xmlns:a16="http://schemas.microsoft.com/office/drawing/2014/main" id="{1AB78EFD-C914-283D-8C1E-D4F43715D465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889CAE63-B6A4-143B-807B-22A648F25FD7}"/>
                </a:ext>
              </a:extLst>
            </p:cNvPr>
            <p:cNvCxnSpPr/>
            <p:nvPr/>
          </p:nvCxnSpPr>
          <p:spPr>
            <a:xfrm>
              <a:off x="12530137" y="3185060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F4E1141C-A72E-F714-D5A6-9D0113A6F9C7}"/>
              </a:ext>
            </a:extLst>
          </p:cNvPr>
          <p:cNvSpPr/>
          <p:nvPr userDrawn="1"/>
        </p:nvSpPr>
        <p:spPr>
          <a:xfrm>
            <a:off x="1440000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4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27CDE54E-61E3-FB9F-A275-285C7D934DCC}"/>
              </a:ext>
            </a:extLst>
          </p:cNvPr>
          <p:cNvGrpSpPr/>
          <p:nvPr userDrawn="1"/>
        </p:nvGrpSpPr>
        <p:grpSpPr>
          <a:xfrm>
            <a:off x="10237711" y="3860230"/>
            <a:ext cx="692794" cy="630000"/>
            <a:chOff x="10237711" y="3860230"/>
            <a:chExt cx="692794" cy="630000"/>
          </a:xfrm>
        </p:grpSpPr>
        <p:cxnSp>
          <p:nvCxnSpPr>
            <p:cNvPr id="49" name="Прямая со стрелкой 48">
              <a:extLst>
                <a:ext uri="{FF2B5EF4-FFF2-40B4-BE49-F238E27FC236}">
                  <a16:creationId xmlns:a16="http://schemas.microsoft.com/office/drawing/2014/main" id="{DB390910-5DF4-3FF1-2AC4-1D014BAF28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3860230"/>
              <a:ext cx="0" cy="6300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Заголовок 2">
              <a:extLst>
                <a:ext uri="{FF2B5EF4-FFF2-40B4-BE49-F238E27FC236}">
                  <a16:creationId xmlns:a16="http://schemas.microsoft.com/office/drawing/2014/main" id="{54306E6B-7209-FB3F-39B6-1D625CC150B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343806" y="4028569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942A42A1-DC64-87FE-CB9F-60B87FC86ECC}"/>
              </a:ext>
            </a:extLst>
          </p:cNvPr>
          <p:cNvGrpSpPr/>
          <p:nvPr userDrawn="1"/>
        </p:nvGrpSpPr>
        <p:grpSpPr>
          <a:xfrm>
            <a:off x="3764224" y="3487876"/>
            <a:ext cx="374400" cy="1488051"/>
            <a:chOff x="3764224" y="3487876"/>
            <a:chExt cx="374400" cy="1488051"/>
          </a:xfrm>
        </p:grpSpPr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49739F22-E7F3-DE3E-0627-5D4DA7DF16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02521" y="3487876"/>
              <a:ext cx="0" cy="148805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id="{8880CABA-B7E7-2C9F-2AF5-A4808E9332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00327" y="3487876"/>
              <a:ext cx="0" cy="148805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 стрелкой 61">
              <a:extLst>
                <a:ext uri="{FF2B5EF4-FFF2-40B4-BE49-F238E27FC236}">
                  <a16:creationId xmlns:a16="http://schemas.microsoft.com/office/drawing/2014/main" id="{7BC92AE0-63BF-8D1B-33D7-D3F5475154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64224" y="4942290"/>
              <a:ext cx="374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Заголовок 2">
            <a:extLst>
              <a:ext uri="{FF2B5EF4-FFF2-40B4-BE49-F238E27FC236}">
                <a16:creationId xmlns:a16="http://schemas.microsoft.com/office/drawing/2014/main" id="{14A87D7D-F8B7-C833-009A-5106FD221E21}"/>
              </a:ext>
            </a:extLst>
          </p:cNvPr>
          <p:cNvSpPr txBox="1">
            <a:spLocks/>
          </p:cNvSpPr>
          <p:nvPr userDrawn="1"/>
        </p:nvSpPr>
        <p:spPr>
          <a:xfrm>
            <a:off x="3802521" y="5017903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4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8" name="Скругленный прямоугольник 67">
            <a:extLst>
              <a:ext uri="{FF2B5EF4-FFF2-40B4-BE49-F238E27FC236}">
                <a16:creationId xmlns:a16="http://schemas.microsoft.com/office/drawing/2014/main" id="{15AA429C-5AA2-5FE3-1C93-EDE321C3379B}"/>
              </a:ext>
            </a:extLst>
          </p:cNvPr>
          <p:cNvSpPr/>
          <p:nvPr userDrawn="1"/>
        </p:nvSpPr>
        <p:spPr>
          <a:xfrm>
            <a:off x="1440000" y="592405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36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A19B64B0-8BB2-6122-9BCF-73BD22D95E1E}"/>
              </a:ext>
            </a:extLst>
          </p:cNvPr>
          <p:cNvGrpSpPr/>
          <p:nvPr userDrawn="1"/>
        </p:nvGrpSpPr>
        <p:grpSpPr>
          <a:xfrm>
            <a:off x="10237711" y="6239453"/>
            <a:ext cx="1494295" cy="568800"/>
            <a:chOff x="10237711" y="6239453"/>
            <a:chExt cx="1494295" cy="568800"/>
          </a:xfrm>
        </p:grpSpPr>
        <p:cxnSp>
          <p:nvCxnSpPr>
            <p:cNvPr id="70" name="Прямая со стрелкой 69">
              <a:extLst>
                <a:ext uri="{FF2B5EF4-FFF2-40B4-BE49-F238E27FC236}">
                  <a16:creationId xmlns:a16="http://schemas.microsoft.com/office/drawing/2014/main" id="{E6459136-F5E9-ABD8-B2DA-0454454C2B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6239453"/>
              <a:ext cx="0" cy="5688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Заголовок 2">
              <a:extLst>
                <a:ext uri="{FF2B5EF4-FFF2-40B4-BE49-F238E27FC236}">
                  <a16:creationId xmlns:a16="http://schemas.microsoft.com/office/drawing/2014/main" id="{949FE326-7387-0CA0-8FF6-B091D1753C72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6367667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8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2CDCCA85-FFAC-655D-33A3-AE831BA3AF9E}"/>
              </a:ext>
            </a:extLst>
          </p:cNvPr>
          <p:cNvGrpSpPr/>
          <p:nvPr userDrawn="1"/>
        </p:nvGrpSpPr>
        <p:grpSpPr>
          <a:xfrm>
            <a:off x="3756752" y="5881317"/>
            <a:ext cx="338400" cy="1394788"/>
            <a:chOff x="3756752" y="5881317"/>
            <a:chExt cx="338400" cy="1394788"/>
          </a:xfrm>
        </p:grpSpPr>
        <p:cxnSp>
          <p:nvCxnSpPr>
            <p:cNvPr id="73" name="Прямая соединительная линия 72">
              <a:extLst>
                <a:ext uri="{FF2B5EF4-FFF2-40B4-BE49-F238E27FC236}">
                  <a16:creationId xmlns:a16="http://schemas.microsoft.com/office/drawing/2014/main" id="{944C357E-0944-7CC0-5050-F6B42EEB605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91369" y="5881317"/>
              <a:ext cx="0" cy="13947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Прямая соединительная линия 80">
              <a:extLst>
                <a:ext uri="{FF2B5EF4-FFF2-40B4-BE49-F238E27FC236}">
                  <a16:creationId xmlns:a16="http://schemas.microsoft.com/office/drawing/2014/main" id="{7B7FA1F9-43FE-0F9C-2698-804D1851BFE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060535" y="5881317"/>
              <a:ext cx="0" cy="13947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 стрелкой 85">
              <a:extLst>
                <a:ext uri="{FF2B5EF4-FFF2-40B4-BE49-F238E27FC236}">
                  <a16:creationId xmlns:a16="http://schemas.microsoft.com/office/drawing/2014/main" id="{A56941D4-5A3A-855F-0EB8-6CA33773CA8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756752" y="7247015"/>
              <a:ext cx="338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Заголовок 2">
            <a:extLst>
              <a:ext uri="{FF2B5EF4-FFF2-40B4-BE49-F238E27FC236}">
                <a16:creationId xmlns:a16="http://schemas.microsoft.com/office/drawing/2014/main" id="{F6E1DBA7-8B23-8A2A-D7FB-8FD274868F44}"/>
              </a:ext>
            </a:extLst>
          </p:cNvPr>
          <p:cNvSpPr txBox="1">
            <a:spLocks/>
          </p:cNvSpPr>
          <p:nvPr userDrawn="1"/>
        </p:nvSpPr>
        <p:spPr>
          <a:xfrm>
            <a:off x="3791369" y="7322628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3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8" name="Скругленный прямоугольник 87">
            <a:extLst>
              <a:ext uri="{FF2B5EF4-FFF2-40B4-BE49-F238E27FC236}">
                <a16:creationId xmlns:a16="http://schemas.microsoft.com/office/drawing/2014/main" id="{28F024E5-87C6-863B-3E39-D49393090DD7}"/>
              </a:ext>
            </a:extLst>
          </p:cNvPr>
          <p:cNvSpPr/>
          <p:nvPr userDrawn="1"/>
        </p:nvSpPr>
        <p:spPr>
          <a:xfrm>
            <a:off x="1440000" y="814697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3</a:t>
            </a:r>
            <a:r>
              <a:rPr lang="en-US" sz="2000" dirty="0">
                <a:solidFill>
                  <a:schemeClr val="bg1"/>
                </a:solidFill>
              </a:rPr>
              <a:t>2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89" name="Группа 88">
            <a:extLst>
              <a:ext uri="{FF2B5EF4-FFF2-40B4-BE49-F238E27FC236}">
                <a16:creationId xmlns:a16="http://schemas.microsoft.com/office/drawing/2014/main" id="{80686902-81AD-FBFF-1BD8-5AEA5E06B0BB}"/>
              </a:ext>
            </a:extLst>
          </p:cNvPr>
          <p:cNvGrpSpPr/>
          <p:nvPr userDrawn="1"/>
        </p:nvGrpSpPr>
        <p:grpSpPr>
          <a:xfrm>
            <a:off x="10237711" y="8463166"/>
            <a:ext cx="1494295" cy="576000"/>
            <a:chOff x="10237711" y="8463166"/>
            <a:chExt cx="1494295" cy="576000"/>
          </a:xfrm>
        </p:grpSpPr>
        <p:cxnSp>
          <p:nvCxnSpPr>
            <p:cNvPr id="90" name="Прямая со стрелкой 89">
              <a:extLst>
                <a:ext uri="{FF2B5EF4-FFF2-40B4-BE49-F238E27FC236}">
                  <a16:creationId xmlns:a16="http://schemas.microsoft.com/office/drawing/2014/main" id="{186463A0-17C1-DBED-77D7-12460451D4B4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8463166"/>
              <a:ext cx="0" cy="5760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Заголовок 2">
              <a:extLst>
                <a:ext uri="{FF2B5EF4-FFF2-40B4-BE49-F238E27FC236}">
                  <a16:creationId xmlns:a16="http://schemas.microsoft.com/office/drawing/2014/main" id="{5E51C364-E501-3A6E-0DF0-20319A487AB3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8604505"/>
              <a:ext cx="1388201" cy="293323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1F90DB11-DE43-A524-F531-DC2A88DB423A}"/>
              </a:ext>
            </a:extLst>
          </p:cNvPr>
          <p:cNvGrpSpPr/>
          <p:nvPr userDrawn="1"/>
        </p:nvGrpSpPr>
        <p:grpSpPr>
          <a:xfrm>
            <a:off x="3735226" y="8151518"/>
            <a:ext cx="324000" cy="1332031"/>
            <a:chOff x="3735226" y="8151518"/>
            <a:chExt cx="324000" cy="1332031"/>
          </a:xfrm>
        </p:grpSpPr>
        <p:cxnSp>
          <p:nvCxnSpPr>
            <p:cNvPr id="93" name="Прямая соединительная линия 92">
              <a:extLst>
                <a:ext uri="{FF2B5EF4-FFF2-40B4-BE49-F238E27FC236}">
                  <a16:creationId xmlns:a16="http://schemas.microsoft.com/office/drawing/2014/main" id="{AB889B07-D911-AF2A-BB3D-FE7D766A58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69065" y="8151518"/>
              <a:ext cx="0" cy="133203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Прямая соединительная линия 93">
              <a:extLst>
                <a:ext uri="{FF2B5EF4-FFF2-40B4-BE49-F238E27FC236}">
                  <a16:creationId xmlns:a16="http://schemas.microsoft.com/office/drawing/2014/main" id="{7007F9CB-ABAE-7296-0611-614162630E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25387" y="8151518"/>
              <a:ext cx="0" cy="133203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 стрелкой 94">
              <a:extLst>
                <a:ext uri="{FF2B5EF4-FFF2-40B4-BE49-F238E27FC236}">
                  <a16:creationId xmlns:a16="http://schemas.microsoft.com/office/drawing/2014/main" id="{B0C3D425-7F01-3C2C-3950-8F1639350C0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735226" y="9449756"/>
              <a:ext cx="3240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6" name="Заголовок 2">
            <a:extLst>
              <a:ext uri="{FF2B5EF4-FFF2-40B4-BE49-F238E27FC236}">
                <a16:creationId xmlns:a16="http://schemas.microsoft.com/office/drawing/2014/main" id="{84B042C5-79C3-2379-5994-3E392C059269}"/>
              </a:ext>
            </a:extLst>
          </p:cNvPr>
          <p:cNvSpPr txBox="1">
            <a:spLocks/>
          </p:cNvSpPr>
          <p:nvPr userDrawn="1"/>
        </p:nvSpPr>
        <p:spPr>
          <a:xfrm>
            <a:off x="3769065" y="9525369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2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3" name="Скругленный прямоугольник 172">
            <a:extLst>
              <a:ext uri="{FF2B5EF4-FFF2-40B4-BE49-F238E27FC236}">
                <a16:creationId xmlns:a16="http://schemas.microsoft.com/office/drawing/2014/main" id="{FC0C5C53-EE8D-1FBD-97C5-82DDAF727820}"/>
              </a:ext>
            </a:extLst>
          </p:cNvPr>
          <p:cNvSpPr/>
          <p:nvPr userDrawn="1"/>
        </p:nvSpPr>
        <p:spPr>
          <a:xfrm>
            <a:off x="1440000" y="1040013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8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D2F909DD-7316-65FC-AB6E-FC45628FACC3}"/>
              </a:ext>
            </a:extLst>
          </p:cNvPr>
          <p:cNvGrpSpPr/>
          <p:nvPr userDrawn="1"/>
        </p:nvGrpSpPr>
        <p:grpSpPr>
          <a:xfrm>
            <a:off x="10237711" y="10726323"/>
            <a:ext cx="1494295" cy="442800"/>
            <a:chOff x="10237711" y="10726323"/>
            <a:chExt cx="1494295" cy="442800"/>
          </a:xfrm>
        </p:grpSpPr>
        <p:cxnSp>
          <p:nvCxnSpPr>
            <p:cNvPr id="175" name="Прямая со стрелкой 174">
              <a:extLst>
                <a:ext uri="{FF2B5EF4-FFF2-40B4-BE49-F238E27FC236}">
                  <a16:creationId xmlns:a16="http://schemas.microsoft.com/office/drawing/2014/main" id="{327087FE-9344-94F1-B9AC-FBE5B969C9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237711" y="10726323"/>
              <a:ext cx="0" cy="4428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Заголовок 2">
              <a:extLst>
                <a:ext uri="{FF2B5EF4-FFF2-40B4-BE49-F238E27FC236}">
                  <a16:creationId xmlns:a16="http://schemas.microsoft.com/office/drawing/2014/main" id="{B2ED4744-9B10-780E-74ED-FFE7D9254522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10801062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8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2EAE7DC1-C691-7CD6-6536-64A1004D01F5}"/>
              </a:ext>
            </a:extLst>
          </p:cNvPr>
          <p:cNvGrpSpPr/>
          <p:nvPr userDrawn="1"/>
        </p:nvGrpSpPr>
        <p:grpSpPr>
          <a:xfrm>
            <a:off x="3718899" y="10445855"/>
            <a:ext cx="306000" cy="1149876"/>
            <a:chOff x="3718899" y="10445855"/>
            <a:chExt cx="306000" cy="1149876"/>
          </a:xfrm>
        </p:grpSpPr>
        <p:cxnSp>
          <p:nvCxnSpPr>
            <p:cNvPr id="178" name="Прямая соединительная линия 177">
              <a:extLst>
                <a:ext uri="{FF2B5EF4-FFF2-40B4-BE49-F238E27FC236}">
                  <a16:creationId xmlns:a16="http://schemas.microsoft.com/office/drawing/2014/main" id="{936226C2-525A-2C99-25F5-78F48419AC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51316" y="10445855"/>
              <a:ext cx="0" cy="114987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Прямая соединительная линия 178">
              <a:extLst>
                <a:ext uri="{FF2B5EF4-FFF2-40B4-BE49-F238E27FC236}">
                  <a16:creationId xmlns:a16="http://schemas.microsoft.com/office/drawing/2014/main" id="{3794AB55-BA21-9083-072B-6AC9FF2F96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2482" y="10445855"/>
              <a:ext cx="0" cy="114987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Прямая со стрелкой 186">
              <a:extLst>
                <a:ext uri="{FF2B5EF4-FFF2-40B4-BE49-F238E27FC236}">
                  <a16:creationId xmlns:a16="http://schemas.microsoft.com/office/drawing/2014/main" id="{40B71FC4-9648-88EE-AE74-C7E42CAAF8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18899" y="11563330"/>
              <a:ext cx="3060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2" name="Заголовок 2">
            <a:extLst>
              <a:ext uri="{FF2B5EF4-FFF2-40B4-BE49-F238E27FC236}">
                <a16:creationId xmlns:a16="http://schemas.microsoft.com/office/drawing/2014/main" id="{67DC9BE0-3054-78A2-FEC7-2B6394CB4FBD}"/>
              </a:ext>
            </a:extLst>
          </p:cNvPr>
          <p:cNvSpPr txBox="1">
            <a:spLocks/>
          </p:cNvSpPr>
          <p:nvPr userDrawn="1"/>
        </p:nvSpPr>
        <p:spPr>
          <a:xfrm>
            <a:off x="3751316" y="11638943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1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0" name="Скругленный прямоугольник 199">
            <a:extLst>
              <a:ext uri="{FF2B5EF4-FFF2-40B4-BE49-F238E27FC236}">
                <a16:creationId xmlns:a16="http://schemas.microsoft.com/office/drawing/2014/main" id="{292E02FE-1EA9-0E68-8CE9-E97515EC9746}"/>
              </a:ext>
            </a:extLst>
          </p:cNvPr>
          <p:cNvSpPr/>
          <p:nvPr userDrawn="1"/>
        </p:nvSpPr>
        <p:spPr>
          <a:xfrm>
            <a:off x="12944475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8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05" name="Группа 204">
            <a:extLst>
              <a:ext uri="{FF2B5EF4-FFF2-40B4-BE49-F238E27FC236}">
                <a16:creationId xmlns:a16="http://schemas.microsoft.com/office/drawing/2014/main" id="{3ED369CA-1CB2-6AF4-568A-0591B276D424}"/>
              </a:ext>
            </a:extLst>
          </p:cNvPr>
          <p:cNvGrpSpPr/>
          <p:nvPr userDrawn="1"/>
        </p:nvGrpSpPr>
        <p:grpSpPr>
          <a:xfrm>
            <a:off x="20526421" y="3862811"/>
            <a:ext cx="1494295" cy="439200"/>
            <a:chOff x="20526421" y="3862811"/>
            <a:chExt cx="1494295" cy="439200"/>
          </a:xfrm>
        </p:grpSpPr>
        <p:cxnSp>
          <p:nvCxnSpPr>
            <p:cNvPr id="206" name="Прямая со стрелкой 205">
              <a:extLst>
                <a:ext uri="{FF2B5EF4-FFF2-40B4-BE49-F238E27FC236}">
                  <a16:creationId xmlns:a16="http://schemas.microsoft.com/office/drawing/2014/main" id="{469CAD2C-E52B-34E9-8D7A-4CC3E6457C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3862811"/>
              <a:ext cx="0" cy="4392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" name="Заголовок 2">
              <a:extLst>
                <a:ext uri="{FF2B5EF4-FFF2-40B4-BE49-F238E27FC236}">
                  <a16:creationId xmlns:a16="http://schemas.microsoft.com/office/drawing/2014/main" id="{002F53BD-96B3-B480-3473-4AA7EFDEA6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3935750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8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208" name="Заголовок 2">
            <a:extLst>
              <a:ext uri="{FF2B5EF4-FFF2-40B4-BE49-F238E27FC236}">
                <a16:creationId xmlns:a16="http://schemas.microsoft.com/office/drawing/2014/main" id="{0A4D6B9F-CC6D-6C37-D590-CAE8FA503DF2}"/>
              </a:ext>
            </a:extLst>
          </p:cNvPr>
          <p:cNvSpPr txBox="1">
            <a:spLocks/>
          </p:cNvSpPr>
          <p:nvPr userDrawn="1"/>
        </p:nvSpPr>
        <p:spPr>
          <a:xfrm>
            <a:off x="15342882" y="4768457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2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9" name="Скругленный прямоугольник 208">
            <a:extLst>
              <a:ext uri="{FF2B5EF4-FFF2-40B4-BE49-F238E27FC236}">
                <a16:creationId xmlns:a16="http://schemas.microsoft.com/office/drawing/2014/main" id="{F3943946-06FA-1580-C625-73DDF1B1E1C9}"/>
              </a:ext>
            </a:extLst>
          </p:cNvPr>
          <p:cNvSpPr/>
          <p:nvPr userDrawn="1"/>
        </p:nvSpPr>
        <p:spPr>
          <a:xfrm>
            <a:off x="12944475" y="592405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24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10" name="Группа 209">
            <a:extLst>
              <a:ext uri="{FF2B5EF4-FFF2-40B4-BE49-F238E27FC236}">
                <a16:creationId xmlns:a16="http://schemas.microsoft.com/office/drawing/2014/main" id="{841809D8-835A-4A27-DE53-91BD24FFCD59}"/>
              </a:ext>
            </a:extLst>
          </p:cNvPr>
          <p:cNvGrpSpPr/>
          <p:nvPr userDrawn="1"/>
        </p:nvGrpSpPr>
        <p:grpSpPr>
          <a:xfrm>
            <a:off x="20526421" y="6239441"/>
            <a:ext cx="692793" cy="345600"/>
            <a:chOff x="20526421" y="6239441"/>
            <a:chExt cx="692793" cy="345600"/>
          </a:xfrm>
        </p:grpSpPr>
        <p:cxnSp>
          <p:nvCxnSpPr>
            <p:cNvPr id="211" name="Прямая со стрелкой 210">
              <a:extLst>
                <a:ext uri="{FF2B5EF4-FFF2-40B4-BE49-F238E27FC236}">
                  <a16:creationId xmlns:a16="http://schemas.microsoft.com/office/drawing/2014/main" id="{AE2486C0-B88D-C5E9-8BC1-AB7A78AF52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6239441"/>
              <a:ext cx="0" cy="345600"/>
            </a:xfrm>
            <a:prstGeom prst="straightConnector1">
              <a:avLst/>
            </a:prstGeom>
            <a:ln w="19050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2" name="Заголовок 2">
              <a:extLst>
                <a:ext uri="{FF2B5EF4-FFF2-40B4-BE49-F238E27FC236}">
                  <a16:creationId xmlns:a16="http://schemas.microsoft.com/office/drawing/2014/main" id="{26BB1269-E59A-5EF5-C868-FD57EC929B2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6265580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13" name="Группа 212">
            <a:extLst>
              <a:ext uri="{FF2B5EF4-FFF2-40B4-BE49-F238E27FC236}">
                <a16:creationId xmlns:a16="http://schemas.microsoft.com/office/drawing/2014/main" id="{AFF80234-3204-146C-E6D0-5A4BC6959BFE}"/>
              </a:ext>
            </a:extLst>
          </p:cNvPr>
          <p:cNvGrpSpPr/>
          <p:nvPr userDrawn="1"/>
        </p:nvGrpSpPr>
        <p:grpSpPr>
          <a:xfrm>
            <a:off x="15317308" y="5986663"/>
            <a:ext cx="223200" cy="998991"/>
            <a:chOff x="15317308" y="5986663"/>
            <a:chExt cx="223200" cy="998991"/>
          </a:xfrm>
        </p:grpSpPr>
        <p:cxnSp>
          <p:nvCxnSpPr>
            <p:cNvPr id="214" name="Прямая соединительная линия 213">
              <a:extLst>
                <a:ext uri="{FF2B5EF4-FFF2-40B4-BE49-F238E27FC236}">
                  <a16:creationId xmlns:a16="http://schemas.microsoft.com/office/drawing/2014/main" id="{74F1CBE8-19D2-9E84-E2EE-95DE9C36F3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53702" y="5986663"/>
              <a:ext cx="0" cy="99899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Прямая соединительная линия 214">
              <a:extLst>
                <a:ext uri="{FF2B5EF4-FFF2-40B4-BE49-F238E27FC236}">
                  <a16:creationId xmlns:a16="http://schemas.microsoft.com/office/drawing/2014/main" id="{0A05B016-6D54-DCFA-DBE6-B7268321D62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504114" y="5986663"/>
              <a:ext cx="0" cy="99899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Прямая со стрелкой 221">
              <a:extLst>
                <a:ext uri="{FF2B5EF4-FFF2-40B4-BE49-F238E27FC236}">
                  <a16:creationId xmlns:a16="http://schemas.microsoft.com/office/drawing/2014/main" id="{CACB05C2-957C-35AA-6F69-D6885190109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5317308" y="6947295"/>
              <a:ext cx="2232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8" name="Заголовок 2">
            <a:extLst>
              <a:ext uri="{FF2B5EF4-FFF2-40B4-BE49-F238E27FC236}">
                <a16:creationId xmlns:a16="http://schemas.microsoft.com/office/drawing/2014/main" id="{F5C0AC75-ECB4-5669-C69C-01EE978D71ED}"/>
              </a:ext>
            </a:extLst>
          </p:cNvPr>
          <p:cNvSpPr txBox="1">
            <a:spLocks/>
          </p:cNvSpPr>
          <p:nvPr userDrawn="1"/>
        </p:nvSpPr>
        <p:spPr>
          <a:xfrm>
            <a:off x="15325126" y="7022908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2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9" name="Скругленный прямоугольник 228">
            <a:extLst>
              <a:ext uri="{FF2B5EF4-FFF2-40B4-BE49-F238E27FC236}">
                <a16:creationId xmlns:a16="http://schemas.microsoft.com/office/drawing/2014/main" id="{3B0422D8-DCC6-9A1E-EAB7-303E4D8F67A1}"/>
              </a:ext>
            </a:extLst>
          </p:cNvPr>
          <p:cNvSpPr/>
          <p:nvPr userDrawn="1"/>
        </p:nvSpPr>
        <p:spPr>
          <a:xfrm>
            <a:off x="12944475" y="1040013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2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30" name="Группа 229">
            <a:extLst>
              <a:ext uri="{FF2B5EF4-FFF2-40B4-BE49-F238E27FC236}">
                <a16:creationId xmlns:a16="http://schemas.microsoft.com/office/drawing/2014/main" id="{6C00C230-4B8A-3A8E-8776-BCFE2FBA0CB2}"/>
              </a:ext>
            </a:extLst>
          </p:cNvPr>
          <p:cNvGrpSpPr/>
          <p:nvPr userDrawn="1"/>
        </p:nvGrpSpPr>
        <p:grpSpPr>
          <a:xfrm>
            <a:off x="15273876" y="10505404"/>
            <a:ext cx="194400" cy="885105"/>
            <a:chOff x="15273876" y="10505404"/>
            <a:chExt cx="194400" cy="885105"/>
          </a:xfrm>
        </p:grpSpPr>
        <p:cxnSp>
          <p:nvCxnSpPr>
            <p:cNvPr id="235" name="Прямая соединительная линия 234">
              <a:extLst>
                <a:ext uri="{FF2B5EF4-FFF2-40B4-BE49-F238E27FC236}">
                  <a16:creationId xmlns:a16="http://schemas.microsoft.com/office/drawing/2014/main" id="{BE8BBEF9-9E6D-FB90-5DDA-9018B748618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07700" y="10505404"/>
              <a:ext cx="0" cy="885105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Прямая соединительная линия 235">
              <a:extLst>
                <a:ext uri="{FF2B5EF4-FFF2-40B4-BE49-F238E27FC236}">
                  <a16:creationId xmlns:a16="http://schemas.microsoft.com/office/drawing/2014/main" id="{70E28C80-79D1-14C5-609E-12C90ABD8AB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434452" y="10505404"/>
              <a:ext cx="0" cy="885105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Прямая со стрелкой 236">
              <a:extLst>
                <a:ext uri="{FF2B5EF4-FFF2-40B4-BE49-F238E27FC236}">
                  <a16:creationId xmlns:a16="http://schemas.microsoft.com/office/drawing/2014/main" id="{C6A09B21-1AE3-2596-E2F4-7CCA457C0B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273876" y="11355462"/>
              <a:ext cx="194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8" name="Заголовок 2">
            <a:extLst>
              <a:ext uri="{FF2B5EF4-FFF2-40B4-BE49-F238E27FC236}">
                <a16:creationId xmlns:a16="http://schemas.microsoft.com/office/drawing/2014/main" id="{A60DFCB5-F8C6-DA91-23BD-807A84858C98}"/>
              </a:ext>
            </a:extLst>
          </p:cNvPr>
          <p:cNvSpPr txBox="1">
            <a:spLocks/>
          </p:cNvSpPr>
          <p:nvPr userDrawn="1"/>
        </p:nvSpPr>
        <p:spPr>
          <a:xfrm>
            <a:off x="15310983" y="11431075"/>
            <a:ext cx="463268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39" name="Группа 238">
            <a:extLst>
              <a:ext uri="{FF2B5EF4-FFF2-40B4-BE49-F238E27FC236}">
                <a16:creationId xmlns:a16="http://schemas.microsoft.com/office/drawing/2014/main" id="{7AADAE5F-6DD0-72CD-94ED-DACBB31FA87C}"/>
              </a:ext>
            </a:extLst>
          </p:cNvPr>
          <p:cNvGrpSpPr/>
          <p:nvPr userDrawn="1"/>
        </p:nvGrpSpPr>
        <p:grpSpPr>
          <a:xfrm>
            <a:off x="20526421" y="10723347"/>
            <a:ext cx="1353230" cy="293323"/>
            <a:chOff x="20526421" y="10723347"/>
            <a:chExt cx="1353230" cy="293323"/>
          </a:xfrm>
        </p:grpSpPr>
        <p:cxnSp>
          <p:nvCxnSpPr>
            <p:cNvPr id="240" name="Прямая со стрелкой 239">
              <a:extLst>
                <a:ext uri="{FF2B5EF4-FFF2-40B4-BE49-F238E27FC236}">
                  <a16:creationId xmlns:a16="http://schemas.microsoft.com/office/drawing/2014/main" id="{18F37B48-D2DE-BDE6-21FE-1A16C09A69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10726008"/>
              <a:ext cx="0" cy="288000"/>
            </a:xfrm>
            <a:prstGeom prst="straightConnector1">
              <a:avLst/>
            </a:prstGeom>
            <a:ln w="19050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1" name="Заголовок 2">
              <a:extLst>
                <a:ext uri="{FF2B5EF4-FFF2-40B4-BE49-F238E27FC236}">
                  <a16:creationId xmlns:a16="http://schemas.microsoft.com/office/drawing/2014/main" id="{5FEE5C71-3509-229B-FBDD-16E4AEAAF18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10723347"/>
              <a:ext cx="1247136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/ 6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242" name="Скругленный прямоугольник 241">
            <a:extLst>
              <a:ext uri="{FF2B5EF4-FFF2-40B4-BE49-F238E27FC236}">
                <a16:creationId xmlns:a16="http://schemas.microsoft.com/office/drawing/2014/main" id="{B88EC9B1-681E-E73E-7B35-AF4663B09436}"/>
              </a:ext>
            </a:extLst>
          </p:cNvPr>
          <p:cNvSpPr/>
          <p:nvPr userDrawn="1"/>
        </p:nvSpPr>
        <p:spPr>
          <a:xfrm>
            <a:off x="12944475" y="814697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4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43" name="Заголовок 2">
            <a:extLst>
              <a:ext uri="{FF2B5EF4-FFF2-40B4-BE49-F238E27FC236}">
                <a16:creationId xmlns:a16="http://schemas.microsoft.com/office/drawing/2014/main" id="{66179B4C-4138-08F3-8B85-FE5326C15E4B}"/>
              </a:ext>
            </a:extLst>
          </p:cNvPr>
          <p:cNvSpPr txBox="1">
            <a:spLocks/>
          </p:cNvSpPr>
          <p:nvPr userDrawn="1"/>
        </p:nvSpPr>
        <p:spPr>
          <a:xfrm>
            <a:off x="15212899" y="9241169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en-US" sz="2000" dirty="0">
                <a:solidFill>
                  <a:schemeClr val="tx1"/>
                </a:solidFill>
                <a:latin typeface="+mn-lt"/>
              </a:rPr>
              <a:t>0,9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44" name="Группа 243">
            <a:extLst>
              <a:ext uri="{FF2B5EF4-FFF2-40B4-BE49-F238E27FC236}">
                <a16:creationId xmlns:a16="http://schemas.microsoft.com/office/drawing/2014/main" id="{9CE2BAB8-1531-C284-8E9C-135EE0942FF8}"/>
              </a:ext>
            </a:extLst>
          </p:cNvPr>
          <p:cNvGrpSpPr/>
          <p:nvPr userDrawn="1"/>
        </p:nvGrpSpPr>
        <p:grpSpPr>
          <a:xfrm>
            <a:off x="20526421" y="8482781"/>
            <a:ext cx="692793" cy="345600"/>
            <a:chOff x="20526421" y="8482781"/>
            <a:chExt cx="692793" cy="345600"/>
          </a:xfrm>
        </p:grpSpPr>
        <p:cxnSp>
          <p:nvCxnSpPr>
            <p:cNvPr id="245" name="Прямая со стрелкой 244">
              <a:extLst>
                <a:ext uri="{FF2B5EF4-FFF2-40B4-BE49-F238E27FC236}">
                  <a16:creationId xmlns:a16="http://schemas.microsoft.com/office/drawing/2014/main" id="{65240C90-D02C-6584-0456-D677266B4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8482781"/>
              <a:ext cx="0" cy="3456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6" name="Заголовок 2">
              <a:extLst>
                <a:ext uri="{FF2B5EF4-FFF2-40B4-BE49-F238E27FC236}">
                  <a16:creationId xmlns:a16="http://schemas.microsoft.com/office/drawing/2014/main" id="{BF668602-3374-9879-DCD3-27D26B4E475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8508920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47" name="Группа 246">
            <a:extLst>
              <a:ext uri="{FF2B5EF4-FFF2-40B4-BE49-F238E27FC236}">
                <a16:creationId xmlns:a16="http://schemas.microsoft.com/office/drawing/2014/main" id="{4969670E-0B37-157D-8297-FB24247696EC}"/>
              </a:ext>
            </a:extLst>
          </p:cNvPr>
          <p:cNvGrpSpPr/>
          <p:nvPr userDrawn="1"/>
        </p:nvGrpSpPr>
        <p:grpSpPr>
          <a:xfrm>
            <a:off x="15182547" y="8210352"/>
            <a:ext cx="248399" cy="997688"/>
            <a:chOff x="15182547" y="8210352"/>
            <a:chExt cx="248399" cy="997688"/>
          </a:xfrm>
        </p:grpSpPr>
        <p:cxnSp>
          <p:nvCxnSpPr>
            <p:cNvPr id="248" name="Прямая соединительная линия 247">
              <a:extLst>
                <a:ext uri="{FF2B5EF4-FFF2-40B4-BE49-F238E27FC236}">
                  <a16:creationId xmlns:a16="http://schemas.microsoft.com/office/drawing/2014/main" id="{EC5B8ED5-F87D-69E1-A0EB-F48D98BB19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212899" y="8210352"/>
              <a:ext cx="0" cy="9976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Прямая соединительная линия 248">
              <a:extLst>
                <a:ext uri="{FF2B5EF4-FFF2-40B4-BE49-F238E27FC236}">
                  <a16:creationId xmlns:a16="http://schemas.microsoft.com/office/drawing/2014/main" id="{EB3F834E-336C-BB73-DF94-F90CD979DF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00595" y="8210352"/>
              <a:ext cx="0" cy="9976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Прямая со стрелкой 249">
              <a:extLst>
                <a:ext uri="{FF2B5EF4-FFF2-40B4-BE49-F238E27FC236}">
                  <a16:creationId xmlns:a16="http://schemas.microsoft.com/office/drawing/2014/main" id="{9AE514E7-A4EB-4450-F55E-5313D5022F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182547" y="9165556"/>
              <a:ext cx="248399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1" name="Группа 250">
            <a:extLst>
              <a:ext uri="{FF2B5EF4-FFF2-40B4-BE49-F238E27FC236}">
                <a16:creationId xmlns:a16="http://schemas.microsoft.com/office/drawing/2014/main" id="{13C353C2-3AA8-9A21-47B9-AC53B85FBDFF}"/>
              </a:ext>
            </a:extLst>
          </p:cNvPr>
          <p:cNvGrpSpPr/>
          <p:nvPr userDrawn="1"/>
        </p:nvGrpSpPr>
        <p:grpSpPr>
          <a:xfrm>
            <a:off x="15353064" y="3578556"/>
            <a:ext cx="187200" cy="1142326"/>
            <a:chOff x="15353064" y="3578556"/>
            <a:chExt cx="187200" cy="1142326"/>
          </a:xfrm>
        </p:grpSpPr>
        <p:cxnSp>
          <p:nvCxnSpPr>
            <p:cNvPr id="252" name="Прямая соединительная линия 251">
              <a:extLst>
                <a:ext uri="{FF2B5EF4-FFF2-40B4-BE49-F238E27FC236}">
                  <a16:creationId xmlns:a16="http://schemas.microsoft.com/office/drawing/2014/main" id="{39B99D12-47EA-0414-CD11-B8FA833EA7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88874" y="3578556"/>
              <a:ext cx="0" cy="114232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Прямая соединительная линия 252">
              <a:extLst>
                <a:ext uri="{FF2B5EF4-FFF2-40B4-BE49-F238E27FC236}">
                  <a16:creationId xmlns:a16="http://schemas.microsoft.com/office/drawing/2014/main" id="{2689987C-782C-2E4A-B4E9-C880136F254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504454" y="3578556"/>
              <a:ext cx="0" cy="114232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Прямая со стрелкой 253">
              <a:extLst>
                <a:ext uri="{FF2B5EF4-FFF2-40B4-BE49-F238E27FC236}">
                  <a16:creationId xmlns:a16="http://schemas.microsoft.com/office/drawing/2014/main" id="{CEF36537-CB37-6BDB-F31D-368A79E0BC9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5353064" y="4692844"/>
              <a:ext cx="1872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5" name="Заголовок 2">
            <a:extLst>
              <a:ext uri="{FF2B5EF4-FFF2-40B4-BE49-F238E27FC236}">
                <a16:creationId xmlns:a16="http://schemas.microsoft.com/office/drawing/2014/main" id="{C688E347-6C42-8E35-A17C-5D91DF75B106}"/>
              </a:ext>
            </a:extLst>
          </p:cNvPr>
          <p:cNvSpPr txBox="1">
            <a:spLocks/>
          </p:cNvSpPr>
          <p:nvPr userDrawn="1"/>
        </p:nvSpPr>
        <p:spPr>
          <a:xfrm>
            <a:off x="10343805" y="2663386"/>
            <a:ext cx="223953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defPPr>
              <a:defRPr lang="en-US"/>
            </a:defPPr>
            <a:lvl1pPr defTabSz="1828619">
              <a:lnSpc>
                <a:spcPct val="100000"/>
              </a:lnSpc>
              <a:spcBef>
                <a:spcPct val="0"/>
              </a:spcBef>
              <a:buNone/>
              <a:defRPr sz="2000" b="0" i="0">
                <a:solidFill>
                  <a:srgbClr val="4D5566"/>
                </a:solidFill>
                <a:ea typeface="+mj-ea"/>
                <a:cs typeface="+mj-cs"/>
              </a:defRPr>
            </a:lvl1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Много текста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/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мало текста</a:t>
            </a:r>
          </a:p>
        </p:txBody>
      </p:sp>
      <p:sp>
        <p:nvSpPr>
          <p:cNvPr id="256" name="Заголовок 2">
            <a:extLst>
              <a:ext uri="{FF2B5EF4-FFF2-40B4-BE49-F238E27FC236}">
                <a16:creationId xmlns:a16="http://schemas.microsoft.com/office/drawing/2014/main" id="{DDF6A9C8-CAF8-29F0-4941-B823737C8C58}"/>
              </a:ext>
            </a:extLst>
          </p:cNvPr>
          <p:cNvSpPr txBox="1">
            <a:spLocks/>
          </p:cNvSpPr>
          <p:nvPr userDrawn="1"/>
        </p:nvSpPr>
        <p:spPr>
          <a:xfrm>
            <a:off x="3593516" y="3376236"/>
            <a:ext cx="6506448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1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«Оптимизация»</a:t>
            </a:r>
          </a:p>
          <a:p>
            <a:pPr lvl="1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Стратегия</a:t>
            </a:r>
          </a:p>
        </p:txBody>
      </p:sp>
      <p:sp>
        <p:nvSpPr>
          <p:cNvPr id="257" name="Заголовок 2">
            <a:extLst>
              <a:ext uri="{FF2B5EF4-FFF2-40B4-BE49-F238E27FC236}">
                <a16:creationId xmlns:a16="http://schemas.microsoft.com/office/drawing/2014/main" id="{1B54990D-30E2-E1F0-5ACA-22D100804B49}"/>
              </a:ext>
            </a:extLst>
          </p:cNvPr>
          <p:cNvSpPr txBox="1">
            <a:spLocks/>
          </p:cNvSpPr>
          <p:nvPr userDrawn="1"/>
        </p:nvSpPr>
        <p:spPr>
          <a:xfrm>
            <a:off x="3593516" y="5788055"/>
            <a:ext cx="6506448" cy="14157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3">
              <a:buClr>
                <a:schemeClr val="accent3"/>
              </a:buClr>
            </a:pPr>
            <a:r>
              <a:rPr lang="ru-RU" dirty="0"/>
              <a:t>«Оптимизация конверсий»</a:t>
            </a:r>
          </a:p>
          <a:p>
            <a:pPr lvl="3">
              <a:buClr>
                <a:schemeClr val="accent3"/>
              </a:buClr>
            </a:pPr>
            <a:r>
              <a:rPr lang="ru-RU" dirty="0"/>
              <a:t>Прозрачная стратегия</a:t>
            </a:r>
          </a:p>
        </p:txBody>
      </p:sp>
      <p:sp>
        <p:nvSpPr>
          <p:cNvPr id="258" name="Заголовок 2">
            <a:extLst>
              <a:ext uri="{FF2B5EF4-FFF2-40B4-BE49-F238E27FC236}">
                <a16:creationId xmlns:a16="http://schemas.microsoft.com/office/drawing/2014/main" id="{7E4E10A7-03E5-1E65-AF3D-28BB2973A58D}"/>
              </a:ext>
            </a:extLst>
          </p:cNvPr>
          <p:cNvSpPr txBox="1">
            <a:spLocks/>
          </p:cNvSpPr>
          <p:nvPr userDrawn="1"/>
        </p:nvSpPr>
        <p:spPr>
          <a:xfrm>
            <a:off x="3593515" y="8056700"/>
            <a:ext cx="6506455" cy="13320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5">
              <a:buClr>
                <a:schemeClr val="accent3"/>
              </a:buClr>
            </a:pPr>
            <a:r>
              <a:rPr lang="ru-RU" dirty="0"/>
              <a:t>«Оптимизация конверсий»</a:t>
            </a:r>
          </a:p>
          <a:p>
            <a:pPr lvl="5">
              <a:buClr>
                <a:schemeClr val="accent3"/>
              </a:buClr>
            </a:pPr>
            <a:r>
              <a:rPr lang="ru-RU" dirty="0"/>
              <a:t>Прозрачная стратегия</a:t>
            </a:r>
          </a:p>
        </p:txBody>
      </p:sp>
      <p:sp>
        <p:nvSpPr>
          <p:cNvPr id="259" name="Заголовок 2">
            <a:extLst>
              <a:ext uri="{FF2B5EF4-FFF2-40B4-BE49-F238E27FC236}">
                <a16:creationId xmlns:a16="http://schemas.microsoft.com/office/drawing/2014/main" id="{3660A7FD-65EE-1A16-6FF9-F8CEC86DEB41}"/>
              </a:ext>
            </a:extLst>
          </p:cNvPr>
          <p:cNvSpPr txBox="1">
            <a:spLocks/>
          </p:cNvSpPr>
          <p:nvPr userDrawn="1"/>
        </p:nvSpPr>
        <p:spPr>
          <a:xfrm>
            <a:off x="3593515" y="10354440"/>
            <a:ext cx="6506460" cy="11271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7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lvl="7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0" name="Заголовок 2">
            <a:extLst>
              <a:ext uri="{FF2B5EF4-FFF2-40B4-BE49-F238E27FC236}">
                <a16:creationId xmlns:a16="http://schemas.microsoft.com/office/drawing/2014/main" id="{6883F058-B54E-82A1-3B1C-2E2B891BA88A}"/>
              </a:ext>
            </a:extLst>
          </p:cNvPr>
          <p:cNvSpPr txBox="1">
            <a:spLocks/>
          </p:cNvSpPr>
          <p:nvPr userDrawn="1"/>
        </p:nvSpPr>
        <p:spPr>
          <a:xfrm>
            <a:off x="15076724" y="3487876"/>
            <a:ext cx="5217042" cy="11271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8"/>
            <a:r>
              <a:rPr lang="ru-RU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lvl="8"/>
            <a:r>
              <a:rPr lang="ru-RU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1" name="Заголовок 2">
            <a:extLst>
              <a:ext uri="{FF2B5EF4-FFF2-40B4-BE49-F238E27FC236}">
                <a16:creationId xmlns:a16="http://schemas.microsoft.com/office/drawing/2014/main" id="{82A0A050-FC28-AA5F-F670-560155818EDA}"/>
              </a:ext>
            </a:extLst>
          </p:cNvPr>
          <p:cNvSpPr txBox="1">
            <a:spLocks/>
          </p:cNvSpPr>
          <p:nvPr userDrawn="1"/>
        </p:nvSpPr>
        <p:spPr>
          <a:xfrm>
            <a:off x="15076724" y="5893345"/>
            <a:ext cx="5217042" cy="998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432000" lvl="8" indent="-432000">
              <a:lnSpc>
                <a:spcPct val="110000"/>
              </a:lnSpc>
              <a:spcAft>
                <a:spcPts val="1200"/>
              </a:spcAft>
            </a:pPr>
            <a:r>
              <a:rPr lang="ru-RU" sz="2400" dirty="0"/>
              <a:t>«Оптимизация конверсий»</a:t>
            </a:r>
          </a:p>
          <a:p>
            <a:pPr marL="432000" lvl="8" indent="-432000">
              <a:lnSpc>
                <a:spcPct val="110000"/>
              </a:lnSpc>
              <a:spcAft>
                <a:spcPts val="1200"/>
              </a:spcAft>
            </a:pPr>
            <a:r>
              <a:rPr lang="ru-RU" sz="2400" dirty="0"/>
              <a:t>Прозрачная стратегия</a:t>
            </a:r>
          </a:p>
        </p:txBody>
      </p:sp>
      <p:sp>
        <p:nvSpPr>
          <p:cNvPr id="262" name="Заголовок 2">
            <a:extLst>
              <a:ext uri="{FF2B5EF4-FFF2-40B4-BE49-F238E27FC236}">
                <a16:creationId xmlns:a16="http://schemas.microsoft.com/office/drawing/2014/main" id="{4EA3A135-DAC2-8FD7-B9EA-08D22C00492C}"/>
              </a:ext>
            </a:extLst>
          </p:cNvPr>
          <p:cNvSpPr txBox="1">
            <a:spLocks/>
          </p:cNvSpPr>
          <p:nvPr userDrawn="1"/>
        </p:nvSpPr>
        <p:spPr>
          <a:xfrm>
            <a:off x="15076724" y="10425212"/>
            <a:ext cx="521704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360000" lvl="8" indent="-360000">
              <a:lnSpc>
                <a:spcPct val="110000"/>
              </a:lnSpc>
              <a:spcAft>
                <a:spcPts val="1200"/>
              </a:spcAft>
            </a:pPr>
            <a:r>
              <a:rPr lang="ru-RU" sz="2000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marL="360000" lvl="8" indent="-360000">
              <a:lnSpc>
                <a:spcPct val="110000"/>
              </a:lnSpc>
              <a:spcAft>
                <a:spcPts val="1200"/>
              </a:spcAft>
            </a:pPr>
            <a:r>
              <a:rPr lang="ru-RU" sz="2000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3" name="Заголовок 2">
            <a:extLst>
              <a:ext uri="{FF2B5EF4-FFF2-40B4-BE49-F238E27FC236}">
                <a16:creationId xmlns:a16="http://schemas.microsoft.com/office/drawing/2014/main" id="{92AFDADB-000E-8B71-DB6E-5E3991DF639F}"/>
              </a:ext>
            </a:extLst>
          </p:cNvPr>
          <p:cNvSpPr txBox="1">
            <a:spLocks/>
          </p:cNvSpPr>
          <p:nvPr userDrawn="1"/>
        </p:nvSpPr>
        <p:spPr>
          <a:xfrm>
            <a:off x="15076724" y="8131952"/>
            <a:ext cx="5217042" cy="9664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324000" lvl="7" indent="-324000">
              <a:lnSpc>
                <a:spcPct val="110000"/>
              </a:lnSpc>
              <a:spcAft>
                <a:spcPts val="1200"/>
              </a:spcAft>
              <a:buClr>
                <a:schemeClr val="accent3"/>
              </a:buClr>
            </a:pPr>
            <a:r>
              <a:rPr lang="ru-RU" sz="2400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marL="324000" lvl="7" indent="-324000">
              <a:lnSpc>
                <a:spcPct val="110000"/>
              </a:lnSpc>
              <a:spcAft>
                <a:spcPts val="1200"/>
              </a:spcAft>
              <a:buClr>
                <a:schemeClr val="accent3"/>
              </a:buClr>
            </a:pPr>
            <a:r>
              <a:rPr lang="ru-RU" sz="2400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5" name="Заголовок 2">
            <a:extLst>
              <a:ext uri="{FF2B5EF4-FFF2-40B4-BE49-F238E27FC236}">
                <a16:creationId xmlns:a16="http://schemas.microsoft.com/office/drawing/2014/main" id="{74CC19D4-5901-E03A-62A9-BFACFF0DD8A7}"/>
              </a:ext>
            </a:extLst>
          </p:cNvPr>
          <p:cNvSpPr txBox="1">
            <a:spLocks/>
          </p:cNvSpPr>
          <p:nvPr userDrawn="1"/>
        </p:nvSpPr>
        <p:spPr>
          <a:xfrm>
            <a:off x="1440000" y="2663386"/>
            <a:ext cx="2085975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Размер / интерлиньяж</a:t>
            </a:r>
          </a:p>
        </p:txBody>
      </p:sp>
    </p:spTree>
    <p:extLst>
      <p:ext uri="{BB962C8B-B14F-4D97-AF65-F5344CB8AC3E}">
        <p14:creationId xmlns:p14="http://schemas.microsoft.com/office/powerpoint/2010/main" val="3398063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940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Расширенная палитра</a:t>
            </a:r>
            <a:endParaRPr lang="ru-RU" noProof="0" dirty="0"/>
          </a:p>
        </p:txBody>
      </p:sp>
      <p:sp>
        <p:nvSpPr>
          <p:cNvPr id="885" name="Полилиния 884">
            <a:extLst>
              <a:ext uri="{FF2B5EF4-FFF2-40B4-BE49-F238E27FC236}">
                <a16:creationId xmlns:a16="http://schemas.microsoft.com/office/drawing/2014/main" id="{80017DE5-81D9-1628-DEAD-6538CA14EA74}"/>
              </a:ext>
            </a:extLst>
          </p:cNvPr>
          <p:cNvSpPr/>
          <p:nvPr userDrawn="1"/>
        </p:nvSpPr>
        <p:spPr>
          <a:xfrm>
            <a:off x="12270615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2" y="622284"/>
                  <a:pt x="1049331" y="622284"/>
                </a:cubicBezTo>
                <a:lnTo>
                  <a:pt x="149397" y="622284"/>
                </a:lnTo>
                <a:cubicBezTo>
                  <a:pt x="6688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DC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886" name="Заголовок 2">
            <a:extLst>
              <a:ext uri="{FF2B5EF4-FFF2-40B4-BE49-F238E27FC236}">
                <a16:creationId xmlns:a16="http://schemas.microsoft.com/office/drawing/2014/main" id="{47CB1D73-D624-E2FA-0FB7-DB39B704B9D0}"/>
              </a:ext>
            </a:extLst>
          </p:cNvPr>
          <p:cNvSpPr txBox="1">
            <a:spLocks/>
          </p:cNvSpPr>
          <p:nvPr userDrawn="1"/>
        </p:nvSpPr>
        <p:spPr>
          <a:xfrm>
            <a:off x="1820645" y="2479168"/>
            <a:ext cx="514985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YS Text Regular"/>
              </a:rPr>
              <a:t>Цвет зашит в основную палитру</a:t>
            </a:r>
          </a:p>
        </p:txBody>
      </p:sp>
      <p:sp>
        <p:nvSpPr>
          <p:cNvPr id="887" name="Заголовок 2">
            <a:extLst>
              <a:ext uri="{FF2B5EF4-FFF2-40B4-BE49-F238E27FC236}">
                <a16:creationId xmlns:a16="http://schemas.microsoft.com/office/drawing/2014/main" id="{CC133307-FAF0-B1C8-0664-8918273F3818}"/>
              </a:ext>
            </a:extLst>
          </p:cNvPr>
          <p:cNvSpPr txBox="1">
            <a:spLocks/>
          </p:cNvSpPr>
          <p:nvPr userDrawn="1"/>
        </p:nvSpPr>
        <p:spPr>
          <a:xfrm>
            <a:off x="1820645" y="2922608"/>
            <a:ext cx="514985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YS Text Regular"/>
              </a:rPr>
              <a:t>Цвет зашит в дополнительную палитру</a:t>
            </a:r>
          </a:p>
        </p:txBody>
      </p:sp>
      <p:sp>
        <p:nvSpPr>
          <p:cNvPr id="906" name="Полилиния 905">
            <a:extLst>
              <a:ext uri="{FF2B5EF4-FFF2-40B4-BE49-F238E27FC236}">
                <a16:creationId xmlns:a16="http://schemas.microsoft.com/office/drawing/2014/main" id="{6B37646B-82C9-1566-CF16-7ECC3C1BB686}"/>
              </a:ext>
            </a:extLst>
          </p:cNvPr>
          <p:cNvSpPr/>
          <p:nvPr userDrawn="1"/>
        </p:nvSpPr>
        <p:spPr>
          <a:xfrm>
            <a:off x="4142452" y="3787620"/>
            <a:ext cx="2557159" cy="726227"/>
          </a:xfrm>
          <a:custGeom>
            <a:avLst/>
            <a:gdLst>
              <a:gd name="connsiteX0" fmla="*/ 1860 w 2191162"/>
              <a:gd name="connsiteY0" fmla="*/ 1022 h 622284"/>
              <a:gd name="connsiteX1" fmla="*/ 2193023 w 2191162"/>
              <a:gd name="connsiteY1" fmla="*/ 1022 h 622284"/>
              <a:gd name="connsiteX2" fmla="*/ 2193023 w 2191162"/>
              <a:gd name="connsiteY2" fmla="*/ 623306 h 622284"/>
              <a:gd name="connsiteX3" fmla="*/ 1860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022"/>
                </a:moveTo>
                <a:lnTo>
                  <a:pt x="2193023" y="1022"/>
                </a:lnTo>
                <a:lnTo>
                  <a:pt x="2193023" y="623306"/>
                </a:lnTo>
                <a:lnTo>
                  <a:pt x="1860" y="623306"/>
                </a:lnTo>
                <a:close/>
              </a:path>
            </a:pathLst>
          </a:custGeom>
          <a:solidFill>
            <a:srgbClr val="23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7" name="Полилиния 906">
            <a:extLst>
              <a:ext uri="{FF2B5EF4-FFF2-40B4-BE49-F238E27FC236}">
                <a16:creationId xmlns:a16="http://schemas.microsoft.com/office/drawing/2014/main" id="{781F7B3D-DB89-9873-35FF-8FF479849533}"/>
              </a:ext>
            </a:extLst>
          </p:cNvPr>
          <p:cNvSpPr/>
          <p:nvPr userDrawn="1"/>
        </p:nvSpPr>
        <p:spPr>
          <a:xfrm>
            <a:off x="4265660" y="4089368"/>
            <a:ext cx="676629" cy="128468"/>
          </a:xfrm>
          <a:custGeom>
            <a:avLst/>
            <a:gdLst>
              <a:gd name="connsiteX0" fmla="*/ 22099 w 579786"/>
              <a:gd name="connsiteY0" fmla="*/ 108588 h 110081"/>
              <a:gd name="connsiteX1" fmla="*/ 10147 w 579786"/>
              <a:gd name="connsiteY1" fmla="*/ 108588 h 110081"/>
              <a:gd name="connsiteX2" fmla="*/ 16434 w 579786"/>
              <a:gd name="connsiteY2" fmla="*/ 77661 h 110081"/>
              <a:gd name="connsiteX3" fmla="*/ 0 w 579786"/>
              <a:gd name="connsiteY3" fmla="*/ 77661 h 110081"/>
              <a:gd name="connsiteX4" fmla="*/ 0 w 579786"/>
              <a:gd name="connsiteY4" fmla="*/ 67206 h 110081"/>
              <a:gd name="connsiteX5" fmla="*/ 18675 w 579786"/>
              <a:gd name="connsiteY5" fmla="*/ 67206 h 110081"/>
              <a:gd name="connsiteX6" fmla="*/ 24215 w 579786"/>
              <a:gd name="connsiteY6" fmla="*/ 40012 h 110081"/>
              <a:gd name="connsiteX7" fmla="*/ 4046 w 579786"/>
              <a:gd name="connsiteY7" fmla="*/ 40012 h 110081"/>
              <a:gd name="connsiteX8" fmla="*/ 4046 w 579786"/>
              <a:gd name="connsiteY8" fmla="*/ 29559 h 110081"/>
              <a:gd name="connsiteX9" fmla="*/ 26270 w 579786"/>
              <a:gd name="connsiteY9" fmla="*/ 29559 h 110081"/>
              <a:gd name="connsiteX10" fmla="*/ 32121 w 579786"/>
              <a:gd name="connsiteY10" fmla="*/ 1493 h 110081"/>
              <a:gd name="connsiteX11" fmla="*/ 44073 w 579786"/>
              <a:gd name="connsiteY11" fmla="*/ 1493 h 110081"/>
              <a:gd name="connsiteX12" fmla="*/ 38221 w 579786"/>
              <a:gd name="connsiteY12" fmla="*/ 29559 h 110081"/>
              <a:gd name="connsiteX13" fmla="*/ 60630 w 579786"/>
              <a:gd name="connsiteY13" fmla="*/ 29559 h 110081"/>
              <a:gd name="connsiteX14" fmla="*/ 66482 w 579786"/>
              <a:gd name="connsiteY14" fmla="*/ 1493 h 110081"/>
              <a:gd name="connsiteX15" fmla="*/ 78434 w 579786"/>
              <a:gd name="connsiteY15" fmla="*/ 1493 h 110081"/>
              <a:gd name="connsiteX16" fmla="*/ 72582 w 579786"/>
              <a:gd name="connsiteY16" fmla="*/ 29559 h 110081"/>
              <a:gd name="connsiteX17" fmla="*/ 89328 w 579786"/>
              <a:gd name="connsiteY17" fmla="*/ 29559 h 110081"/>
              <a:gd name="connsiteX18" fmla="*/ 89328 w 579786"/>
              <a:gd name="connsiteY18" fmla="*/ 40012 h 110081"/>
              <a:gd name="connsiteX19" fmla="*/ 70529 w 579786"/>
              <a:gd name="connsiteY19" fmla="*/ 40012 h 110081"/>
              <a:gd name="connsiteX20" fmla="*/ 64988 w 579786"/>
              <a:gd name="connsiteY20" fmla="*/ 67206 h 110081"/>
              <a:gd name="connsiteX21" fmla="*/ 85282 w 579786"/>
              <a:gd name="connsiteY21" fmla="*/ 67206 h 110081"/>
              <a:gd name="connsiteX22" fmla="*/ 85282 w 579786"/>
              <a:gd name="connsiteY22" fmla="*/ 77661 h 110081"/>
              <a:gd name="connsiteX23" fmla="*/ 62747 w 579786"/>
              <a:gd name="connsiteY23" fmla="*/ 77661 h 110081"/>
              <a:gd name="connsiteX24" fmla="*/ 56460 w 579786"/>
              <a:gd name="connsiteY24" fmla="*/ 108588 h 110081"/>
              <a:gd name="connsiteX25" fmla="*/ 44508 w 579786"/>
              <a:gd name="connsiteY25" fmla="*/ 108588 h 110081"/>
              <a:gd name="connsiteX26" fmla="*/ 50795 w 579786"/>
              <a:gd name="connsiteY26" fmla="*/ 77661 h 110081"/>
              <a:gd name="connsiteX27" fmla="*/ 28386 w 579786"/>
              <a:gd name="connsiteY27" fmla="*/ 77661 h 110081"/>
              <a:gd name="connsiteX28" fmla="*/ 22099 w 579786"/>
              <a:gd name="connsiteY28" fmla="*/ 108588 h 110081"/>
              <a:gd name="connsiteX29" fmla="*/ 30627 w 579786"/>
              <a:gd name="connsiteY29" fmla="*/ 67206 h 110081"/>
              <a:gd name="connsiteX30" fmla="*/ 53036 w 579786"/>
              <a:gd name="connsiteY30" fmla="*/ 67206 h 110081"/>
              <a:gd name="connsiteX31" fmla="*/ 58576 w 579786"/>
              <a:gd name="connsiteY31" fmla="*/ 40012 h 110081"/>
              <a:gd name="connsiteX32" fmla="*/ 36167 w 579786"/>
              <a:gd name="connsiteY32" fmla="*/ 40012 h 110081"/>
              <a:gd name="connsiteX33" fmla="*/ 30627 w 579786"/>
              <a:gd name="connsiteY33" fmla="*/ 67206 h 110081"/>
              <a:gd name="connsiteX34" fmla="*/ 170874 w 579786"/>
              <a:gd name="connsiteY34" fmla="*/ 108588 h 110081"/>
              <a:gd name="connsiteX35" fmla="*/ 102586 w 579786"/>
              <a:gd name="connsiteY35" fmla="*/ 108588 h 110081"/>
              <a:gd name="connsiteX36" fmla="*/ 102586 w 579786"/>
              <a:gd name="connsiteY36" fmla="*/ 94400 h 110081"/>
              <a:gd name="connsiteX37" fmla="*/ 128731 w 579786"/>
              <a:gd name="connsiteY37" fmla="*/ 72433 h 110081"/>
              <a:gd name="connsiteX38" fmla="*/ 144729 w 579786"/>
              <a:gd name="connsiteY38" fmla="*/ 56628 h 110081"/>
              <a:gd name="connsiteX39" fmla="*/ 152821 w 579786"/>
              <a:gd name="connsiteY39" fmla="*/ 43933 h 110081"/>
              <a:gd name="connsiteX40" fmla="*/ 155187 w 579786"/>
              <a:gd name="connsiteY40" fmla="*/ 32109 h 110081"/>
              <a:gd name="connsiteX41" fmla="*/ 149647 w 579786"/>
              <a:gd name="connsiteY41" fmla="*/ 17610 h 110081"/>
              <a:gd name="connsiteX42" fmla="*/ 134396 w 579786"/>
              <a:gd name="connsiteY42" fmla="*/ 12383 h 110081"/>
              <a:gd name="connsiteX43" fmla="*/ 105450 w 579786"/>
              <a:gd name="connsiteY43" fmla="*/ 27194 h 110081"/>
              <a:gd name="connsiteX44" fmla="*/ 105450 w 579786"/>
              <a:gd name="connsiteY44" fmla="*/ 12134 h 110081"/>
              <a:gd name="connsiteX45" fmla="*/ 134894 w 579786"/>
              <a:gd name="connsiteY45" fmla="*/ 0 h 110081"/>
              <a:gd name="connsiteX46" fmla="*/ 160291 w 579786"/>
              <a:gd name="connsiteY46" fmla="*/ 8401 h 110081"/>
              <a:gd name="connsiteX47" fmla="*/ 169691 w 579786"/>
              <a:gd name="connsiteY47" fmla="*/ 30803 h 110081"/>
              <a:gd name="connsiteX48" fmla="*/ 167263 w 579786"/>
              <a:gd name="connsiteY48" fmla="*/ 44804 h 110081"/>
              <a:gd name="connsiteX49" fmla="*/ 159233 w 579786"/>
              <a:gd name="connsiteY49" fmla="*/ 58681 h 110081"/>
              <a:gd name="connsiteX50" fmla="*/ 143546 w 579786"/>
              <a:gd name="connsiteY50" fmla="*/ 74860 h 110081"/>
              <a:gd name="connsiteX51" fmla="*/ 118148 w 579786"/>
              <a:gd name="connsiteY51" fmla="*/ 95769 h 110081"/>
              <a:gd name="connsiteX52" fmla="*/ 170874 w 579786"/>
              <a:gd name="connsiteY52" fmla="*/ 95769 h 110081"/>
              <a:gd name="connsiteX53" fmla="*/ 170874 w 579786"/>
              <a:gd name="connsiteY53" fmla="*/ 108588 h 110081"/>
              <a:gd name="connsiteX54" fmla="*/ 202184 w 579786"/>
              <a:gd name="connsiteY54" fmla="*/ 58992 h 110081"/>
              <a:gd name="connsiteX55" fmla="*/ 202184 w 579786"/>
              <a:gd name="connsiteY55" fmla="*/ 46298 h 110081"/>
              <a:gd name="connsiteX56" fmla="*/ 216564 w 579786"/>
              <a:gd name="connsiteY56" fmla="*/ 46298 h 110081"/>
              <a:gd name="connsiteX57" fmla="*/ 230135 w 579786"/>
              <a:gd name="connsiteY57" fmla="*/ 41817 h 110081"/>
              <a:gd name="connsiteX58" fmla="*/ 235551 w 579786"/>
              <a:gd name="connsiteY58" fmla="*/ 28812 h 110081"/>
              <a:gd name="connsiteX59" fmla="*/ 230570 w 579786"/>
              <a:gd name="connsiteY59" fmla="*/ 16864 h 110081"/>
              <a:gd name="connsiteX60" fmla="*/ 216377 w 579786"/>
              <a:gd name="connsiteY60" fmla="*/ 12383 h 110081"/>
              <a:gd name="connsiteX61" fmla="*/ 201749 w 579786"/>
              <a:gd name="connsiteY61" fmla="*/ 15246 h 110081"/>
              <a:gd name="connsiteX62" fmla="*/ 187743 w 579786"/>
              <a:gd name="connsiteY62" fmla="*/ 24331 h 110081"/>
              <a:gd name="connsiteX63" fmla="*/ 187743 w 579786"/>
              <a:gd name="connsiteY63" fmla="*/ 9707 h 110081"/>
              <a:gd name="connsiteX64" fmla="*/ 216564 w 579786"/>
              <a:gd name="connsiteY64" fmla="*/ 0 h 110081"/>
              <a:gd name="connsiteX65" fmla="*/ 240592 w 579786"/>
              <a:gd name="connsiteY65" fmla="*/ 7779 h 110081"/>
              <a:gd name="connsiteX66" fmla="*/ 249432 w 579786"/>
              <a:gd name="connsiteY66" fmla="*/ 28065 h 110081"/>
              <a:gd name="connsiteX67" fmla="*/ 243767 w 579786"/>
              <a:gd name="connsiteY67" fmla="*/ 44244 h 110081"/>
              <a:gd name="connsiteX68" fmla="*/ 230446 w 579786"/>
              <a:gd name="connsiteY68" fmla="*/ 52147 h 110081"/>
              <a:gd name="connsiteX69" fmla="*/ 241962 w 579786"/>
              <a:gd name="connsiteY69" fmla="*/ 56441 h 110081"/>
              <a:gd name="connsiteX70" fmla="*/ 250614 w 579786"/>
              <a:gd name="connsiteY70" fmla="*/ 65153 h 110081"/>
              <a:gd name="connsiteX71" fmla="*/ 253914 w 579786"/>
              <a:gd name="connsiteY71" fmla="*/ 77661 h 110081"/>
              <a:gd name="connsiteX72" fmla="*/ 248996 w 579786"/>
              <a:gd name="connsiteY72" fmla="*/ 94836 h 110081"/>
              <a:gd name="connsiteX73" fmla="*/ 235364 w 579786"/>
              <a:gd name="connsiteY73" fmla="*/ 106224 h 110081"/>
              <a:gd name="connsiteX74" fmla="*/ 215506 w 579786"/>
              <a:gd name="connsiteY74" fmla="*/ 110082 h 110081"/>
              <a:gd name="connsiteX75" fmla="*/ 185004 w 579786"/>
              <a:gd name="connsiteY75" fmla="*/ 100997 h 110081"/>
              <a:gd name="connsiteX76" fmla="*/ 185004 w 579786"/>
              <a:gd name="connsiteY76" fmla="*/ 86062 h 110081"/>
              <a:gd name="connsiteX77" fmla="*/ 198761 w 579786"/>
              <a:gd name="connsiteY77" fmla="*/ 94711 h 110081"/>
              <a:gd name="connsiteX78" fmla="*/ 215630 w 579786"/>
              <a:gd name="connsiteY78" fmla="*/ 97823 h 110081"/>
              <a:gd name="connsiteX79" fmla="*/ 232998 w 579786"/>
              <a:gd name="connsiteY79" fmla="*/ 92596 h 110081"/>
              <a:gd name="connsiteX80" fmla="*/ 239410 w 579786"/>
              <a:gd name="connsiteY80" fmla="*/ 77972 h 110081"/>
              <a:gd name="connsiteX81" fmla="*/ 233558 w 579786"/>
              <a:gd name="connsiteY81" fmla="*/ 64095 h 110081"/>
              <a:gd name="connsiteX82" fmla="*/ 215942 w 579786"/>
              <a:gd name="connsiteY82" fmla="*/ 58992 h 110081"/>
              <a:gd name="connsiteX83" fmla="*/ 202184 w 579786"/>
              <a:gd name="connsiteY83" fmla="*/ 58992 h 110081"/>
              <a:gd name="connsiteX84" fmla="*/ 300912 w 579786"/>
              <a:gd name="connsiteY84" fmla="*/ 110082 h 110081"/>
              <a:gd name="connsiteX85" fmla="*/ 282735 w 579786"/>
              <a:gd name="connsiteY85" fmla="*/ 104233 h 110081"/>
              <a:gd name="connsiteX86" fmla="*/ 270036 w 579786"/>
              <a:gd name="connsiteY86" fmla="*/ 86311 h 110081"/>
              <a:gd name="connsiteX87" fmla="*/ 265554 w 579786"/>
              <a:gd name="connsiteY87" fmla="*/ 54947 h 110081"/>
              <a:gd name="connsiteX88" fmla="*/ 270036 w 579786"/>
              <a:gd name="connsiteY88" fmla="*/ 23584 h 110081"/>
              <a:gd name="connsiteX89" fmla="*/ 282735 w 579786"/>
              <a:gd name="connsiteY89" fmla="*/ 5849 h 110081"/>
              <a:gd name="connsiteX90" fmla="*/ 300912 w 579786"/>
              <a:gd name="connsiteY90" fmla="*/ 186 h 110081"/>
              <a:gd name="connsiteX91" fmla="*/ 319026 w 579786"/>
              <a:gd name="connsiteY91" fmla="*/ 5849 h 110081"/>
              <a:gd name="connsiteX92" fmla="*/ 331413 w 579786"/>
              <a:gd name="connsiteY92" fmla="*/ 23584 h 110081"/>
              <a:gd name="connsiteX93" fmla="*/ 335896 w 579786"/>
              <a:gd name="connsiteY93" fmla="*/ 54698 h 110081"/>
              <a:gd name="connsiteX94" fmla="*/ 331413 w 579786"/>
              <a:gd name="connsiteY94" fmla="*/ 86062 h 110081"/>
              <a:gd name="connsiteX95" fmla="*/ 319026 w 579786"/>
              <a:gd name="connsiteY95" fmla="*/ 104233 h 110081"/>
              <a:gd name="connsiteX96" fmla="*/ 300912 w 579786"/>
              <a:gd name="connsiteY96" fmla="*/ 110082 h 110081"/>
              <a:gd name="connsiteX97" fmla="*/ 300787 w 579786"/>
              <a:gd name="connsiteY97" fmla="*/ 98258 h 110081"/>
              <a:gd name="connsiteX98" fmla="*/ 312116 w 579786"/>
              <a:gd name="connsiteY98" fmla="*/ 94275 h 110081"/>
              <a:gd name="connsiteX99" fmla="*/ 319337 w 579786"/>
              <a:gd name="connsiteY99" fmla="*/ 80648 h 110081"/>
              <a:gd name="connsiteX100" fmla="*/ 321828 w 579786"/>
              <a:gd name="connsiteY100" fmla="*/ 55134 h 110081"/>
              <a:gd name="connsiteX101" fmla="*/ 319462 w 579786"/>
              <a:gd name="connsiteY101" fmla="*/ 29745 h 110081"/>
              <a:gd name="connsiteX102" fmla="*/ 312303 w 579786"/>
              <a:gd name="connsiteY102" fmla="*/ 16117 h 110081"/>
              <a:gd name="connsiteX103" fmla="*/ 300912 w 579786"/>
              <a:gd name="connsiteY103" fmla="*/ 11947 h 110081"/>
              <a:gd name="connsiteX104" fmla="*/ 289458 w 579786"/>
              <a:gd name="connsiteY104" fmla="*/ 16117 h 110081"/>
              <a:gd name="connsiteX105" fmla="*/ 282113 w 579786"/>
              <a:gd name="connsiteY105" fmla="*/ 29745 h 110081"/>
              <a:gd name="connsiteX106" fmla="*/ 279560 w 579786"/>
              <a:gd name="connsiteY106" fmla="*/ 55134 h 110081"/>
              <a:gd name="connsiteX107" fmla="*/ 281988 w 579786"/>
              <a:gd name="connsiteY107" fmla="*/ 80648 h 110081"/>
              <a:gd name="connsiteX108" fmla="*/ 289271 w 579786"/>
              <a:gd name="connsiteY108" fmla="*/ 94275 h 110081"/>
              <a:gd name="connsiteX109" fmla="*/ 300787 w 579786"/>
              <a:gd name="connsiteY109" fmla="*/ 98258 h 110081"/>
              <a:gd name="connsiteX110" fmla="*/ 383080 w 579786"/>
              <a:gd name="connsiteY110" fmla="*/ 110082 h 110081"/>
              <a:gd name="connsiteX111" fmla="*/ 364841 w 579786"/>
              <a:gd name="connsiteY111" fmla="*/ 104233 h 110081"/>
              <a:gd name="connsiteX112" fmla="*/ 352143 w 579786"/>
              <a:gd name="connsiteY112" fmla="*/ 86311 h 110081"/>
              <a:gd name="connsiteX113" fmla="*/ 347661 w 579786"/>
              <a:gd name="connsiteY113" fmla="*/ 54947 h 110081"/>
              <a:gd name="connsiteX114" fmla="*/ 352143 w 579786"/>
              <a:gd name="connsiteY114" fmla="*/ 23584 h 110081"/>
              <a:gd name="connsiteX115" fmla="*/ 364841 w 579786"/>
              <a:gd name="connsiteY115" fmla="*/ 5849 h 110081"/>
              <a:gd name="connsiteX116" fmla="*/ 383080 w 579786"/>
              <a:gd name="connsiteY116" fmla="*/ 186 h 110081"/>
              <a:gd name="connsiteX117" fmla="*/ 401133 w 579786"/>
              <a:gd name="connsiteY117" fmla="*/ 5849 h 110081"/>
              <a:gd name="connsiteX118" fmla="*/ 413582 w 579786"/>
              <a:gd name="connsiteY118" fmla="*/ 23584 h 110081"/>
              <a:gd name="connsiteX119" fmla="*/ 418064 w 579786"/>
              <a:gd name="connsiteY119" fmla="*/ 54698 h 110081"/>
              <a:gd name="connsiteX120" fmla="*/ 413582 w 579786"/>
              <a:gd name="connsiteY120" fmla="*/ 86062 h 110081"/>
              <a:gd name="connsiteX121" fmla="*/ 401133 w 579786"/>
              <a:gd name="connsiteY121" fmla="*/ 104233 h 110081"/>
              <a:gd name="connsiteX122" fmla="*/ 383080 w 579786"/>
              <a:gd name="connsiteY122" fmla="*/ 110082 h 110081"/>
              <a:gd name="connsiteX123" fmla="*/ 382956 w 579786"/>
              <a:gd name="connsiteY123" fmla="*/ 98258 h 110081"/>
              <a:gd name="connsiteX124" fmla="*/ 394285 w 579786"/>
              <a:gd name="connsiteY124" fmla="*/ 94275 h 110081"/>
              <a:gd name="connsiteX125" fmla="*/ 401443 w 579786"/>
              <a:gd name="connsiteY125" fmla="*/ 80648 h 110081"/>
              <a:gd name="connsiteX126" fmla="*/ 403996 w 579786"/>
              <a:gd name="connsiteY126" fmla="*/ 55134 h 110081"/>
              <a:gd name="connsiteX127" fmla="*/ 401630 w 579786"/>
              <a:gd name="connsiteY127" fmla="*/ 29745 h 110081"/>
              <a:gd name="connsiteX128" fmla="*/ 394409 w 579786"/>
              <a:gd name="connsiteY128" fmla="*/ 16117 h 110081"/>
              <a:gd name="connsiteX129" fmla="*/ 383080 w 579786"/>
              <a:gd name="connsiteY129" fmla="*/ 11947 h 110081"/>
              <a:gd name="connsiteX130" fmla="*/ 371564 w 579786"/>
              <a:gd name="connsiteY130" fmla="*/ 16117 h 110081"/>
              <a:gd name="connsiteX131" fmla="*/ 364281 w 579786"/>
              <a:gd name="connsiteY131" fmla="*/ 29745 h 110081"/>
              <a:gd name="connsiteX132" fmla="*/ 361729 w 579786"/>
              <a:gd name="connsiteY132" fmla="*/ 55134 h 110081"/>
              <a:gd name="connsiteX133" fmla="*/ 364094 w 579786"/>
              <a:gd name="connsiteY133" fmla="*/ 80648 h 110081"/>
              <a:gd name="connsiteX134" fmla="*/ 371440 w 579786"/>
              <a:gd name="connsiteY134" fmla="*/ 94275 h 110081"/>
              <a:gd name="connsiteX135" fmla="*/ 382956 w 579786"/>
              <a:gd name="connsiteY135" fmla="*/ 98258 h 110081"/>
              <a:gd name="connsiteX136" fmla="*/ 460269 w 579786"/>
              <a:gd name="connsiteY136" fmla="*/ 110082 h 110081"/>
              <a:gd name="connsiteX137" fmla="*/ 431759 w 579786"/>
              <a:gd name="connsiteY137" fmla="*/ 102490 h 110081"/>
              <a:gd name="connsiteX138" fmla="*/ 431759 w 579786"/>
              <a:gd name="connsiteY138" fmla="*/ 87804 h 110081"/>
              <a:gd name="connsiteX139" fmla="*/ 444894 w 579786"/>
              <a:gd name="connsiteY139" fmla="*/ 95458 h 110081"/>
              <a:gd name="connsiteX140" fmla="*/ 460269 w 579786"/>
              <a:gd name="connsiteY140" fmla="*/ 97823 h 110081"/>
              <a:gd name="connsiteX141" fmla="*/ 477325 w 579786"/>
              <a:gd name="connsiteY141" fmla="*/ 91102 h 110081"/>
              <a:gd name="connsiteX142" fmla="*/ 483426 w 579786"/>
              <a:gd name="connsiteY142" fmla="*/ 73491 h 110081"/>
              <a:gd name="connsiteX143" fmla="*/ 477450 w 579786"/>
              <a:gd name="connsiteY143" fmla="*/ 56441 h 110081"/>
              <a:gd name="connsiteX144" fmla="*/ 462385 w 579786"/>
              <a:gd name="connsiteY144" fmla="*/ 51089 h 110081"/>
              <a:gd name="connsiteX145" fmla="*/ 451741 w 579786"/>
              <a:gd name="connsiteY145" fmla="*/ 53329 h 110081"/>
              <a:gd name="connsiteX146" fmla="*/ 445641 w 579786"/>
              <a:gd name="connsiteY146" fmla="*/ 57810 h 110081"/>
              <a:gd name="connsiteX147" fmla="*/ 434747 w 579786"/>
              <a:gd name="connsiteY147" fmla="*/ 57810 h 110081"/>
              <a:gd name="connsiteX148" fmla="*/ 434747 w 579786"/>
              <a:gd name="connsiteY148" fmla="*/ 1493 h 110081"/>
              <a:gd name="connsiteX149" fmla="*/ 492701 w 579786"/>
              <a:gd name="connsiteY149" fmla="*/ 1493 h 110081"/>
              <a:gd name="connsiteX150" fmla="*/ 492701 w 579786"/>
              <a:gd name="connsiteY150" fmla="*/ 14374 h 110081"/>
              <a:gd name="connsiteX151" fmla="*/ 447010 w 579786"/>
              <a:gd name="connsiteY151" fmla="*/ 14374 h 110081"/>
              <a:gd name="connsiteX152" fmla="*/ 447010 w 579786"/>
              <a:gd name="connsiteY152" fmla="*/ 44991 h 110081"/>
              <a:gd name="connsiteX153" fmla="*/ 454293 w 579786"/>
              <a:gd name="connsiteY153" fmla="*/ 41071 h 110081"/>
              <a:gd name="connsiteX154" fmla="*/ 464626 w 579786"/>
              <a:gd name="connsiteY154" fmla="*/ 39266 h 110081"/>
              <a:gd name="connsiteX155" fmla="*/ 481372 w 579786"/>
              <a:gd name="connsiteY155" fmla="*/ 43186 h 110081"/>
              <a:gd name="connsiteX156" fmla="*/ 493137 w 579786"/>
              <a:gd name="connsiteY156" fmla="*/ 54512 h 110081"/>
              <a:gd name="connsiteX157" fmla="*/ 497619 w 579786"/>
              <a:gd name="connsiteY157" fmla="*/ 73181 h 110081"/>
              <a:gd name="connsiteX158" fmla="*/ 493012 w 579786"/>
              <a:gd name="connsiteY158" fmla="*/ 92596 h 110081"/>
              <a:gd name="connsiteX159" fmla="*/ 480126 w 579786"/>
              <a:gd name="connsiteY159" fmla="*/ 105601 h 110081"/>
              <a:gd name="connsiteX160" fmla="*/ 460269 w 579786"/>
              <a:gd name="connsiteY160" fmla="*/ 110082 h 110081"/>
              <a:gd name="connsiteX161" fmla="*/ 542437 w 579786"/>
              <a:gd name="connsiteY161" fmla="*/ 110082 h 110081"/>
              <a:gd name="connsiteX162" fmla="*/ 513865 w 579786"/>
              <a:gd name="connsiteY162" fmla="*/ 102490 h 110081"/>
              <a:gd name="connsiteX163" fmla="*/ 513865 w 579786"/>
              <a:gd name="connsiteY163" fmla="*/ 87804 h 110081"/>
              <a:gd name="connsiteX164" fmla="*/ 527062 w 579786"/>
              <a:gd name="connsiteY164" fmla="*/ 95458 h 110081"/>
              <a:gd name="connsiteX165" fmla="*/ 542437 w 579786"/>
              <a:gd name="connsiteY165" fmla="*/ 97823 h 110081"/>
              <a:gd name="connsiteX166" fmla="*/ 559431 w 579786"/>
              <a:gd name="connsiteY166" fmla="*/ 91102 h 110081"/>
              <a:gd name="connsiteX167" fmla="*/ 565594 w 579786"/>
              <a:gd name="connsiteY167" fmla="*/ 73491 h 110081"/>
              <a:gd name="connsiteX168" fmla="*/ 559618 w 579786"/>
              <a:gd name="connsiteY168" fmla="*/ 56441 h 110081"/>
              <a:gd name="connsiteX169" fmla="*/ 544492 w 579786"/>
              <a:gd name="connsiteY169" fmla="*/ 51089 h 110081"/>
              <a:gd name="connsiteX170" fmla="*/ 533909 w 579786"/>
              <a:gd name="connsiteY170" fmla="*/ 53329 h 110081"/>
              <a:gd name="connsiteX171" fmla="*/ 527809 w 579786"/>
              <a:gd name="connsiteY171" fmla="*/ 57810 h 110081"/>
              <a:gd name="connsiteX172" fmla="*/ 516853 w 579786"/>
              <a:gd name="connsiteY172" fmla="*/ 57810 h 110081"/>
              <a:gd name="connsiteX173" fmla="*/ 516853 w 579786"/>
              <a:gd name="connsiteY173" fmla="*/ 1493 h 110081"/>
              <a:gd name="connsiteX174" fmla="*/ 574870 w 579786"/>
              <a:gd name="connsiteY174" fmla="*/ 1493 h 110081"/>
              <a:gd name="connsiteX175" fmla="*/ 574870 w 579786"/>
              <a:gd name="connsiteY175" fmla="*/ 14374 h 110081"/>
              <a:gd name="connsiteX176" fmla="*/ 529116 w 579786"/>
              <a:gd name="connsiteY176" fmla="*/ 14374 h 110081"/>
              <a:gd name="connsiteX177" fmla="*/ 529116 w 579786"/>
              <a:gd name="connsiteY177" fmla="*/ 44991 h 110081"/>
              <a:gd name="connsiteX178" fmla="*/ 536462 w 579786"/>
              <a:gd name="connsiteY178" fmla="*/ 41071 h 110081"/>
              <a:gd name="connsiteX179" fmla="*/ 546733 w 579786"/>
              <a:gd name="connsiteY179" fmla="*/ 39266 h 110081"/>
              <a:gd name="connsiteX180" fmla="*/ 563478 w 579786"/>
              <a:gd name="connsiteY180" fmla="*/ 43186 h 110081"/>
              <a:gd name="connsiteX181" fmla="*/ 575305 w 579786"/>
              <a:gd name="connsiteY181" fmla="*/ 54512 h 110081"/>
              <a:gd name="connsiteX182" fmla="*/ 579787 w 579786"/>
              <a:gd name="connsiteY182" fmla="*/ 73181 h 110081"/>
              <a:gd name="connsiteX183" fmla="*/ 575118 w 579786"/>
              <a:gd name="connsiteY183" fmla="*/ 92596 h 110081"/>
              <a:gd name="connsiteX184" fmla="*/ 562295 w 579786"/>
              <a:gd name="connsiteY184" fmla="*/ 105601 h 110081"/>
              <a:gd name="connsiteX185" fmla="*/ 542437 w 579786"/>
              <a:gd name="connsiteY18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7978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08588"/>
                </a:moveTo>
                <a:lnTo>
                  <a:pt x="102586" y="108588"/>
                </a:lnTo>
                <a:lnTo>
                  <a:pt x="102586" y="94400"/>
                </a:lnTo>
                <a:cubicBezTo>
                  <a:pt x="113231" y="85812"/>
                  <a:pt x="121946" y="78532"/>
                  <a:pt x="128731" y="72433"/>
                </a:cubicBezTo>
                <a:cubicBezTo>
                  <a:pt x="135641" y="66397"/>
                  <a:pt x="140932" y="61108"/>
                  <a:pt x="144729" y="56628"/>
                </a:cubicBezTo>
                <a:cubicBezTo>
                  <a:pt x="148588" y="52023"/>
                  <a:pt x="151328" y="47791"/>
                  <a:pt x="152821" y="43933"/>
                </a:cubicBezTo>
                <a:cubicBezTo>
                  <a:pt x="154378" y="40012"/>
                  <a:pt x="155187" y="36092"/>
                  <a:pt x="155187" y="32109"/>
                </a:cubicBezTo>
                <a:cubicBezTo>
                  <a:pt x="155187" y="25949"/>
                  <a:pt x="153319" y="21095"/>
                  <a:pt x="149647" y="17610"/>
                </a:cubicBezTo>
                <a:cubicBezTo>
                  <a:pt x="145974" y="14125"/>
                  <a:pt x="140869" y="12383"/>
                  <a:pt x="134396" y="12383"/>
                </a:cubicBezTo>
                <a:cubicBezTo>
                  <a:pt x="124062" y="12383"/>
                  <a:pt x="114414" y="17361"/>
                  <a:pt x="105450" y="27194"/>
                </a:cubicBezTo>
                <a:lnTo>
                  <a:pt x="105450" y="12134"/>
                </a:lnTo>
                <a:cubicBezTo>
                  <a:pt x="113729" y="4044"/>
                  <a:pt x="123502" y="0"/>
                  <a:pt x="134894" y="0"/>
                </a:cubicBezTo>
                <a:cubicBezTo>
                  <a:pt x="145600" y="0"/>
                  <a:pt x="154066" y="2800"/>
                  <a:pt x="160291" y="8401"/>
                </a:cubicBezTo>
                <a:cubicBezTo>
                  <a:pt x="166516" y="13877"/>
                  <a:pt x="169691" y="21344"/>
                  <a:pt x="169691" y="30803"/>
                </a:cubicBezTo>
                <a:cubicBezTo>
                  <a:pt x="169691" y="35657"/>
                  <a:pt x="168881" y="40324"/>
                  <a:pt x="167263" y="44804"/>
                </a:cubicBezTo>
                <a:cubicBezTo>
                  <a:pt x="165769" y="49222"/>
                  <a:pt x="163093" y="53827"/>
                  <a:pt x="159233" y="58681"/>
                </a:cubicBezTo>
                <a:cubicBezTo>
                  <a:pt x="155436" y="63473"/>
                  <a:pt x="150207" y="68887"/>
                  <a:pt x="143546" y="74860"/>
                </a:cubicBezTo>
                <a:cubicBezTo>
                  <a:pt x="136885" y="80835"/>
                  <a:pt x="128420" y="87804"/>
                  <a:pt x="118148" y="95769"/>
                </a:cubicBezTo>
                <a:lnTo>
                  <a:pt x="170874" y="95769"/>
                </a:lnTo>
                <a:lnTo>
                  <a:pt x="170874" y="108588"/>
                </a:lnTo>
                <a:close/>
                <a:moveTo>
                  <a:pt x="202184" y="58992"/>
                </a:moveTo>
                <a:lnTo>
                  <a:pt x="202184" y="46298"/>
                </a:lnTo>
                <a:lnTo>
                  <a:pt x="216564" y="46298"/>
                </a:lnTo>
                <a:cubicBezTo>
                  <a:pt x="222105" y="46298"/>
                  <a:pt x="226649" y="44804"/>
                  <a:pt x="230135" y="41817"/>
                </a:cubicBezTo>
                <a:cubicBezTo>
                  <a:pt x="233745" y="38768"/>
                  <a:pt x="235551" y="34412"/>
                  <a:pt x="235551" y="28812"/>
                </a:cubicBezTo>
                <a:cubicBezTo>
                  <a:pt x="235551" y="23771"/>
                  <a:pt x="233870" y="19788"/>
                  <a:pt x="230570" y="16864"/>
                </a:cubicBezTo>
                <a:cubicBezTo>
                  <a:pt x="227333" y="13877"/>
                  <a:pt x="222602" y="12383"/>
                  <a:pt x="216377" y="12383"/>
                </a:cubicBezTo>
                <a:cubicBezTo>
                  <a:pt x="211211" y="12383"/>
                  <a:pt x="206355" y="13379"/>
                  <a:pt x="201749" y="15246"/>
                </a:cubicBezTo>
                <a:cubicBezTo>
                  <a:pt x="197267" y="17113"/>
                  <a:pt x="192599" y="20162"/>
                  <a:pt x="187743" y="24331"/>
                </a:cubicBezTo>
                <a:lnTo>
                  <a:pt x="187743" y="9707"/>
                </a:lnTo>
                <a:cubicBezTo>
                  <a:pt x="195711" y="3235"/>
                  <a:pt x="205297" y="0"/>
                  <a:pt x="216564" y="0"/>
                </a:cubicBezTo>
                <a:cubicBezTo>
                  <a:pt x="226836" y="0"/>
                  <a:pt x="234804" y="2613"/>
                  <a:pt x="240592" y="7779"/>
                </a:cubicBezTo>
                <a:cubicBezTo>
                  <a:pt x="246506" y="12943"/>
                  <a:pt x="249432" y="19726"/>
                  <a:pt x="249432" y="28065"/>
                </a:cubicBezTo>
                <a:cubicBezTo>
                  <a:pt x="249432" y="34848"/>
                  <a:pt x="247502" y="40262"/>
                  <a:pt x="243767" y="44244"/>
                </a:cubicBezTo>
                <a:cubicBezTo>
                  <a:pt x="240032" y="48227"/>
                  <a:pt x="235613" y="50840"/>
                  <a:pt x="230446" y="52147"/>
                </a:cubicBezTo>
                <a:cubicBezTo>
                  <a:pt x="234617" y="52707"/>
                  <a:pt x="238476" y="54201"/>
                  <a:pt x="241962" y="56441"/>
                </a:cubicBezTo>
                <a:cubicBezTo>
                  <a:pt x="245510" y="58681"/>
                  <a:pt x="248436" y="61543"/>
                  <a:pt x="250614" y="65153"/>
                </a:cubicBezTo>
                <a:cubicBezTo>
                  <a:pt x="252793" y="68700"/>
                  <a:pt x="253914" y="72869"/>
                  <a:pt x="253914" y="77661"/>
                </a:cubicBezTo>
                <a:cubicBezTo>
                  <a:pt x="253914" y="84257"/>
                  <a:pt x="252233" y="89982"/>
                  <a:pt x="248996" y="94836"/>
                </a:cubicBezTo>
                <a:cubicBezTo>
                  <a:pt x="245697" y="99752"/>
                  <a:pt x="241152" y="103486"/>
                  <a:pt x="235364" y="106224"/>
                </a:cubicBezTo>
                <a:cubicBezTo>
                  <a:pt x="229699" y="108775"/>
                  <a:pt x="223101" y="110082"/>
                  <a:pt x="215506" y="110082"/>
                </a:cubicBezTo>
                <a:cubicBezTo>
                  <a:pt x="202371" y="110082"/>
                  <a:pt x="192225" y="107033"/>
                  <a:pt x="185004" y="100997"/>
                </a:cubicBezTo>
                <a:lnTo>
                  <a:pt x="185004" y="86062"/>
                </a:lnTo>
                <a:cubicBezTo>
                  <a:pt x="188802" y="89733"/>
                  <a:pt x="193408" y="92596"/>
                  <a:pt x="198761" y="94711"/>
                </a:cubicBezTo>
                <a:cubicBezTo>
                  <a:pt x="204177" y="96765"/>
                  <a:pt x="209779" y="97823"/>
                  <a:pt x="215630" y="97823"/>
                </a:cubicBezTo>
                <a:cubicBezTo>
                  <a:pt x="223038" y="97823"/>
                  <a:pt x="228827" y="96080"/>
                  <a:pt x="232998" y="92596"/>
                </a:cubicBezTo>
                <a:cubicBezTo>
                  <a:pt x="237293" y="89048"/>
                  <a:pt x="239410" y="84132"/>
                  <a:pt x="239410" y="77972"/>
                </a:cubicBezTo>
                <a:cubicBezTo>
                  <a:pt x="239410" y="71998"/>
                  <a:pt x="237480" y="67393"/>
                  <a:pt x="233558" y="64095"/>
                </a:cubicBezTo>
                <a:cubicBezTo>
                  <a:pt x="229823" y="60673"/>
                  <a:pt x="223910" y="58992"/>
                  <a:pt x="215942" y="58992"/>
                </a:cubicBezTo>
                <a:lnTo>
                  <a:pt x="202184" y="58992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460269" y="110082"/>
                </a:moveTo>
                <a:cubicBezTo>
                  <a:pt x="448317" y="110082"/>
                  <a:pt x="438793" y="107530"/>
                  <a:pt x="431759" y="102490"/>
                </a:cubicBezTo>
                <a:lnTo>
                  <a:pt x="431759" y="87804"/>
                </a:lnTo>
                <a:cubicBezTo>
                  <a:pt x="435930" y="91226"/>
                  <a:pt x="440287" y="93778"/>
                  <a:pt x="444894" y="95458"/>
                </a:cubicBezTo>
                <a:cubicBezTo>
                  <a:pt x="449500" y="97014"/>
                  <a:pt x="454604" y="97823"/>
                  <a:pt x="460269" y="97823"/>
                </a:cubicBezTo>
                <a:cubicBezTo>
                  <a:pt x="467676" y="97823"/>
                  <a:pt x="473341" y="95583"/>
                  <a:pt x="477325" y="91102"/>
                </a:cubicBezTo>
                <a:cubicBezTo>
                  <a:pt x="481372" y="86621"/>
                  <a:pt x="483426" y="80772"/>
                  <a:pt x="483426" y="73491"/>
                </a:cubicBezTo>
                <a:cubicBezTo>
                  <a:pt x="483426" y="65713"/>
                  <a:pt x="481434" y="60050"/>
                  <a:pt x="477450" y="56441"/>
                </a:cubicBezTo>
                <a:cubicBezTo>
                  <a:pt x="473466" y="52894"/>
                  <a:pt x="468423" y="51089"/>
                  <a:pt x="462385" y="51089"/>
                </a:cubicBezTo>
                <a:cubicBezTo>
                  <a:pt x="457966" y="51089"/>
                  <a:pt x="454480" y="51836"/>
                  <a:pt x="451741" y="53329"/>
                </a:cubicBezTo>
                <a:cubicBezTo>
                  <a:pt x="449064" y="54698"/>
                  <a:pt x="447010" y="56192"/>
                  <a:pt x="445641" y="57810"/>
                </a:cubicBezTo>
                <a:lnTo>
                  <a:pt x="434747" y="57810"/>
                </a:lnTo>
                <a:lnTo>
                  <a:pt x="434747" y="1493"/>
                </a:lnTo>
                <a:lnTo>
                  <a:pt x="492701" y="1493"/>
                </a:lnTo>
                <a:lnTo>
                  <a:pt x="492701" y="14374"/>
                </a:lnTo>
                <a:lnTo>
                  <a:pt x="447010" y="14374"/>
                </a:lnTo>
                <a:lnTo>
                  <a:pt x="447010" y="44991"/>
                </a:lnTo>
                <a:cubicBezTo>
                  <a:pt x="449002" y="43498"/>
                  <a:pt x="451430" y="42190"/>
                  <a:pt x="454293" y="41071"/>
                </a:cubicBezTo>
                <a:cubicBezTo>
                  <a:pt x="457219" y="39888"/>
                  <a:pt x="460642" y="39266"/>
                  <a:pt x="464626" y="39266"/>
                </a:cubicBezTo>
                <a:cubicBezTo>
                  <a:pt x="470789" y="39266"/>
                  <a:pt x="476391" y="40572"/>
                  <a:pt x="481372" y="43186"/>
                </a:cubicBezTo>
                <a:cubicBezTo>
                  <a:pt x="486351" y="45675"/>
                  <a:pt x="490273" y="49471"/>
                  <a:pt x="493137" y="54512"/>
                </a:cubicBezTo>
                <a:cubicBezTo>
                  <a:pt x="496125" y="59490"/>
                  <a:pt x="497619" y="65713"/>
                  <a:pt x="497619" y="73181"/>
                </a:cubicBezTo>
                <a:cubicBezTo>
                  <a:pt x="497619" y="80586"/>
                  <a:pt x="496062" y="87058"/>
                  <a:pt x="493012" y="92596"/>
                </a:cubicBezTo>
                <a:cubicBezTo>
                  <a:pt x="490024" y="98196"/>
                  <a:pt x="485729" y="102490"/>
                  <a:pt x="480126" y="105601"/>
                </a:cubicBezTo>
                <a:cubicBezTo>
                  <a:pt x="474586" y="108588"/>
                  <a:pt x="467926" y="110082"/>
                  <a:pt x="460269" y="110082"/>
                </a:cubicBezTo>
                <a:close/>
                <a:moveTo>
                  <a:pt x="542437" y="110082"/>
                </a:moveTo>
                <a:cubicBezTo>
                  <a:pt x="530486" y="110082"/>
                  <a:pt x="520962" y="107530"/>
                  <a:pt x="513865" y="102490"/>
                </a:cubicBezTo>
                <a:lnTo>
                  <a:pt x="513865" y="87804"/>
                </a:lnTo>
                <a:cubicBezTo>
                  <a:pt x="518098" y="91226"/>
                  <a:pt x="522456" y="93778"/>
                  <a:pt x="527062" y="95458"/>
                </a:cubicBezTo>
                <a:cubicBezTo>
                  <a:pt x="531606" y="97014"/>
                  <a:pt x="536773" y="97823"/>
                  <a:pt x="542437" y="97823"/>
                </a:cubicBezTo>
                <a:cubicBezTo>
                  <a:pt x="549783" y="97823"/>
                  <a:pt x="555447" y="95583"/>
                  <a:pt x="559431" y="91102"/>
                </a:cubicBezTo>
                <a:cubicBezTo>
                  <a:pt x="563540" y="86621"/>
                  <a:pt x="565594" y="80772"/>
                  <a:pt x="565594" y="73491"/>
                </a:cubicBezTo>
                <a:cubicBezTo>
                  <a:pt x="565594" y="65713"/>
                  <a:pt x="563602" y="60050"/>
                  <a:pt x="559618" y="56441"/>
                </a:cubicBezTo>
                <a:cubicBezTo>
                  <a:pt x="555634" y="52894"/>
                  <a:pt x="550592" y="51089"/>
                  <a:pt x="544492" y="51089"/>
                </a:cubicBezTo>
                <a:cubicBezTo>
                  <a:pt x="540134" y="51089"/>
                  <a:pt x="536586" y="51836"/>
                  <a:pt x="533909" y="53329"/>
                </a:cubicBezTo>
                <a:cubicBezTo>
                  <a:pt x="531233" y="54698"/>
                  <a:pt x="529178" y="56192"/>
                  <a:pt x="527809" y="57810"/>
                </a:cubicBezTo>
                <a:lnTo>
                  <a:pt x="516853" y="57810"/>
                </a:lnTo>
                <a:lnTo>
                  <a:pt x="516853" y="1493"/>
                </a:lnTo>
                <a:lnTo>
                  <a:pt x="574870" y="1493"/>
                </a:lnTo>
                <a:lnTo>
                  <a:pt x="574870" y="14374"/>
                </a:lnTo>
                <a:lnTo>
                  <a:pt x="529116" y="14374"/>
                </a:lnTo>
                <a:lnTo>
                  <a:pt x="529116" y="44991"/>
                </a:lnTo>
                <a:cubicBezTo>
                  <a:pt x="531108" y="43498"/>
                  <a:pt x="533536" y="42190"/>
                  <a:pt x="536462" y="41071"/>
                </a:cubicBezTo>
                <a:cubicBezTo>
                  <a:pt x="539325" y="39888"/>
                  <a:pt x="542749" y="39266"/>
                  <a:pt x="546733" y="39266"/>
                </a:cubicBezTo>
                <a:cubicBezTo>
                  <a:pt x="552958" y="39266"/>
                  <a:pt x="558498" y="40572"/>
                  <a:pt x="563478" y="43186"/>
                </a:cubicBezTo>
                <a:cubicBezTo>
                  <a:pt x="568458" y="45675"/>
                  <a:pt x="572380" y="49471"/>
                  <a:pt x="575305" y="54512"/>
                </a:cubicBezTo>
                <a:cubicBezTo>
                  <a:pt x="578293" y="59490"/>
                  <a:pt x="579787" y="65713"/>
                  <a:pt x="579787" y="73181"/>
                </a:cubicBezTo>
                <a:cubicBezTo>
                  <a:pt x="579787" y="80586"/>
                  <a:pt x="578231" y="87058"/>
                  <a:pt x="575118" y="92596"/>
                </a:cubicBezTo>
                <a:cubicBezTo>
                  <a:pt x="572130" y="98196"/>
                  <a:pt x="567897" y="102490"/>
                  <a:pt x="562295" y="105601"/>
                </a:cubicBezTo>
                <a:cubicBezTo>
                  <a:pt x="556693" y="108588"/>
                  <a:pt x="550094" y="110082"/>
                  <a:pt x="542437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8" name="Полилиния 907">
            <a:extLst>
              <a:ext uri="{FF2B5EF4-FFF2-40B4-BE49-F238E27FC236}">
                <a16:creationId xmlns:a16="http://schemas.microsoft.com/office/drawing/2014/main" id="{3AC7DCA0-EE38-8219-852F-06F214FCB6B9}"/>
              </a:ext>
            </a:extLst>
          </p:cNvPr>
          <p:cNvSpPr/>
          <p:nvPr userDrawn="1"/>
        </p:nvSpPr>
        <p:spPr>
          <a:xfrm>
            <a:off x="4142452" y="4513847"/>
            <a:ext cx="2557159" cy="726227"/>
          </a:xfrm>
          <a:custGeom>
            <a:avLst/>
            <a:gdLst>
              <a:gd name="connsiteX0" fmla="*/ 1860 w 2191162"/>
              <a:gd name="connsiteY0" fmla="*/ 1122 h 622284"/>
              <a:gd name="connsiteX1" fmla="*/ 2193023 w 2191162"/>
              <a:gd name="connsiteY1" fmla="*/ 1122 h 622284"/>
              <a:gd name="connsiteX2" fmla="*/ 2193023 w 2191162"/>
              <a:gd name="connsiteY2" fmla="*/ 623406 h 622284"/>
              <a:gd name="connsiteX3" fmla="*/ 1860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122"/>
                </a:moveTo>
                <a:lnTo>
                  <a:pt x="2193023" y="1122"/>
                </a:lnTo>
                <a:lnTo>
                  <a:pt x="2193023" y="623406"/>
                </a:lnTo>
                <a:lnTo>
                  <a:pt x="1860" y="623406"/>
                </a:lnTo>
                <a:close/>
              </a:path>
            </a:pathLst>
          </a:custGeom>
          <a:solidFill>
            <a:srgbClr val="3200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9" name="Полилиния 908">
            <a:extLst>
              <a:ext uri="{FF2B5EF4-FFF2-40B4-BE49-F238E27FC236}">
                <a16:creationId xmlns:a16="http://schemas.microsoft.com/office/drawing/2014/main" id="{A9DE9977-2F01-2FC3-EE26-5257A5B4A763}"/>
              </a:ext>
            </a:extLst>
          </p:cNvPr>
          <p:cNvSpPr/>
          <p:nvPr userDrawn="1"/>
        </p:nvSpPr>
        <p:spPr>
          <a:xfrm>
            <a:off x="4265660" y="4815595"/>
            <a:ext cx="678738" cy="128468"/>
          </a:xfrm>
          <a:custGeom>
            <a:avLst/>
            <a:gdLst>
              <a:gd name="connsiteX0" fmla="*/ 22099 w 581592"/>
              <a:gd name="connsiteY0" fmla="*/ 108588 h 110081"/>
              <a:gd name="connsiteX1" fmla="*/ 10147 w 581592"/>
              <a:gd name="connsiteY1" fmla="*/ 108588 h 110081"/>
              <a:gd name="connsiteX2" fmla="*/ 16434 w 581592"/>
              <a:gd name="connsiteY2" fmla="*/ 77661 h 110081"/>
              <a:gd name="connsiteX3" fmla="*/ 0 w 581592"/>
              <a:gd name="connsiteY3" fmla="*/ 77661 h 110081"/>
              <a:gd name="connsiteX4" fmla="*/ 0 w 581592"/>
              <a:gd name="connsiteY4" fmla="*/ 67206 h 110081"/>
              <a:gd name="connsiteX5" fmla="*/ 18675 w 581592"/>
              <a:gd name="connsiteY5" fmla="*/ 67206 h 110081"/>
              <a:gd name="connsiteX6" fmla="*/ 24215 w 581592"/>
              <a:gd name="connsiteY6" fmla="*/ 40012 h 110081"/>
              <a:gd name="connsiteX7" fmla="*/ 4046 w 581592"/>
              <a:gd name="connsiteY7" fmla="*/ 40012 h 110081"/>
              <a:gd name="connsiteX8" fmla="*/ 4046 w 581592"/>
              <a:gd name="connsiteY8" fmla="*/ 29559 h 110081"/>
              <a:gd name="connsiteX9" fmla="*/ 26270 w 581592"/>
              <a:gd name="connsiteY9" fmla="*/ 29559 h 110081"/>
              <a:gd name="connsiteX10" fmla="*/ 32121 w 581592"/>
              <a:gd name="connsiteY10" fmla="*/ 1493 h 110081"/>
              <a:gd name="connsiteX11" fmla="*/ 44073 w 581592"/>
              <a:gd name="connsiteY11" fmla="*/ 1493 h 110081"/>
              <a:gd name="connsiteX12" fmla="*/ 38221 w 581592"/>
              <a:gd name="connsiteY12" fmla="*/ 29559 h 110081"/>
              <a:gd name="connsiteX13" fmla="*/ 60630 w 581592"/>
              <a:gd name="connsiteY13" fmla="*/ 29559 h 110081"/>
              <a:gd name="connsiteX14" fmla="*/ 66482 w 581592"/>
              <a:gd name="connsiteY14" fmla="*/ 1493 h 110081"/>
              <a:gd name="connsiteX15" fmla="*/ 78434 w 581592"/>
              <a:gd name="connsiteY15" fmla="*/ 1493 h 110081"/>
              <a:gd name="connsiteX16" fmla="*/ 72582 w 581592"/>
              <a:gd name="connsiteY16" fmla="*/ 29559 h 110081"/>
              <a:gd name="connsiteX17" fmla="*/ 89328 w 581592"/>
              <a:gd name="connsiteY17" fmla="*/ 29559 h 110081"/>
              <a:gd name="connsiteX18" fmla="*/ 89328 w 581592"/>
              <a:gd name="connsiteY18" fmla="*/ 40012 h 110081"/>
              <a:gd name="connsiteX19" fmla="*/ 70529 w 581592"/>
              <a:gd name="connsiteY19" fmla="*/ 40012 h 110081"/>
              <a:gd name="connsiteX20" fmla="*/ 64988 w 581592"/>
              <a:gd name="connsiteY20" fmla="*/ 67206 h 110081"/>
              <a:gd name="connsiteX21" fmla="*/ 85282 w 581592"/>
              <a:gd name="connsiteY21" fmla="*/ 67206 h 110081"/>
              <a:gd name="connsiteX22" fmla="*/ 85282 w 581592"/>
              <a:gd name="connsiteY22" fmla="*/ 77661 h 110081"/>
              <a:gd name="connsiteX23" fmla="*/ 62747 w 581592"/>
              <a:gd name="connsiteY23" fmla="*/ 77661 h 110081"/>
              <a:gd name="connsiteX24" fmla="*/ 56460 w 581592"/>
              <a:gd name="connsiteY24" fmla="*/ 108588 h 110081"/>
              <a:gd name="connsiteX25" fmla="*/ 44508 w 581592"/>
              <a:gd name="connsiteY25" fmla="*/ 108588 h 110081"/>
              <a:gd name="connsiteX26" fmla="*/ 50795 w 581592"/>
              <a:gd name="connsiteY26" fmla="*/ 77661 h 110081"/>
              <a:gd name="connsiteX27" fmla="*/ 28386 w 581592"/>
              <a:gd name="connsiteY27" fmla="*/ 77661 h 110081"/>
              <a:gd name="connsiteX28" fmla="*/ 22099 w 581592"/>
              <a:gd name="connsiteY28" fmla="*/ 108588 h 110081"/>
              <a:gd name="connsiteX29" fmla="*/ 30627 w 581592"/>
              <a:gd name="connsiteY29" fmla="*/ 67206 h 110081"/>
              <a:gd name="connsiteX30" fmla="*/ 53036 w 581592"/>
              <a:gd name="connsiteY30" fmla="*/ 67206 h 110081"/>
              <a:gd name="connsiteX31" fmla="*/ 58576 w 581592"/>
              <a:gd name="connsiteY31" fmla="*/ 40012 h 110081"/>
              <a:gd name="connsiteX32" fmla="*/ 36167 w 581592"/>
              <a:gd name="connsiteY32" fmla="*/ 40012 h 110081"/>
              <a:gd name="connsiteX33" fmla="*/ 30627 w 581592"/>
              <a:gd name="connsiteY33" fmla="*/ 67206 h 110081"/>
              <a:gd name="connsiteX34" fmla="*/ 120078 w 581592"/>
              <a:gd name="connsiteY34" fmla="*/ 58992 h 110081"/>
              <a:gd name="connsiteX35" fmla="*/ 120078 w 581592"/>
              <a:gd name="connsiteY35" fmla="*/ 46298 h 110081"/>
              <a:gd name="connsiteX36" fmla="*/ 134396 w 581592"/>
              <a:gd name="connsiteY36" fmla="*/ 46298 h 110081"/>
              <a:gd name="connsiteX37" fmla="*/ 148028 w 581592"/>
              <a:gd name="connsiteY37" fmla="*/ 41817 h 110081"/>
              <a:gd name="connsiteX38" fmla="*/ 153382 w 581592"/>
              <a:gd name="connsiteY38" fmla="*/ 28812 h 110081"/>
              <a:gd name="connsiteX39" fmla="*/ 148464 w 581592"/>
              <a:gd name="connsiteY39" fmla="*/ 16864 h 110081"/>
              <a:gd name="connsiteX40" fmla="*/ 134271 w 581592"/>
              <a:gd name="connsiteY40" fmla="*/ 12383 h 110081"/>
              <a:gd name="connsiteX41" fmla="*/ 119643 w 581592"/>
              <a:gd name="connsiteY41" fmla="*/ 15246 h 110081"/>
              <a:gd name="connsiteX42" fmla="*/ 105575 w 581592"/>
              <a:gd name="connsiteY42" fmla="*/ 24331 h 110081"/>
              <a:gd name="connsiteX43" fmla="*/ 105575 w 581592"/>
              <a:gd name="connsiteY43" fmla="*/ 9707 h 110081"/>
              <a:gd name="connsiteX44" fmla="*/ 134396 w 581592"/>
              <a:gd name="connsiteY44" fmla="*/ 0 h 110081"/>
              <a:gd name="connsiteX45" fmla="*/ 158486 w 581592"/>
              <a:gd name="connsiteY45" fmla="*/ 7779 h 110081"/>
              <a:gd name="connsiteX46" fmla="*/ 167263 w 581592"/>
              <a:gd name="connsiteY46" fmla="*/ 28065 h 110081"/>
              <a:gd name="connsiteX47" fmla="*/ 161599 w 581592"/>
              <a:gd name="connsiteY47" fmla="*/ 44244 h 110081"/>
              <a:gd name="connsiteX48" fmla="*/ 148340 w 581592"/>
              <a:gd name="connsiteY48" fmla="*/ 52147 h 110081"/>
              <a:gd name="connsiteX49" fmla="*/ 159793 w 581592"/>
              <a:gd name="connsiteY49" fmla="*/ 56441 h 110081"/>
              <a:gd name="connsiteX50" fmla="*/ 168508 w 581592"/>
              <a:gd name="connsiteY50" fmla="*/ 65153 h 110081"/>
              <a:gd name="connsiteX51" fmla="*/ 171745 w 581592"/>
              <a:gd name="connsiteY51" fmla="*/ 77661 h 110081"/>
              <a:gd name="connsiteX52" fmla="*/ 166827 w 581592"/>
              <a:gd name="connsiteY52" fmla="*/ 94836 h 110081"/>
              <a:gd name="connsiteX53" fmla="*/ 153257 w 581592"/>
              <a:gd name="connsiteY53" fmla="*/ 106224 h 110081"/>
              <a:gd name="connsiteX54" fmla="*/ 133400 w 581592"/>
              <a:gd name="connsiteY54" fmla="*/ 110082 h 110081"/>
              <a:gd name="connsiteX55" fmla="*/ 102898 w 581592"/>
              <a:gd name="connsiteY55" fmla="*/ 100997 h 110081"/>
              <a:gd name="connsiteX56" fmla="*/ 102898 w 581592"/>
              <a:gd name="connsiteY56" fmla="*/ 86062 h 110081"/>
              <a:gd name="connsiteX57" fmla="*/ 116654 w 581592"/>
              <a:gd name="connsiteY57" fmla="*/ 94711 h 110081"/>
              <a:gd name="connsiteX58" fmla="*/ 133524 w 581592"/>
              <a:gd name="connsiteY58" fmla="*/ 97823 h 110081"/>
              <a:gd name="connsiteX59" fmla="*/ 150829 w 581592"/>
              <a:gd name="connsiteY59" fmla="*/ 92596 h 110081"/>
              <a:gd name="connsiteX60" fmla="*/ 157303 w 581592"/>
              <a:gd name="connsiteY60" fmla="*/ 77972 h 110081"/>
              <a:gd name="connsiteX61" fmla="*/ 151452 w 581592"/>
              <a:gd name="connsiteY61" fmla="*/ 64095 h 110081"/>
              <a:gd name="connsiteX62" fmla="*/ 133835 w 581592"/>
              <a:gd name="connsiteY62" fmla="*/ 58992 h 110081"/>
              <a:gd name="connsiteX63" fmla="*/ 120078 w 581592"/>
              <a:gd name="connsiteY63" fmla="*/ 58992 h 110081"/>
              <a:gd name="connsiteX64" fmla="*/ 252980 w 581592"/>
              <a:gd name="connsiteY64" fmla="*/ 108588 h 110081"/>
              <a:gd name="connsiteX65" fmla="*/ 184755 w 581592"/>
              <a:gd name="connsiteY65" fmla="*/ 108588 h 110081"/>
              <a:gd name="connsiteX66" fmla="*/ 184755 w 581592"/>
              <a:gd name="connsiteY66" fmla="*/ 94400 h 110081"/>
              <a:gd name="connsiteX67" fmla="*/ 210899 w 581592"/>
              <a:gd name="connsiteY67" fmla="*/ 72433 h 110081"/>
              <a:gd name="connsiteX68" fmla="*/ 226836 w 581592"/>
              <a:gd name="connsiteY68" fmla="*/ 56628 h 110081"/>
              <a:gd name="connsiteX69" fmla="*/ 234927 w 581592"/>
              <a:gd name="connsiteY69" fmla="*/ 43933 h 110081"/>
              <a:gd name="connsiteX70" fmla="*/ 237293 w 581592"/>
              <a:gd name="connsiteY70" fmla="*/ 32109 h 110081"/>
              <a:gd name="connsiteX71" fmla="*/ 231815 w 581592"/>
              <a:gd name="connsiteY71" fmla="*/ 17610 h 110081"/>
              <a:gd name="connsiteX72" fmla="*/ 216564 w 581592"/>
              <a:gd name="connsiteY72" fmla="*/ 12383 h 110081"/>
              <a:gd name="connsiteX73" fmla="*/ 187556 w 581592"/>
              <a:gd name="connsiteY73" fmla="*/ 27194 h 110081"/>
              <a:gd name="connsiteX74" fmla="*/ 187556 w 581592"/>
              <a:gd name="connsiteY74" fmla="*/ 12134 h 110081"/>
              <a:gd name="connsiteX75" fmla="*/ 217000 w 581592"/>
              <a:gd name="connsiteY75" fmla="*/ 0 h 110081"/>
              <a:gd name="connsiteX76" fmla="*/ 242398 w 581592"/>
              <a:gd name="connsiteY76" fmla="*/ 8401 h 110081"/>
              <a:gd name="connsiteX77" fmla="*/ 251797 w 581592"/>
              <a:gd name="connsiteY77" fmla="*/ 30803 h 110081"/>
              <a:gd name="connsiteX78" fmla="*/ 249432 w 581592"/>
              <a:gd name="connsiteY78" fmla="*/ 44804 h 110081"/>
              <a:gd name="connsiteX79" fmla="*/ 241339 w 581592"/>
              <a:gd name="connsiteY79" fmla="*/ 58681 h 110081"/>
              <a:gd name="connsiteX80" fmla="*/ 225652 w 581592"/>
              <a:gd name="connsiteY80" fmla="*/ 74860 h 110081"/>
              <a:gd name="connsiteX81" fmla="*/ 200255 w 581592"/>
              <a:gd name="connsiteY81" fmla="*/ 95769 h 110081"/>
              <a:gd name="connsiteX82" fmla="*/ 252980 w 581592"/>
              <a:gd name="connsiteY82" fmla="*/ 95769 h 110081"/>
              <a:gd name="connsiteX83" fmla="*/ 252980 w 581592"/>
              <a:gd name="connsiteY83" fmla="*/ 108588 h 110081"/>
              <a:gd name="connsiteX84" fmla="*/ 300912 w 581592"/>
              <a:gd name="connsiteY84" fmla="*/ 110082 h 110081"/>
              <a:gd name="connsiteX85" fmla="*/ 282735 w 581592"/>
              <a:gd name="connsiteY85" fmla="*/ 104233 h 110081"/>
              <a:gd name="connsiteX86" fmla="*/ 270036 w 581592"/>
              <a:gd name="connsiteY86" fmla="*/ 86311 h 110081"/>
              <a:gd name="connsiteX87" fmla="*/ 265554 w 581592"/>
              <a:gd name="connsiteY87" fmla="*/ 54947 h 110081"/>
              <a:gd name="connsiteX88" fmla="*/ 270036 w 581592"/>
              <a:gd name="connsiteY88" fmla="*/ 23584 h 110081"/>
              <a:gd name="connsiteX89" fmla="*/ 282735 w 581592"/>
              <a:gd name="connsiteY89" fmla="*/ 5849 h 110081"/>
              <a:gd name="connsiteX90" fmla="*/ 300912 w 581592"/>
              <a:gd name="connsiteY90" fmla="*/ 186 h 110081"/>
              <a:gd name="connsiteX91" fmla="*/ 319026 w 581592"/>
              <a:gd name="connsiteY91" fmla="*/ 5849 h 110081"/>
              <a:gd name="connsiteX92" fmla="*/ 331413 w 581592"/>
              <a:gd name="connsiteY92" fmla="*/ 23584 h 110081"/>
              <a:gd name="connsiteX93" fmla="*/ 335896 w 581592"/>
              <a:gd name="connsiteY93" fmla="*/ 54698 h 110081"/>
              <a:gd name="connsiteX94" fmla="*/ 331413 w 581592"/>
              <a:gd name="connsiteY94" fmla="*/ 86062 h 110081"/>
              <a:gd name="connsiteX95" fmla="*/ 319026 w 581592"/>
              <a:gd name="connsiteY95" fmla="*/ 104233 h 110081"/>
              <a:gd name="connsiteX96" fmla="*/ 300912 w 581592"/>
              <a:gd name="connsiteY96" fmla="*/ 110082 h 110081"/>
              <a:gd name="connsiteX97" fmla="*/ 300787 w 581592"/>
              <a:gd name="connsiteY97" fmla="*/ 98258 h 110081"/>
              <a:gd name="connsiteX98" fmla="*/ 312116 w 581592"/>
              <a:gd name="connsiteY98" fmla="*/ 94275 h 110081"/>
              <a:gd name="connsiteX99" fmla="*/ 319337 w 581592"/>
              <a:gd name="connsiteY99" fmla="*/ 80648 h 110081"/>
              <a:gd name="connsiteX100" fmla="*/ 321828 w 581592"/>
              <a:gd name="connsiteY100" fmla="*/ 55134 h 110081"/>
              <a:gd name="connsiteX101" fmla="*/ 319462 w 581592"/>
              <a:gd name="connsiteY101" fmla="*/ 29745 h 110081"/>
              <a:gd name="connsiteX102" fmla="*/ 312303 w 581592"/>
              <a:gd name="connsiteY102" fmla="*/ 16117 h 110081"/>
              <a:gd name="connsiteX103" fmla="*/ 300912 w 581592"/>
              <a:gd name="connsiteY103" fmla="*/ 11947 h 110081"/>
              <a:gd name="connsiteX104" fmla="*/ 289458 w 581592"/>
              <a:gd name="connsiteY104" fmla="*/ 16117 h 110081"/>
              <a:gd name="connsiteX105" fmla="*/ 282113 w 581592"/>
              <a:gd name="connsiteY105" fmla="*/ 29745 h 110081"/>
              <a:gd name="connsiteX106" fmla="*/ 279560 w 581592"/>
              <a:gd name="connsiteY106" fmla="*/ 55134 h 110081"/>
              <a:gd name="connsiteX107" fmla="*/ 281988 w 581592"/>
              <a:gd name="connsiteY107" fmla="*/ 80648 h 110081"/>
              <a:gd name="connsiteX108" fmla="*/ 289271 w 581592"/>
              <a:gd name="connsiteY108" fmla="*/ 94275 h 110081"/>
              <a:gd name="connsiteX109" fmla="*/ 300787 w 581592"/>
              <a:gd name="connsiteY109" fmla="*/ 98258 h 110081"/>
              <a:gd name="connsiteX110" fmla="*/ 383080 w 581592"/>
              <a:gd name="connsiteY110" fmla="*/ 110082 h 110081"/>
              <a:gd name="connsiteX111" fmla="*/ 364841 w 581592"/>
              <a:gd name="connsiteY111" fmla="*/ 104233 h 110081"/>
              <a:gd name="connsiteX112" fmla="*/ 352143 w 581592"/>
              <a:gd name="connsiteY112" fmla="*/ 86311 h 110081"/>
              <a:gd name="connsiteX113" fmla="*/ 347661 w 581592"/>
              <a:gd name="connsiteY113" fmla="*/ 54947 h 110081"/>
              <a:gd name="connsiteX114" fmla="*/ 352143 w 581592"/>
              <a:gd name="connsiteY114" fmla="*/ 23584 h 110081"/>
              <a:gd name="connsiteX115" fmla="*/ 364841 w 581592"/>
              <a:gd name="connsiteY115" fmla="*/ 5849 h 110081"/>
              <a:gd name="connsiteX116" fmla="*/ 383080 w 581592"/>
              <a:gd name="connsiteY116" fmla="*/ 186 h 110081"/>
              <a:gd name="connsiteX117" fmla="*/ 401133 w 581592"/>
              <a:gd name="connsiteY117" fmla="*/ 5849 h 110081"/>
              <a:gd name="connsiteX118" fmla="*/ 413582 w 581592"/>
              <a:gd name="connsiteY118" fmla="*/ 23584 h 110081"/>
              <a:gd name="connsiteX119" fmla="*/ 418064 w 581592"/>
              <a:gd name="connsiteY119" fmla="*/ 54698 h 110081"/>
              <a:gd name="connsiteX120" fmla="*/ 413582 w 581592"/>
              <a:gd name="connsiteY120" fmla="*/ 86062 h 110081"/>
              <a:gd name="connsiteX121" fmla="*/ 401133 w 581592"/>
              <a:gd name="connsiteY121" fmla="*/ 104233 h 110081"/>
              <a:gd name="connsiteX122" fmla="*/ 383080 w 581592"/>
              <a:gd name="connsiteY122" fmla="*/ 110082 h 110081"/>
              <a:gd name="connsiteX123" fmla="*/ 382956 w 581592"/>
              <a:gd name="connsiteY123" fmla="*/ 98258 h 110081"/>
              <a:gd name="connsiteX124" fmla="*/ 394285 w 581592"/>
              <a:gd name="connsiteY124" fmla="*/ 94275 h 110081"/>
              <a:gd name="connsiteX125" fmla="*/ 401443 w 581592"/>
              <a:gd name="connsiteY125" fmla="*/ 80648 h 110081"/>
              <a:gd name="connsiteX126" fmla="*/ 403996 w 581592"/>
              <a:gd name="connsiteY126" fmla="*/ 55134 h 110081"/>
              <a:gd name="connsiteX127" fmla="*/ 401630 w 581592"/>
              <a:gd name="connsiteY127" fmla="*/ 29745 h 110081"/>
              <a:gd name="connsiteX128" fmla="*/ 394409 w 581592"/>
              <a:gd name="connsiteY128" fmla="*/ 16117 h 110081"/>
              <a:gd name="connsiteX129" fmla="*/ 383080 w 581592"/>
              <a:gd name="connsiteY129" fmla="*/ 11947 h 110081"/>
              <a:gd name="connsiteX130" fmla="*/ 371564 w 581592"/>
              <a:gd name="connsiteY130" fmla="*/ 16117 h 110081"/>
              <a:gd name="connsiteX131" fmla="*/ 364281 w 581592"/>
              <a:gd name="connsiteY131" fmla="*/ 29745 h 110081"/>
              <a:gd name="connsiteX132" fmla="*/ 361729 w 581592"/>
              <a:gd name="connsiteY132" fmla="*/ 55134 h 110081"/>
              <a:gd name="connsiteX133" fmla="*/ 364094 w 581592"/>
              <a:gd name="connsiteY133" fmla="*/ 80648 h 110081"/>
              <a:gd name="connsiteX134" fmla="*/ 371440 w 581592"/>
              <a:gd name="connsiteY134" fmla="*/ 94275 h 110081"/>
              <a:gd name="connsiteX135" fmla="*/ 382956 w 581592"/>
              <a:gd name="connsiteY135" fmla="*/ 98258 h 110081"/>
              <a:gd name="connsiteX136" fmla="*/ 465373 w 581592"/>
              <a:gd name="connsiteY136" fmla="*/ 110082 h 110081"/>
              <a:gd name="connsiteX137" fmla="*/ 446699 w 581592"/>
              <a:gd name="connsiteY137" fmla="*/ 106473 h 110081"/>
              <a:gd name="connsiteX138" fmla="*/ 434000 w 581592"/>
              <a:gd name="connsiteY138" fmla="*/ 96205 h 110081"/>
              <a:gd name="connsiteX139" fmla="*/ 429332 w 581592"/>
              <a:gd name="connsiteY139" fmla="*/ 79777 h 110081"/>
              <a:gd name="connsiteX140" fmla="*/ 434747 w 581592"/>
              <a:gd name="connsiteY140" fmla="*/ 62291 h 110081"/>
              <a:gd name="connsiteX141" fmla="*/ 449500 w 581592"/>
              <a:gd name="connsiteY141" fmla="*/ 51711 h 110081"/>
              <a:gd name="connsiteX142" fmla="*/ 437548 w 581592"/>
              <a:gd name="connsiteY142" fmla="*/ 42564 h 110081"/>
              <a:gd name="connsiteX143" fmla="*/ 433253 w 581592"/>
              <a:gd name="connsiteY143" fmla="*/ 27504 h 110081"/>
              <a:gd name="connsiteX144" fmla="*/ 437423 w 581592"/>
              <a:gd name="connsiteY144" fmla="*/ 12570 h 110081"/>
              <a:gd name="connsiteX145" fmla="*/ 448939 w 581592"/>
              <a:gd name="connsiteY145" fmla="*/ 3298 h 110081"/>
              <a:gd name="connsiteX146" fmla="*/ 465373 w 581592"/>
              <a:gd name="connsiteY146" fmla="*/ 186 h 110081"/>
              <a:gd name="connsiteX147" fmla="*/ 481496 w 581592"/>
              <a:gd name="connsiteY147" fmla="*/ 3298 h 110081"/>
              <a:gd name="connsiteX148" fmla="*/ 492825 w 581592"/>
              <a:gd name="connsiteY148" fmla="*/ 12259 h 110081"/>
              <a:gd name="connsiteX149" fmla="*/ 497182 w 581592"/>
              <a:gd name="connsiteY149" fmla="*/ 27194 h 110081"/>
              <a:gd name="connsiteX150" fmla="*/ 492701 w 581592"/>
              <a:gd name="connsiteY150" fmla="*/ 42439 h 110081"/>
              <a:gd name="connsiteX151" fmla="*/ 480873 w 581592"/>
              <a:gd name="connsiteY151" fmla="*/ 51711 h 110081"/>
              <a:gd name="connsiteX152" fmla="*/ 495253 w 581592"/>
              <a:gd name="connsiteY152" fmla="*/ 61855 h 110081"/>
              <a:gd name="connsiteX153" fmla="*/ 500793 w 581592"/>
              <a:gd name="connsiteY153" fmla="*/ 79341 h 110081"/>
              <a:gd name="connsiteX154" fmla="*/ 496125 w 581592"/>
              <a:gd name="connsiteY154" fmla="*/ 95893 h 110081"/>
              <a:gd name="connsiteX155" fmla="*/ 483426 w 581592"/>
              <a:gd name="connsiteY155" fmla="*/ 106473 h 110081"/>
              <a:gd name="connsiteX156" fmla="*/ 465373 w 581592"/>
              <a:gd name="connsiteY156" fmla="*/ 110082 h 110081"/>
              <a:gd name="connsiteX157" fmla="*/ 465373 w 581592"/>
              <a:gd name="connsiteY157" fmla="*/ 46298 h 110081"/>
              <a:gd name="connsiteX158" fmla="*/ 478384 w 581592"/>
              <a:gd name="connsiteY158" fmla="*/ 41817 h 110081"/>
              <a:gd name="connsiteX159" fmla="*/ 483612 w 581592"/>
              <a:gd name="connsiteY159" fmla="*/ 29122 h 110081"/>
              <a:gd name="connsiteX160" fmla="*/ 478384 w 581592"/>
              <a:gd name="connsiteY160" fmla="*/ 16615 h 110081"/>
              <a:gd name="connsiteX161" fmla="*/ 465373 w 581592"/>
              <a:gd name="connsiteY161" fmla="*/ 11947 h 110081"/>
              <a:gd name="connsiteX162" fmla="*/ 452052 w 581592"/>
              <a:gd name="connsiteY162" fmla="*/ 16615 h 110081"/>
              <a:gd name="connsiteX163" fmla="*/ 446823 w 581592"/>
              <a:gd name="connsiteY163" fmla="*/ 29122 h 110081"/>
              <a:gd name="connsiteX164" fmla="*/ 452052 w 581592"/>
              <a:gd name="connsiteY164" fmla="*/ 41817 h 110081"/>
              <a:gd name="connsiteX165" fmla="*/ 465373 w 581592"/>
              <a:gd name="connsiteY165" fmla="*/ 46298 h 110081"/>
              <a:gd name="connsiteX166" fmla="*/ 465373 w 581592"/>
              <a:gd name="connsiteY166" fmla="*/ 98258 h 110081"/>
              <a:gd name="connsiteX167" fmla="*/ 480749 w 581592"/>
              <a:gd name="connsiteY167" fmla="*/ 92907 h 110081"/>
              <a:gd name="connsiteX168" fmla="*/ 487036 w 581592"/>
              <a:gd name="connsiteY168" fmla="*/ 77536 h 110081"/>
              <a:gd name="connsiteX169" fmla="*/ 480749 w 581592"/>
              <a:gd name="connsiteY169" fmla="*/ 62291 h 110081"/>
              <a:gd name="connsiteX170" fmla="*/ 465373 w 581592"/>
              <a:gd name="connsiteY170" fmla="*/ 56752 h 110081"/>
              <a:gd name="connsiteX171" fmla="*/ 449376 w 581592"/>
              <a:gd name="connsiteY171" fmla="*/ 62291 h 110081"/>
              <a:gd name="connsiteX172" fmla="*/ 443088 w 581592"/>
              <a:gd name="connsiteY172" fmla="*/ 77536 h 110081"/>
              <a:gd name="connsiteX173" fmla="*/ 449376 w 581592"/>
              <a:gd name="connsiteY173" fmla="*/ 92907 h 110081"/>
              <a:gd name="connsiteX174" fmla="*/ 465373 w 581592"/>
              <a:gd name="connsiteY174" fmla="*/ 98258 h 110081"/>
              <a:gd name="connsiteX175" fmla="*/ 581592 w 581592"/>
              <a:gd name="connsiteY175" fmla="*/ 108588 h 110081"/>
              <a:gd name="connsiteX176" fmla="*/ 513305 w 581592"/>
              <a:gd name="connsiteY176" fmla="*/ 108588 h 110081"/>
              <a:gd name="connsiteX177" fmla="*/ 513305 w 581592"/>
              <a:gd name="connsiteY177" fmla="*/ 94400 h 110081"/>
              <a:gd name="connsiteX178" fmla="*/ 539450 w 581592"/>
              <a:gd name="connsiteY178" fmla="*/ 72433 h 110081"/>
              <a:gd name="connsiteX179" fmla="*/ 555447 w 581592"/>
              <a:gd name="connsiteY179" fmla="*/ 56628 h 110081"/>
              <a:gd name="connsiteX180" fmla="*/ 563478 w 581592"/>
              <a:gd name="connsiteY180" fmla="*/ 43933 h 110081"/>
              <a:gd name="connsiteX181" fmla="*/ 565905 w 581592"/>
              <a:gd name="connsiteY181" fmla="*/ 32109 h 110081"/>
              <a:gd name="connsiteX182" fmla="*/ 560365 w 581592"/>
              <a:gd name="connsiteY182" fmla="*/ 17610 h 110081"/>
              <a:gd name="connsiteX183" fmla="*/ 545114 w 581592"/>
              <a:gd name="connsiteY183" fmla="*/ 12383 h 110081"/>
              <a:gd name="connsiteX184" fmla="*/ 516106 w 581592"/>
              <a:gd name="connsiteY184" fmla="*/ 27194 h 110081"/>
              <a:gd name="connsiteX185" fmla="*/ 516106 w 581592"/>
              <a:gd name="connsiteY185" fmla="*/ 12134 h 110081"/>
              <a:gd name="connsiteX186" fmla="*/ 545550 w 581592"/>
              <a:gd name="connsiteY186" fmla="*/ 0 h 110081"/>
              <a:gd name="connsiteX187" fmla="*/ 570948 w 581592"/>
              <a:gd name="connsiteY187" fmla="*/ 8401 h 110081"/>
              <a:gd name="connsiteX188" fmla="*/ 580347 w 581592"/>
              <a:gd name="connsiteY188" fmla="*/ 30803 h 110081"/>
              <a:gd name="connsiteX189" fmla="*/ 577982 w 581592"/>
              <a:gd name="connsiteY189" fmla="*/ 44804 h 110081"/>
              <a:gd name="connsiteX190" fmla="*/ 569889 w 581592"/>
              <a:gd name="connsiteY190" fmla="*/ 58681 h 110081"/>
              <a:gd name="connsiteX191" fmla="*/ 554203 w 581592"/>
              <a:gd name="connsiteY191" fmla="*/ 74860 h 110081"/>
              <a:gd name="connsiteX192" fmla="*/ 528805 w 581592"/>
              <a:gd name="connsiteY192" fmla="*/ 95769 h 110081"/>
              <a:gd name="connsiteX193" fmla="*/ 581592 w 581592"/>
              <a:gd name="connsiteY193" fmla="*/ 95769 h 110081"/>
              <a:gd name="connsiteX194" fmla="*/ 581592 w 581592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9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3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3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7" y="13379"/>
                  <a:pt x="119643" y="15246"/>
                </a:cubicBezTo>
                <a:cubicBezTo>
                  <a:pt x="115161" y="17113"/>
                  <a:pt x="110492" y="20162"/>
                  <a:pt x="105575" y="24331"/>
                </a:cubicBezTo>
                <a:lnTo>
                  <a:pt x="105575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7" y="12943"/>
                  <a:pt x="167263" y="19726"/>
                  <a:pt x="167263" y="28065"/>
                </a:cubicBezTo>
                <a:cubicBezTo>
                  <a:pt x="167263" y="34848"/>
                  <a:pt x="165396" y="40262"/>
                  <a:pt x="161599" y="44244"/>
                </a:cubicBezTo>
                <a:cubicBezTo>
                  <a:pt x="157926" y="48227"/>
                  <a:pt x="153506" y="50840"/>
                  <a:pt x="148340" y="52147"/>
                </a:cubicBezTo>
                <a:cubicBezTo>
                  <a:pt x="152510" y="52707"/>
                  <a:pt x="156307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7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7" y="106224"/>
                </a:cubicBezTo>
                <a:cubicBezTo>
                  <a:pt x="147593" y="108775"/>
                  <a:pt x="140932" y="110082"/>
                  <a:pt x="133400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5" y="89733"/>
                  <a:pt x="111239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69" y="97823"/>
                  <a:pt x="146659" y="96080"/>
                  <a:pt x="150829" y="92596"/>
                </a:cubicBezTo>
                <a:cubicBezTo>
                  <a:pt x="155125" y="89048"/>
                  <a:pt x="157303" y="84132"/>
                  <a:pt x="157303" y="77972"/>
                </a:cubicBezTo>
                <a:cubicBezTo>
                  <a:pt x="157303" y="71998"/>
                  <a:pt x="155312" y="67393"/>
                  <a:pt x="151452" y="64095"/>
                </a:cubicBezTo>
                <a:cubicBezTo>
                  <a:pt x="147655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0" y="108588"/>
                </a:moveTo>
                <a:lnTo>
                  <a:pt x="184755" y="108588"/>
                </a:lnTo>
                <a:lnTo>
                  <a:pt x="184755" y="94400"/>
                </a:lnTo>
                <a:cubicBezTo>
                  <a:pt x="195400" y="85812"/>
                  <a:pt x="204115" y="78532"/>
                  <a:pt x="210899" y="72433"/>
                </a:cubicBezTo>
                <a:cubicBezTo>
                  <a:pt x="217747" y="66397"/>
                  <a:pt x="223101" y="61108"/>
                  <a:pt x="226836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3" y="36092"/>
                  <a:pt x="237293" y="32109"/>
                </a:cubicBezTo>
                <a:cubicBezTo>
                  <a:pt x="237293" y="25949"/>
                  <a:pt x="235488" y="21095"/>
                  <a:pt x="231815" y="17610"/>
                </a:cubicBezTo>
                <a:cubicBezTo>
                  <a:pt x="228080" y="14125"/>
                  <a:pt x="223038" y="12383"/>
                  <a:pt x="216564" y="12383"/>
                </a:cubicBezTo>
                <a:cubicBezTo>
                  <a:pt x="206168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6" y="4044"/>
                  <a:pt x="205671" y="0"/>
                  <a:pt x="217000" y="0"/>
                </a:cubicBezTo>
                <a:cubicBezTo>
                  <a:pt x="227769" y="0"/>
                  <a:pt x="236235" y="2800"/>
                  <a:pt x="242398" y="8401"/>
                </a:cubicBezTo>
                <a:cubicBezTo>
                  <a:pt x="248685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1" y="53827"/>
                  <a:pt x="241339" y="58681"/>
                </a:cubicBezTo>
                <a:cubicBezTo>
                  <a:pt x="237542" y="63473"/>
                  <a:pt x="232314" y="68887"/>
                  <a:pt x="225652" y="74860"/>
                </a:cubicBezTo>
                <a:cubicBezTo>
                  <a:pt x="218992" y="80835"/>
                  <a:pt x="210526" y="87804"/>
                  <a:pt x="200255" y="95769"/>
                </a:cubicBezTo>
                <a:lnTo>
                  <a:pt x="252980" y="95769"/>
                </a:lnTo>
                <a:lnTo>
                  <a:pt x="252980" y="108588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465373" y="110082"/>
                </a:moveTo>
                <a:cubicBezTo>
                  <a:pt x="458401" y="110082"/>
                  <a:pt x="452176" y="108900"/>
                  <a:pt x="446699" y="106473"/>
                </a:cubicBezTo>
                <a:cubicBezTo>
                  <a:pt x="441283" y="104108"/>
                  <a:pt x="437050" y="100685"/>
                  <a:pt x="434000" y="96205"/>
                </a:cubicBezTo>
                <a:cubicBezTo>
                  <a:pt x="430888" y="91600"/>
                  <a:pt x="429332" y="86124"/>
                  <a:pt x="429332" y="79777"/>
                </a:cubicBezTo>
                <a:cubicBezTo>
                  <a:pt x="429332" y="72869"/>
                  <a:pt x="431136" y="67082"/>
                  <a:pt x="434747" y="62291"/>
                </a:cubicBezTo>
                <a:cubicBezTo>
                  <a:pt x="438420" y="57437"/>
                  <a:pt x="443338" y="53889"/>
                  <a:pt x="449500" y="51711"/>
                </a:cubicBezTo>
                <a:cubicBezTo>
                  <a:pt x="444520" y="49720"/>
                  <a:pt x="440536" y="46671"/>
                  <a:pt x="437548" y="42564"/>
                </a:cubicBezTo>
                <a:cubicBezTo>
                  <a:pt x="434685" y="38519"/>
                  <a:pt x="433253" y="33479"/>
                  <a:pt x="433253" y="27504"/>
                </a:cubicBezTo>
                <a:cubicBezTo>
                  <a:pt x="433253" y="21593"/>
                  <a:pt x="434623" y="16615"/>
                  <a:pt x="437423" y="12570"/>
                </a:cubicBezTo>
                <a:cubicBezTo>
                  <a:pt x="440225" y="8463"/>
                  <a:pt x="444022" y="5414"/>
                  <a:pt x="448939" y="3298"/>
                </a:cubicBezTo>
                <a:cubicBezTo>
                  <a:pt x="453795" y="1182"/>
                  <a:pt x="459273" y="186"/>
                  <a:pt x="465373" y="186"/>
                </a:cubicBezTo>
                <a:cubicBezTo>
                  <a:pt x="471350" y="186"/>
                  <a:pt x="476703" y="1182"/>
                  <a:pt x="481496" y="3298"/>
                </a:cubicBezTo>
                <a:cubicBezTo>
                  <a:pt x="486289" y="5289"/>
                  <a:pt x="490086" y="8276"/>
                  <a:pt x="492825" y="12259"/>
                </a:cubicBezTo>
                <a:cubicBezTo>
                  <a:pt x="495751" y="16242"/>
                  <a:pt x="497182" y="21219"/>
                  <a:pt x="497182" y="27194"/>
                </a:cubicBezTo>
                <a:cubicBezTo>
                  <a:pt x="497182" y="33292"/>
                  <a:pt x="495688" y="38332"/>
                  <a:pt x="492701" y="42439"/>
                </a:cubicBezTo>
                <a:cubicBezTo>
                  <a:pt x="489713" y="46484"/>
                  <a:pt x="485791" y="49596"/>
                  <a:pt x="480873" y="51711"/>
                </a:cubicBezTo>
                <a:cubicBezTo>
                  <a:pt x="486850" y="53765"/>
                  <a:pt x="491642" y="57188"/>
                  <a:pt x="495253" y="61855"/>
                </a:cubicBezTo>
                <a:cubicBezTo>
                  <a:pt x="498925" y="66522"/>
                  <a:pt x="500793" y="72372"/>
                  <a:pt x="500793" y="79341"/>
                </a:cubicBezTo>
                <a:cubicBezTo>
                  <a:pt x="500793" y="85688"/>
                  <a:pt x="499237" y="91226"/>
                  <a:pt x="496125" y="95893"/>
                </a:cubicBezTo>
                <a:cubicBezTo>
                  <a:pt x="493074" y="100498"/>
                  <a:pt x="488841" y="103983"/>
                  <a:pt x="483426" y="106473"/>
                </a:cubicBezTo>
                <a:cubicBezTo>
                  <a:pt x="478135" y="108900"/>
                  <a:pt x="472159" y="110082"/>
                  <a:pt x="465373" y="110082"/>
                </a:cubicBezTo>
                <a:close/>
                <a:moveTo>
                  <a:pt x="465373" y="46298"/>
                </a:moveTo>
                <a:cubicBezTo>
                  <a:pt x="470664" y="46298"/>
                  <a:pt x="474960" y="44804"/>
                  <a:pt x="478384" y="41817"/>
                </a:cubicBezTo>
                <a:cubicBezTo>
                  <a:pt x="481869" y="38768"/>
                  <a:pt x="483612" y="34536"/>
                  <a:pt x="483612" y="29122"/>
                </a:cubicBezTo>
                <a:cubicBezTo>
                  <a:pt x="483612" y="23771"/>
                  <a:pt x="481869" y="19601"/>
                  <a:pt x="478384" y="16615"/>
                </a:cubicBezTo>
                <a:cubicBezTo>
                  <a:pt x="474960" y="13503"/>
                  <a:pt x="470664" y="11947"/>
                  <a:pt x="465373" y="11947"/>
                </a:cubicBezTo>
                <a:cubicBezTo>
                  <a:pt x="460082" y="11947"/>
                  <a:pt x="455663" y="13503"/>
                  <a:pt x="452052" y="16615"/>
                </a:cubicBezTo>
                <a:cubicBezTo>
                  <a:pt x="448566" y="19601"/>
                  <a:pt x="446823" y="23771"/>
                  <a:pt x="446823" y="29122"/>
                </a:cubicBezTo>
                <a:cubicBezTo>
                  <a:pt x="446823" y="34536"/>
                  <a:pt x="448566" y="38768"/>
                  <a:pt x="452052" y="41817"/>
                </a:cubicBezTo>
                <a:cubicBezTo>
                  <a:pt x="455663" y="44804"/>
                  <a:pt x="460082" y="46298"/>
                  <a:pt x="465373" y="46298"/>
                </a:cubicBezTo>
                <a:close/>
                <a:moveTo>
                  <a:pt x="465373" y="98258"/>
                </a:moveTo>
                <a:cubicBezTo>
                  <a:pt x="471536" y="98258"/>
                  <a:pt x="476641" y="96516"/>
                  <a:pt x="480749" y="92907"/>
                </a:cubicBezTo>
                <a:cubicBezTo>
                  <a:pt x="484919" y="89235"/>
                  <a:pt x="487036" y="84071"/>
                  <a:pt x="487036" y="77536"/>
                </a:cubicBezTo>
                <a:cubicBezTo>
                  <a:pt x="487036" y="70940"/>
                  <a:pt x="484919" y="65900"/>
                  <a:pt x="480749" y="62291"/>
                </a:cubicBezTo>
                <a:cubicBezTo>
                  <a:pt x="476641" y="58619"/>
                  <a:pt x="471536" y="56752"/>
                  <a:pt x="465373" y="56752"/>
                </a:cubicBezTo>
                <a:cubicBezTo>
                  <a:pt x="458961" y="56752"/>
                  <a:pt x="453670" y="58619"/>
                  <a:pt x="449376" y="62291"/>
                </a:cubicBezTo>
                <a:cubicBezTo>
                  <a:pt x="445205" y="65900"/>
                  <a:pt x="443088" y="70940"/>
                  <a:pt x="443088" y="77536"/>
                </a:cubicBezTo>
                <a:cubicBezTo>
                  <a:pt x="443088" y="84071"/>
                  <a:pt x="445205" y="89235"/>
                  <a:pt x="449376" y="92907"/>
                </a:cubicBezTo>
                <a:cubicBezTo>
                  <a:pt x="453670" y="96516"/>
                  <a:pt x="458961" y="98258"/>
                  <a:pt x="465373" y="98258"/>
                </a:cubicBezTo>
                <a:close/>
                <a:moveTo>
                  <a:pt x="581592" y="108588"/>
                </a:moveTo>
                <a:lnTo>
                  <a:pt x="513305" y="108588"/>
                </a:lnTo>
                <a:lnTo>
                  <a:pt x="513305" y="94400"/>
                </a:lnTo>
                <a:cubicBezTo>
                  <a:pt x="523950" y="85812"/>
                  <a:pt x="532665" y="78532"/>
                  <a:pt x="539450" y="72433"/>
                </a:cubicBezTo>
                <a:cubicBezTo>
                  <a:pt x="546297" y="66397"/>
                  <a:pt x="551650" y="61108"/>
                  <a:pt x="555447" y="56628"/>
                </a:cubicBezTo>
                <a:cubicBezTo>
                  <a:pt x="559307" y="52023"/>
                  <a:pt x="561984" y="47791"/>
                  <a:pt x="563478" y="43933"/>
                </a:cubicBezTo>
                <a:cubicBezTo>
                  <a:pt x="565096" y="40012"/>
                  <a:pt x="565905" y="36092"/>
                  <a:pt x="565905" y="32109"/>
                </a:cubicBezTo>
                <a:cubicBezTo>
                  <a:pt x="565905" y="25949"/>
                  <a:pt x="564038" y="21095"/>
                  <a:pt x="560365" y="17610"/>
                </a:cubicBezTo>
                <a:cubicBezTo>
                  <a:pt x="556693" y="14125"/>
                  <a:pt x="551588" y="12383"/>
                  <a:pt x="545114" y="12383"/>
                </a:cubicBezTo>
                <a:cubicBezTo>
                  <a:pt x="534781" y="12383"/>
                  <a:pt x="525071" y="17361"/>
                  <a:pt x="516106" y="27194"/>
                </a:cubicBezTo>
                <a:lnTo>
                  <a:pt x="516106" y="12134"/>
                </a:lnTo>
                <a:cubicBezTo>
                  <a:pt x="524385" y="4044"/>
                  <a:pt x="534221" y="0"/>
                  <a:pt x="545550" y="0"/>
                </a:cubicBezTo>
                <a:cubicBezTo>
                  <a:pt x="556319" y="0"/>
                  <a:pt x="564785" y="2800"/>
                  <a:pt x="570948" y="8401"/>
                </a:cubicBezTo>
                <a:cubicBezTo>
                  <a:pt x="577234" y="13877"/>
                  <a:pt x="580347" y="21344"/>
                  <a:pt x="580347" y="30803"/>
                </a:cubicBezTo>
                <a:cubicBezTo>
                  <a:pt x="580347" y="35657"/>
                  <a:pt x="579600" y="40324"/>
                  <a:pt x="577982" y="44804"/>
                </a:cubicBezTo>
                <a:cubicBezTo>
                  <a:pt x="576487" y="49222"/>
                  <a:pt x="573811" y="53827"/>
                  <a:pt x="569889" y="58681"/>
                </a:cubicBezTo>
                <a:cubicBezTo>
                  <a:pt x="566155" y="63473"/>
                  <a:pt x="560925" y="68887"/>
                  <a:pt x="554203" y="74860"/>
                </a:cubicBezTo>
                <a:cubicBezTo>
                  <a:pt x="547542" y="80835"/>
                  <a:pt x="539077" y="87804"/>
                  <a:pt x="528805" y="95769"/>
                </a:cubicBezTo>
                <a:lnTo>
                  <a:pt x="581592" y="95769"/>
                </a:lnTo>
                <a:lnTo>
                  <a:pt x="581592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0" name="Полилиния 909">
            <a:extLst>
              <a:ext uri="{FF2B5EF4-FFF2-40B4-BE49-F238E27FC236}">
                <a16:creationId xmlns:a16="http://schemas.microsoft.com/office/drawing/2014/main" id="{C9D8CCB4-BFC9-EEF1-6F60-E4F5E855B7AB}"/>
              </a:ext>
            </a:extLst>
          </p:cNvPr>
          <p:cNvSpPr/>
          <p:nvPr userDrawn="1"/>
        </p:nvSpPr>
        <p:spPr>
          <a:xfrm>
            <a:off x="4142452" y="5240073"/>
            <a:ext cx="2557159" cy="726227"/>
          </a:xfrm>
          <a:custGeom>
            <a:avLst/>
            <a:gdLst>
              <a:gd name="connsiteX0" fmla="*/ 1860 w 2191162"/>
              <a:gd name="connsiteY0" fmla="*/ 1222 h 622284"/>
              <a:gd name="connsiteX1" fmla="*/ 2193023 w 2191162"/>
              <a:gd name="connsiteY1" fmla="*/ 1222 h 622284"/>
              <a:gd name="connsiteX2" fmla="*/ 2193023 w 2191162"/>
              <a:gd name="connsiteY2" fmla="*/ 623506 h 622284"/>
              <a:gd name="connsiteX3" fmla="*/ 1860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222"/>
                </a:moveTo>
                <a:lnTo>
                  <a:pt x="2193023" y="1222"/>
                </a:lnTo>
                <a:lnTo>
                  <a:pt x="2193023" y="623506"/>
                </a:lnTo>
                <a:lnTo>
                  <a:pt x="1860" y="623506"/>
                </a:lnTo>
                <a:close/>
              </a:path>
            </a:pathLst>
          </a:custGeom>
          <a:solidFill>
            <a:srgbClr val="4600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1" name="Полилиния 910">
            <a:extLst>
              <a:ext uri="{FF2B5EF4-FFF2-40B4-BE49-F238E27FC236}">
                <a16:creationId xmlns:a16="http://schemas.microsoft.com/office/drawing/2014/main" id="{B84A5A80-061B-0A42-15C6-BD5362BCC348}"/>
              </a:ext>
            </a:extLst>
          </p:cNvPr>
          <p:cNvSpPr/>
          <p:nvPr userDrawn="1"/>
        </p:nvSpPr>
        <p:spPr>
          <a:xfrm>
            <a:off x="4265660" y="5541820"/>
            <a:ext cx="706342" cy="128468"/>
          </a:xfrm>
          <a:custGeom>
            <a:avLst/>
            <a:gdLst>
              <a:gd name="connsiteX0" fmla="*/ 22099 w 605246"/>
              <a:gd name="connsiteY0" fmla="*/ 108588 h 110081"/>
              <a:gd name="connsiteX1" fmla="*/ 10147 w 605246"/>
              <a:gd name="connsiteY1" fmla="*/ 108588 h 110081"/>
              <a:gd name="connsiteX2" fmla="*/ 16434 w 605246"/>
              <a:gd name="connsiteY2" fmla="*/ 77661 h 110081"/>
              <a:gd name="connsiteX3" fmla="*/ 0 w 605246"/>
              <a:gd name="connsiteY3" fmla="*/ 77661 h 110081"/>
              <a:gd name="connsiteX4" fmla="*/ 0 w 605246"/>
              <a:gd name="connsiteY4" fmla="*/ 67206 h 110081"/>
              <a:gd name="connsiteX5" fmla="*/ 18675 w 605246"/>
              <a:gd name="connsiteY5" fmla="*/ 67206 h 110081"/>
              <a:gd name="connsiteX6" fmla="*/ 24215 w 605246"/>
              <a:gd name="connsiteY6" fmla="*/ 40012 h 110081"/>
              <a:gd name="connsiteX7" fmla="*/ 4046 w 605246"/>
              <a:gd name="connsiteY7" fmla="*/ 40012 h 110081"/>
              <a:gd name="connsiteX8" fmla="*/ 4046 w 605246"/>
              <a:gd name="connsiteY8" fmla="*/ 29559 h 110081"/>
              <a:gd name="connsiteX9" fmla="*/ 26270 w 605246"/>
              <a:gd name="connsiteY9" fmla="*/ 29559 h 110081"/>
              <a:gd name="connsiteX10" fmla="*/ 32121 w 605246"/>
              <a:gd name="connsiteY10" fmla="*/ 1493 h 110081"/>
              <a:gd name="connsiteX11" fmla="*/ 44073 w 605246"/>
              <a:gd name="connsiteY11" fmla="*/ 1493 h 110081"/>
              <a:gd name="connsiteX12" fmla="*/ 38221 w 605246"/>
              <a:gd name="connsiteY12" fmla="*/ 29559 h 110081"/>
              <a:gd name="connsiteX13" fmla="*/ 60630 w 605246"/>
              <a:gd name="connsiteY13" fmla="*/ 29559 h 110081"/>
              <a:gd name="connsiteX14" fmla="*/ 66482 w 605246"/>
              <a:gd name="connsiteY14" fmla="*/ 1493 h 110081"/>
              <a:gd name="connsiteX15" fmla="*/ 78434 w 605246"/>
              <a:gd name="connsiteY15" fmla="*/ 1493 h 110081"/>
              <a:gd name="connsiteX16" fmla="*/ 72582 w 605246"/>
              <a:gd name="connsiteY16" fmla="*/ 29559 h 110081"/>
              <a:gd name="connsiteX17" fmla="*/ 89328 w 605246"/>
              <a:gd name="connsiteY17" fmla="*/ 29559 h 110081"/>
              <a:gd name="connsiteX18" fmla="*/ 89328 w 605246"/>
              <a:gd name="connsiteY18" fmla="*/ 40012 h 110081"/>
              <a:gd name="connsiteX19" fmla="*/ 70529 w 605246"/>
              <a:gd name="connsiteY19" fmla="*/ 40012 h 110081"/>
              <a:gd name="connsiteX20" fmla="*/ 64988 w 605246"/>
              <a:gd name="connsiteY20" fmla="*/ 67206 h 110081"/>
              <a:gd name="connsiteX21" fmla="*/ 85282 w 605246"/>
              <a:gd name="connsiteY21" fmla="*/ 67206 h 110081"/>
              <a:gd name="connsiteX22" fmla="*/ 85282 w 605246"/>
              <a:gd name="connsiteY22" fmla="*/ 77661 h 110081"/>
              <a:gd name="connsiteX23" fmla="*/ 62747 w 605246"/>
              <a:gd name="connsiteY23" fmla="*/ 77661 h 110081"/>
              <a:gd name="connsiteX24" fmla="*/ 56460 w 605246"/>
              <a:gd name="connsiteY24" fmla="*/ 108588 h 110081"/>
              <a:gd name="connsiteX25" fmla="*/ 44508 w 605246"/>
              <a:gd name="connsiteY25" fmla="*/ 108588 h 110081"/>
              <a:gd name="connsiteX26" fmla="*/ 50795 w 605246"/>
              <a:gd name="connsiteY26" fmla="*/ 77661 h 110081"/>
              <a:gd name="connsiteX27" fmla="*/ 28386 w 605246"/>
              <a:gd name="connsiteY27" fmla="*/ 77661 h 110081"/>
              <a:gd name="connsiteX28" fmla="*/ 22099 w 605246"/>
              <a:gd name="connsiteY28" fmla="*/ 108588 h 110081"/>
              <a:gd name="connsiteX29" fmla="*/ 30627 w 605246"/>
              <a:gd name="connsiteY29" fmla="*/ 67206 h 110081"/>
              <a:gd name="connsiteX30" fmla="*/ 53036 w 605246"/>
              <a:gd name="connsiteY30" fmla="*/ 67206 h 110081"/>
              <a:gd name="connsiteX31" fmla="*/ 58576 w 605246"/>
              <a:gd name="connsiteY31" fmla="*/ 40012 h 110081"/>
              <a:gd name="connsiteX32" fmla="*/ 36167 w 605246"/>
              <a:gd name="connsiteY32" fmla="*/ 40012 h 110081"/>
              <a:gd name="connsiteX33" fmla="*/ 30627 w 605246"/>
              <a:gd name="connsiteY33" fmla="*/ 67206 h 110081"/>
              <a:gd name="connsiteX34" fmla="*/ 158797 w 605246"/>
              <a:gd name="connsiteY34" fmla="*/ 108588 h 110081"/>
              <a:gd name="connsiteX35" fmla="*/ 145600 w 605246"/>
              <a:gd name="connsiteY35" fmla="*/ 108588 h 110081"/>
              <a:gd name="connsiteX36" fmla="*/ 145600 w 605246"/>
              <a:gd name="connsiteY36" fmla="*/ 83199 h 110081"/>
              <a:gd name="connsiteX37" fmla="*/ 99288 w 605246"/>
              <a:gd name="connsiteY37" fmla="*/ 83199 h 110081"/>
              <a:gd name="connsiteX38" fmla="*/ 99288 w 605246"/>
              <a:gd name="connsiteY38" fmla="*/ 73927 h 110081"/>
              <a:gd name="connsiteX39" fmla="*/ 141119 w 605246"/>
              <a:gd name="connsiteY39" fmla="*/ 1493 h 110081"/>
              <a:gd name="connsiteX40" fmla="*/ 158797 w 605246"/>
              <a:gd name="connsiteY40" fmla="*/ 1493 h 110081"/>
              <a:gd name="connsiteX41" fmla="*/ 158797 w 605246"/>
              <a:gd name="connsiteY41" fmla="*/ 71873 h 110081"/>
              <a:gd name="connsiteX42" fmla="*/ 173239 w 605246"/>
              <a:gd name="connsiteY42" fmla="*/ 71873 h 110081"/>
              <a:gd name="connsiteX43" fmla="*/ 173239 w 605246"/>
              <a:gd name="connsiteY43" fmla="*/ 83199 h 110081"/>
              <a:gd name="connsiteX44" fmla="*/ 158797 w 605246"/>
              <a:gd name="connsiteY44" fmla="*/ 83199 h 110081"/>
              <a:gd name="connsiteX45" fmla="*/ 158797 w 605246"/>
              <a:gd name="connsiteY45" fmla="*/ 108588 h 110081"/>
              <a:gd name="connsiteX46" fmla="*/ 112920 w 605246"/>
              <a:gd name="connsiteY46" fmla="*/ 71873 h 110081"/>
              <a:gd name="connsiteX47" fmla="*/ 145600 w 605246"/>
              <a:gd name="connsiteY47" fmla="*/ 71873 h 110081"/>
              <a:gd name="connsiteX48" fmla="*/ 145600 w 605246"/>
              <a:gd name="connsiteY48" fmla="*/ 16117 h 110081"/>
              <a:gd name="connsiteX49" fmla="*/ 112920 w 605246"/>
              <a:gd name="connsiteY49" fmla="*/ 71873 h 110081"/>
              <a:gd name="connsiteX50" fmla="*/ 255408 w 605246"/>
              <a:gd name="connsiteY50" fmla="*/ 73491 h 110081"/>
              <a:gd name="connsiteX51" fmla="*/ 250614 w 605246"/>
              <a:gd name="connsiteY51" fmla="*/ 92782 h 110081"/>
              <a:gd name="connsiteX52" fmla="*/ 237916 w 605246"/>
              <a:gd name="connsiteY52" fmla="*/ 105601 h 110081"/>
              <a:gd name="connsiteX53" fmla="*/ 219864 w 605246"/>
              <a:gd name="connsiteY53" fmla="*/ 110082 h 110081"/>
              <a:gd name="connsiteX54" fmla="*/ 198201 w 605246"/>
              <a:gd name="connsiteY54" fmla="*/ 104108 h 110081"/>
              <a:gd name="connsiteX55" fmla="*/ 186062 w 605246"/>
              <a:gd name="connsiteY55" fmla="*/ 87555 h 110081"/>
              <a:gd name="connsiteX56" fmla="*/ 182327 w 605246"/>
              <a:gd name="connsiteY56" fmla="*/ 63161 h 110081"/>
              <a:gd name="connsiteX57" fmla="*/ 186809 w 605246"/>
              <a:gd name="connsiteY57" fmla="*/ 30181 h 110081"/>
              <a:gd name="connsiteX58" fmla="*/ 200877 w 605246"/>
              <a:gd name="connsiteY58" fmla="*/ 8089 h 110081"/>
              <a:gd name="connsiteX59" fmla="*/ 225342 w 605246"/>
              <a:gd name="connsiteY59" fmla="*/ 0 h 110081"/>
              <a:gd name="connsiteX60" fmla="*/ 247938 w 605246"/>
              <a:gd name="connsiteY60" fmla="*/ 5538 h 110081"/>
              <a:gd name="connsiteX61" fmla="*/ 247938 w 605246"/>
              <a:gd name="connsiteY61" fmla="*/ 18855 h 110081"/>
              <a:gd name="connsiteX62" fmla="*/ 225342 w 605246"/>
              <a:gd name="connsiteY62" fmla="*/ 12259 h 110081"/>
              <a:gd name="connsiteX63" fmla="*/ 209842 w 605246"/>
              <a:gd name="connsiteY63" fmla="*/ 17361 h 110081"/>
              <a:gd name="connsiteX64" fmla="*/ 199944 w 605246"/>
              <a:gd name="connsiteY64" fmla="*/ 31238 h 110081"/>
              <a:gd name="connsiteX65" fmla="*/ 195773 w 605246"/>
              <a:gd name="connsiteY65" fmla="*/ 50778 h 110081"/>
              <a:gd name="connsiteX66" fmla="*/ 207165 w 605246"/>
              <a:gd name="connsiteY66" fmla="*/ 40759 h 110081"/>
              <a:gd name="connsiteX67" fmla="*/ 221171 w 605246"/>
              <a:gd name="connsiteY67" fmla="*/ 37523 h 110081"/>
              <a:gd name="connsiteX68" fmla="*/ 238538 w 605246"/>
              <a:gd name="connsiteY68" fmla="*/ 41693 h 110081"/>
              <a:gd name="connsiteX69" fmla="*/ 250739 w 605246"/>
              <a:gd name="connsiteY69" fmla="*/ 53952 h 110081"/>
              <a:gd name="connsiteX70" fmla="*/ 255408 w 605246"/>
              <a:gd name="connsiteY70" fmla="*/ 73491 h 110081"/>
              <a:gd name="connsiteX71" fmla="*/ 219365 w 605246"/>
              <a:gd name="connsiteY71" fmla="*/ 98134 h 110081"/>
              <a:gd name="connsiteX72" fmla="*/ 230135 w 605246"/>
              <a:gd name="connsiteY72" fmla="*/ 95458 h 110081"/>
              <a:gd name="connsiteX73" fmla="*/ 238040 w 605246"/>
              <a:gd name="connsiteY73" fmla="*/ 87244 h 110081"/>
              <a:gd name="connsiteX74" fmla="*/ 241215 w 605246"/>
              <a:gd name="connsiteY74" fmla="*/ 73803 h 110081"/>
              <a:gd name="connsiteX75" fmla="*/ 238227 w 605246"/>
              <a:gd name="connsiteY75" fmla="*/ 60174 h 110081"/>
              <a:gd name="connsiteX76" fmla="*/ 230570 w 605246"/>
              <a:gd name="connsiteY76" fmla="*/ 51961 h 110081"/>
              <a:gd name="connsiteX77" fmla="*/ 220859 w 605246"/>
              <a:gd name="connsiteY77" fmla="*/ 49160 h 110081"/>
              <a:gd name="connsiteX78" fmla="*/ 204301 w 605246"/>
              <a:gd name="connsiteY78" fmla="*/ 55570 h 110081"/>
              <a:gd name="connsiteX79" fmla="*/ 197703 w 605246"/>
              <a:gd name="connsiteY79" fmla="*/ 74114 h 110081"/>
              <a:gd name="connsiteX80" fmla="*/ 203555 w 605246"/>
              <a:gd name="connsiteY80" fmla="*/ 91538 h 110081"/>
              <a:gd name="connsiteX81" fmla="*/ 219365 w 605246"/>
              <a:gd name="connsiteY81" fmla="*/ 98134 h 110081"/>
              <a:gd name="connsiteX82" fmla="*/ 300912 w 605246"/>
              <a:gd name="connsiteY82" fmla="*/ 110082 h 110081"/>
              <a:gd name="connsiteX83" fmla="*/ 282735 w 605246"/>
              <a:gd name="connsiteY83" fmla="*/ 104233 h 110081"/>
              <a:gd name="connsiteX84" fmla="*/ 270036 w 605246"/>
              <a:gd name="connsiteY84" fmla="*/ 86311 h 110081"/>
              <a:gd name="connsiteX85" fmla="*/ 265554 w 605246"/>
              <a:gd name="connsiteY85" fmla="*/ 54947 h 110081"/>
              <a:gd name="connsiteX86" fmla="*/ 270036 w 605246"/>
              <a:gd name="connsiteY86" fmla="*/ 23584 h 110081"/>
              <a:gd name="connsiteX87" fmla="*/ 282735 w 605246"/>
              <a:gd name="connsiteY87" fmla="*/ 5849 h 110081"/>
              <a:gd name="connsiteX88" fmla="*/ 300912 w 605246"/>
              <a:gd name="connsiteY88" fmla="*/ 186 h 110081"/>
              <a:gd name="connsiteX89" fmla="*/ 319026 w 605246"/>
              <a:gd name="connsiteY89" fmla="*/ 5849 h 110081"/>
              <a:gd name="connsiteX90" fmla="*/ 331413 w 605246"/>
              <a:gd name="connsiteY90" fmla="*/ 23584 h 110081"/>
              <a:gd name="connsiteX91" fmla="*/ 335896 w 605246"/>
              <a:gd name="connsiteY91" fmla="*/ 54698 h 110081"/>
              <a:gd name="connsiteX92" fmla="*/ 331413 w 605246"/>
              <a:gd name="connsiteY92" fmla="*/ 86062 h 110081"/>
              <a:gd name="connsiteX93" fmla="*/ 319026 w 605246"/>
              <a:gd name="connsiteY93" fmla="*/ 104233 h 110081"/>
              <a:gd name="connsiteX94" fmla="*/ 300912 w 605246"/>
              <a:gd name="connsiteY94" fmla="*/ 110082 h 110081"/>
              <a:gd name="connsiteX95" fmla="*/ 300787 w 605246"/>
              <a:gd name="connsiteY95" fmla="*/ 98258 h 110081"/>
              <a:gd name="connsiteX96" fmla="*/ 312116 w 605246"/>
              <a:gd name="connsiteY96" fmla="*/ 94275 h 110081"/>
              <a:gd name="connsiteX97" fmla="*/ 319337 w 605246"/>
              <a:gd name="connsiteY97" fmla="*/ 80648 h 110081"/>
              <a:gd name="connsiteX98" fmla="*/ 321828 w 605246"/>
              <a:gd name="connsiteY98" fmla="*/ 55134 h 110081"/>
              <a:gd name="connsiteX99" fmla="*/ 319462 w 605246"/>
              <a:gd name="connsiteY99" fmla="*/ 29745 h 110081"/>
              <a:gd name="connsiteX100" fmla="*/ 312303 w 605246"/>
              <a:gd name="connsiteY100" fmla="*/ 16117 h 110081"/>
              <a:gd name="connsiteX101" fmla="*/ 300912 w 605246"/>
              <a:gd name="connsiteY101" fmla="*/ 11947 h 110081"/>
              <a:gd name="connsiteX102" fmla="*/ 289458 w 605246"/>
              <a:gd name="connsiteY102" fmla="*/ 16117 h 110081"/>
              <a:gd name="connsiteX103" fmla="*/ 282113 w 605246"/>
              <a:gd name="connsiteY103" fmla="*/ 29745 h 110081"/>
              <a:gd name="connsiteX104" fmla="*/ 279560 w 605246"/>
              <a:gd name="connsiteY104" fmla="*/ 55134 h 110081"/>
              <a:gd name="connsiteX105" fmla="*/ 281988 w 605246"/>
              <a:gd name="connsiteY105" fmla="*/ 80648 h 110081"/>
              <a:gd name="connsiteX106" fmla="*/ 289271 w 605246"/>
              <a:gd name="connsiteY106" fmla="*/ 94275 h 110081"/>
              <a:gd name="connsiteX107" fmla="*/ 300787 w 605246"/>
              <a:gd name="connsiteY107" fmla="*/ 98258 h 110081"/>
              <a:gd name="connsiteX108" fmla="*/ 383080 w 605246"/>
              <a:gd name="connsiteY108" fmla="*/ 110082 h 110081"/>
              <a:gd name="connsiteX109" fmla="*/ 364841 w 605246"/>
              <a:gd name="connsiteY109" fmla="*/ 104233 h 110081"/>
              <a:gd name="connsiteX110" fmla="*/ 352143 w 605246"/>
              <a:gd name="connsiteY110" fmla="*/ 86311 h 110081"/>
              <a:gd name="connsiteX111" fmla="*/ 347661 w 605246"/>
              <a:gd name="connsiteY111" fmla="*/ 54947 h 110081"/>
              <a:gd name="connsiteX112" fmla="*/ 352143 w 605246"/>
              <a:gd name="connsiteY112" fmla="*/ 23584 h 110081"/>
              <a:gd name="connsiteX113" fmla="*/ 364841 w 605246"/>
              <a:gd name="connsiteY113" fmla="*/ 5849 h 110081"/>
              <a:gd name="connsiteX114" fmla="*/ 383080 w 605246"/>
              <a:gd name="connsiteY114" fmla="*/ 186 h 110081"/>
              <a:gd name="connsiteX115" fmla="*/ 401133 w 605246"/>
              <a:gd name="connsiteY115" fmla="*/ 5849 h 110081"/>
              <a:gd name="connsiteX116" fmla="*/ 413582 w 605246"/>
              <a:gd name="connsiteY116" fmla="*/ 23584 h 110081"/>
              <a:gd name="connsiteX117" fmla="*/ 418064 w 605246"/>
              <a:gd name="connsiteY117" fmla="*/ 54698 h 110081"/>
              <a:gd name="connsiteX118" fmla="*/ 413582 w 605246"/>
              <a:gd name="connsiteY118" fmla="*/ 86062 h 110081"/>
              <a:gd name="connsiteX119" fmla="*/ 401133 w 605246"/>
              <a:gd name="connsiteY119" fmla="*/ 104233 h 110081"/>
              <a:gd name="connsiteX120" fmla="*/ 383080 w 605246"/>
              <a:gd name="connsiteY120" fmla="*/ 110082 h 110081"/>
              <a:gd name="connsiteX121" fmla="*/ 382956 w 605246"/>
              <a:gd name="connsiteY121" fmla="*/ 98258 h 110081"/>
              <a:gd name="connsiteX122" fmla="*/ 394285 w 605246"/>
              <a:gd name="connsiteY122" fmla="*/ 94275 h 110081"/>
              <a:gd name="connsiteX123" fmla="*/ 401443 w 605246"/>
              <a:gd name="connsiteY123" fmla="*/ 80648 h 110081"/>
              <a:gd name="connsiteX124" fmla="*/ 403996 w 605246"/>
              <a:gd name="connsiteY124" fmla="*/ 55134 h 110081"/>
              <a:gd name="connsiteX125" fmla="*/ 401630 w 605246"/>
              <a:gd name="connsiteY125" fmla="*/ 29745 h 110081"/>
              <a:gd name="connsiteX126" fmla="*/ 394409 w 605246"/>
              <a:gd name="connsiteY126" fmla="*/ 16117 h 110081"/>
              <a:gd name="connsiteX127" fmla="*/ 383080 w 605246"/>
              <a:gd name="connsiteY127" fmla="*/ 11947 h 110081"/>
              <a:gd name="connsiteX128" fmla="*/ 371564 w 605246"/>
              <a:gd name="connsiteY128" fmla="*/ 16117 h 110081"/>
              <a:gd name="connsiteX129" fmla="*/ 364281 w 605246"/>
              <a:gd name="connsiteY129" fmla="*/ 29745 h 110081"/>
              <a:gd name="connsiteX130" fmla="*/ 361729 w 605246"/>
              <a:gd name="connsiteY130" fmla="*/ 55134 h 110081"/>
              <a:gd name="connsiteX131" fmla="*/ 364094 w 605246"/>
              <a:gd name="connsiteY131" fmla="*/ 80648 h 110081"/>
              <a:gd name="connsiteX132" fmla="*/ 371440 w 605246"/>
              <a:gd name="connsiteY132" fmla="*/ 94275 h 110081"/>
              <a:gd name="connsiteX133" fmla="*/ 382956 w 605246"/>
              <a:gd name="connsiteY133" fmla="*/ 98258 h 110081"/>
              <a:gd name="connsiteX134" fmla="*/ 524199 w 605246"/>
              <a:gd name="connsiteY134" fmla="*/ 108588 h 110081"/>
              <a:gd name="connsiteX135" fmla="*/ 509259 w 605246"/>
              <a:gd name="connsiteY135" fmla="*/ 108588 h 110081"/>
              <a:gd name="connsiteX136" fmla="*/ 498241 w 605246"/>
              <a:gd name="connsiteY136" fmla="*/ 77972 h 110081"/>
              <a:gd name="connsiteX137" fmla="*/ 450869 w 605246"/>
              <a:gd name="connsiteY137" fmla="*/ 77972 h 110081"/>
              <a:gd name="connsiteX138" fmla="*/ 439976 w 605246"/>
              <a:gd name="connsiteY138" fmla="*/ 108588 h 110081"/>
              <a:gd name="connsiteX139" fmla="*/ 426841 w 605246"/>
              <a:gd name="connsiteY139" fmla="*/ 108588 h 110081"/>
              <a:gd name="connsiteX140" fmla="*/ 464938 w 605246"/>
              <a:gd name="connsiteY140" fmla="*/ 1493 h 110081"/>
              <a:gd name="connsiteX141" fmla="*/ 485853 w 605246"/>
              <a:gd name="connsiteY141" fmla="*/ 1493 h 110081"/>
              <a:gd name="connsiteX142" fmla="*/ 524199 w 605246"/>
              <a:gd name="connsiteY142" fmla="*/ 108588 h 110081"/>
              <a:gd name="connsiteX143" fmla="*/ 455476 w 605246"/>
              <a:gd name="connsiteY143" fmla="*/ 65278 h 110081"/>
              <a:gd name="connsiteX144" fmla="*/ 493759 w 605246"/>
              <a:gd name="connsiteY144" fmla="*/ 65278 h 110081"/>
              <a:gd name="connsiteX145" fmla="*/ 474648 w 605246"/>
              <a:gd name="connsiteY145" fmla="*/ 11947 h 110081"/>
              <a:gd name="connsiteX146" fmla="*/ 455476 w 605246"/>
              <a:gd name="connsiteY146" fmla="*/ 65278 h 110081"/>
              <a:gd name="connsiteX147" fmla="*/ 539823 w 605246"/>
              <a:gd name="connsiteY147" fmla="*/ 1493 h 110081"/>
              <a:gd name="connsiteX148" fmla="*/ 605246 w 605246"/>
              <a:gd name="connsiteY148" fmla="*/ 1493 h 110081"/>
              <a:gd name="connsiteX149" fmla="*/ 605246 w 605246"/>
              <a:gd name="connsiteY149" fmla="*/ 14374 h 110081"/>
              <a:gd name="connsiteX150" fmla="*/ 553891 w 605246"/>
              <a:gd name="connsiteY150" fmla="*/ 14374 h 110081"/>
              <a:gd name="connsiteX151" fmla="*/ 553891 w 605246"/>
              <a:gd name="connsiteY151" fmla="*/ 49907 h 110081"/>
              <a:gd name="connsiteX152" fmla="*/ 597465 w 605246"/>
              <a:gd name="connsiteY152" fmla="*/ 49907 h 110081"/>
              <a:gd name="connsiteX153" fmla="*/ 597465 w 605246"/>
              <a:gd name="connsiteY153" fmla="*/ 62601 h 110081"/>
              <a:gd name="connsiteX154" fmla="*/ 553891 w 605246"/>
              <a:gd name="connsiteY154" fmla="*/ 62601 h 110081"/>
              <a:gd name="connsiteX155" fmla="*/ 553891 w 605246"/>
              <a:gd name="connsiteY155" fmla="*/ 108588 h 110081"/>
              <a:gd name="connsiteX156" fmla="*/ 539823 w 605246"/>
              <a:gd name="connsiteY156" fmla="*/ 108588 h 110081"/>
              <a:gd name="connsiteX157" fmla="*/ 539823 w 605246"/>
              <a:gd name="connsiteY157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60524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8797" y="108588"/>
                </a:moveTo>
                <a:lnTo>
                  <a:pt x="145600" y="108588"/>
                </a:lnTo>
                <a:lnTo>
                  <a:pt x="145600" y="83199"/>
                </a:lnTo>
                <a:lnTo>
                  <a:pt x="99288" y="83199"/>
                </a:lnTo>
                <a:lnTo>
                  <a:pt x="99288" y="73927"/>
                </a:lnTo>
                <a:lnTo>
                  <a:pt x="141119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0" y="71873"/>
                </a:lnTo>
                <a:lnTo>
                  <a:pt x="145600" y="16117"/>
                </a:lnTo>
                <a:lnTo>
                  <a:pt x="112920" y="71873"/>
                </a:lnTo>
                <a:close/>
                <a:moveTo>
                  <a:pt x="255408" y="73491"/>
                </a:moveTo>
                <a:cubicBezTo>
                  <a:pt x="255408" y="80772"/>
                  <a:pt x="253789" y="87182"/>
                  <a:pt x="250614" y="92782"/>
                </a:cubicBezTo>
                <a:cubicBezTo>
                  <a:pt x="247502" y="98258"/>
                  <a:pt x="243269" y="102490"/>
                  <a:pt x="237916" y="105601"/>
                </a:cubicBezTo>
                <a:cubicBezTo>
                  <a:pt x="232562" y="108588"/>
                  <a:pt x="226524" y="110082"/>
                  <a:pt x="219864" y="110082"/>
                </a:cubicBezTo>
                <a:cubicBezTo>
                  <a:pt x="210899" y="110082"/>
                  <a:pt x="203679" y="108091"/>
                  <a:pt x="198201" y="104108"/>
                </a:cubicBezTo>
                <a:cubicBezTo>
                  <a:pt x="192723" y="100125"/>
                  <a:pt x="188677" y="94587"/>
                  <a:pt x="186062" y="87555"/>
                </a:cubicBezTo>
                <a:cubicBezTo>
                  <a:pt x="183572" y="80461"/>
                  <a:pt x="182327" y="72372"/>
                  <a:pt x="182327" y="63161"/>
                </a:cubicBezTo>
                <a:cubicBezTo>
                  <a:pt x="182327" y="50653"/>
                  <a:pt x="183821" y="39639"/>
                  <a:pt x="186809" y="30181"/>
                </a:cubicBezTo>
                <a:cubicBezTo>
                  <a:pt x="189922" y="20722"/>
                  <a:pt x="194590" y="13379"/>
                  <a:pt x="200877" y="8089"/>
                </a:cubicBezTo>
                <a:cubicBezTo>
                  <a:pt x="207227" y="2675"/>
                  <a:pt x="215382" y="0"/>
                  <a:pt x="225342" y="0"/>
                </a:cubicBezTo>
                <a:cubicBezTo>
                  <a:pt x="233932" y="0"/>
                  <a:pt x="241464" y="1866"/>
                  <a:pt x="247938" y="5538"/>
                </a:cubicBezTo>
                <a:lnTo>
                  <a:pt x="247938" y="18855"/>
                </a:lnTo>
                <a:cubicBezTo>
                  <a:pt x="241464" y="14437"/>
                  <a:pt x="233932" y="12259"/>
                  <a:pt x="225342" y="12259"/>
                </a:cubicBezTo>
                <a:cubicBezTo>
                  <a:pt x="219179" y="12259"/>
                  <a:pt x="214012" y="13939"/>
                  <a:pt x="209842" y="17361"/>
                </a:cubicBezTo>
                <a:cubicBezTo>
                  <a:pt x="205671" y="20722"/>
                  <a:pt x="202371" y="25327"/>
                  <a:pt x="199944" y="31238"/>
                </a:cubicBezTo>
                <a:cubicBezTo>
                  <a:pt x="197703" y="37026"/>
                  <a:pt x="196271" y="43498"/>
                  <a:pt x="195773" y="50778"/>
                </a:cubicBezTo>
                <a:cubicBezTo>
                  <a:pt x="199072" y="46298"/>
                  <a:pt x="202870" y="42999"/>
                  <a:pt x="207165" y="40759"/>
                </a:cubicBezTo>
                <a:cubicBezTo>
                  <a:pt x="211398" y="38581"/>
                  <a:pt x="216129" y="37523"/>
                  <a:pt x="221171" y="37523"/>
                </a:cubicBezTo>
                <a:cubicBezTo>
                  <a:pt x="227645" y="37523"/>
                  <a:pt x="233434" y="38893"/>
                  <a:pt x="238538" y="41693"/>
                </a:cubicBezTo>
                <a:cubicBezTo>
                  <a:pt x="243705" y="44493"/>
                  <a:pt x="247751" y="48538"/>
                  <a:pt x="250739" y="53952"/>
                </a:cubicBezTo>
                <a:cubicBezTo>
                  <a:pt x="253851" y="59179"/>
                  <a:pt x="255408" y="65713"/>
                  <a:pt x="255408" y="73491"/>
                </a:cubicBezTo>
                <a:close/>
                <a:moveTo>
                  <a:pt x="219365" y="98134"/>
                </a:moveTo>
                <a:cubicBezTo>
                  <a:pt x="223287" y="98134"/>
                  <a:pt x="226836" y="97263"/>
                  <a:pt x="230135" y="95458"/>
                </a:cubicBezTo>
                <a:cubicBezTo>
                  <a:pt x="233434" y="93529"/>
                  <a:pt x="236048" y="90791"/>
                  <a:pt x="238040" y="87244"/>
                </a:cubicBezTo>
                <a:cubicBezTo>
                  <a:pt x="240157" y="83635"/>
                  <a:pt x="241215" y="79154"/>
                  <a:pt x="241215" y="73803"/>
                </a:cubicBezTo>
                <a:cubicBezTo>
                  <a:pt x="241215" y="68389"/>
                  <a:pt x="240219" y="63908"/>
                  <a:pt x="238227" y="60174"/>
                </a:cubicBezTo>
                <a:cubicBezTo>
                  <a:pt x="236235" y="56503"/>
                  <a:pt x="233683" y="53765"/>
                  <a:pt x="230570" y="51961"/>
                </a:cubicBezTo>
                <a:cubicBezTo>
                  <a:pt x="227520" y="50093"/>
                  <a:pt x="224283" y="49160"/>
                  <a:pt x="220859" y="49160"/>
                </a:cubicBezTo>
                <a:cubicBezTo>
                  <a:pt x="214323" y="49160"/>
                  <a:pt x="208783" y="51276"/>
                  <a:pt x="204301" y="55570"/>
                </a:cubicBezTo>
                <a:cubicBezTo>
                  <a:pt x="199944" y="59739"/>
                  <a:pt x="197703" y="65900"/>
                  <a:pt x="197703" y="74114"/>
                </a:cubicBezTo>
                <a:cubicBezTo>
                  <a:pt x="197703" y="81270"/>
                  <a:pt x="199695" y="87058"/>
                  <a:pt x="203555" y="91538"/>
                </a:cubicBezTo>
                <a:cubicBezTo>
                  <a:pt x="207414" y="95956"/>
                  <a:pt x="212705" y="98134"/>
                  <a:pt x="219365" y="98134"/>
                </a:cubicBez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524199" y="108588"/>
                </a:moveTo>
                <a:lnTo>
                  <a:pt x="509259" y="108588"/>
                </a:lnTo>
                <a:lnTo>
                  <a:pt x="498241" y="77972"/>
                </a:lnTo>
                <a:lnTo>
                  <a:pt x="450869" y="77972"/>
                </a:lnTo>
                <a:lnTo>
                  <a:pt x="439976" y="108588"/>
                </a:lnTo>
                <a:lnTo>
                  <a:pt x="426841" y="108588"/>
                </a:lnTo>
                <a:lnTo>
                  <a:pt x="464938" y="1493"/>
                </a:lnTo>
                <a:lnTo>
                  <a:pt x="485853" y="1493"/>
                </a:lnTo>
                <a:lnTo>
                  <a:pt x="524199" y="108588"/>
                </a:lnTo>
                <a:close/>
                <a:moveTo>
                  <a:pt x="455476" y="65278"/>
                </a:moveTo>
                <a:lnTo>
                  <a:pt x="493759" y="65278"/>
                </a:lnTo>
                <a:lnTo>
                  <a:pt x="474648" y="11947"/>
                </a:lnTo>
                <a:lnTo>
                  <a:pt x="455476" y="65278"/>
                </a:lnTo>
                <a:close/>
                <a:moveTo>
                  <a:pt x="539823" y="1493"/>
                </a:moveTo>
                <a:lnTo>
                  <a:pt x="605246" y="1493"/>
                </a:lnTo>
                <a:lnTo>
                  <a:pt x="605246" y="14374"/>
                </a:lnTo>
                <a:lnTo>
                  <a:pt x="553891" y="14374"/>
                </a:lnTo>
                <a:lnTo>
                  <a:pt x="553891" y="49907"/>
                </a:lnTo>
                <a:lnTo>
                  <a:pt x="597465" y="49907"/>
                </a:lnTo>
                <a:lnTo>
                  <a:pt x="597465" y="62601"/>
                </a:lnTo>
                <a:lnTo>
                  <a:pt x="553891" y="62601"/>
                </a:lnTo>
                <a:lnTo>
                  <a:pt x="553891" y="108588"/>
                </a:lnTo>
                <a:lnTo>
                  <a:pt x="539823" y="108588"/>
                </a:lnTo>
                <a:lnTo>
                  <a:pt x="53982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2" name="Полилиния 911">
            <a:extLst>
              <a:ext uri="{FF2B5EF4-FFF2-40B4-BE49-F238E27FC236}">
                <a16:creationId xmlns:a16="http://schemas.microsoft.com/office/drawing/2014/main" id="{1DC8A5A3-4D04-E793-1763-8994B77373DC}"/>
              </a:ext>
            </a:extLst>
          </p:cNvPr>
          <p:cNvSpPr/>
          <p:nvPr userDrawn="1"/>
        </p:nvSpPr>
        <p:spPr>
          <a:xfrm>
            <a:off x="4142452" y="5966300"/>
            <a:ext cx="2557159" cy="726227"/>
          </a:xfrm>
          <a:custGeom>
            <a:avLst/>
            <a:gdLst>
              <a:gd name="connsiteX0" fmla="*/ 1860 w 2191162"/>
              <a:gd name="connsiteY0" fmla="*/ 1322 h 622284"/>
              <a:gd name="connsiteX1" fmla="*/ 2193023 w 2191162"/>
              <a:gd name="connsiteY1" fmla="*/ 1322 h 622284"/>
              <a:gd name="connsiteX2" fmla="*/ 2193023 w 2191162"/>
              <a:gd name="connsiteY2" fmla="*/ 623606 h 622284"/>
              <a:gd name="connsiteX3" fmla="*/ 1860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322"/>
                </a:moveTo>
                <a:lnTo>
                  <a:pt x="2193023" y="1322"/>
                </a:lnTo>
                <a:lnTo>
                  <a:pt x="2193023" y="623606"/>
                </a:lnTo>
                <a:lnTo>
                  <a:pt x="1860" y="623606"/>
                </a:lnTo>
                <a:close/>
              </a:path>
            </a:pathLst>
          </a:custGeom>
          <a:solidFill>
            <a:srgbClr val="5A00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3" name="Полилиния 912">
            <a:extLst>
              <a:ext uri="{FF2B5EF4-FFF2-40B4-BE49-F238E27FC236}">
                <a16:creationId xmlns:a16="http://schemas.microsoft.com/office/drawing/2014/main" id="{24F903E7-87AB-38D1-9D0D-D467F9A6F166}"/>
              </a:ext>
            </a:extLst>
          </p:cNvPr>
          <p:cNvSpPr/>
          <p:nvPr userDrawn="1"/>
        </p:nvSpPr>
        <p:spPr>
          <a:xfrm>
            <a:off x="4265660" y="6268047"/>
            <a:ext cx="730826" cy="128468"/>
          </a:xfrm>
          <a:custGeom>
            <a:avLst/>
            <a:gdLst>
              <a:gd name="connsiteX0" fmla="*/ 22099 w 626225"/>
              <a:gd name="connsiteY0" fmla="*/ 108588 h 110081"/>
              <a:gd name="connsiteX1" fmla="*/ 10147 w 626225"/>
              <a:gd name="connsiteY1" fmla="*/ 108588 h 110081"/>
              <a:gd name="connsiteX2" fmla="*/ 16434 w 626225"/>
              <a:gd name="connsiteY2" fmla="*/ 77661 h 110081"/>
              <a:gd name="connsiteX3" fmla="*/ 0 w 626225"/>
              <a:gd name="connsiteY3" fmla="*/ 77661 h 110081"/>
              <a:gd name="connsiteX4" fmla="*/ 0 w 626225"/>
              <a:gd name="connsiteY4" fmla="*/ 67206 h 110081"/>
              <a:gd name="connsiteX5" fmla="*/ 18675 w 626225"/>
              <a:gd name="connsiteY5" fmla="*/ 67206 h 110081"/>
              <a:gd name="connsiteX6" fmla="*/ 24215 w 626225"/>
              <a:gd name="connsiteY6" fmla="*/ 40012 h 110081"/>
              <a:gd name="connsiteX7" fmla="*/ 4046 w 626225"/>
              <a:gd name="connsiteY7" fmla="*/ 40012 h 110081"/>
              <a:gd name="connsiteX8" fmla="*/ 4046 w 626225"/>
              <a:gd name="connsiteY8" fmla="*/ 29559 h 110081"/>
              <a:gd name="connsiteX9" fmla="*/ 26270 w 626225"/>
              <a:gd name="connsiteY9" fmla="*/ 29559 h 110081"/>
              <a:gd name="connsiteX10" fmla="*/ 32121 w 626225"/>
              <a:gd name="connsiteY10" fmla="*/ 1493 h 110081"/>
              <a:gd name="connsiteX11" fmla="*/ 44073 w 626225"/>
              <a:gd name="connsiteY11" fmla="*/ 1493 h 110081"/>
              <a:gd name="connsiteX12" fmla="*/ 38221 w 626225"/>
              <a:gd name="connsiteY12" fmla="*/ 29559 h 110081"/>
              <a:gd name="connsiteX13" fmla="*/ 60630 w 626225"/>
              <a:gd name="connsiteY13" fmla="*/ 29559 h 110081"/>
              <a:gd name="connsiteX14" fmla="*/ 66482 w 626225"/>
              <a:gd name="connsiteY14" fmla="*/ 1493 h 110081"/>
              <a:gd name="connsiteX15" fmla="*/ 78434 w 626225"/>
              <a:gd name="connsiteY15" fmla="*/ 1493 h 110081"/>
              <a:gd name="connsiteX16" fmla="*/ 72582 w 626225"/>
              <a:gd name="connsiteY16" fmla="*/ 29559 h 110081"/>
              <a:gd name="connsiteX17" fmla="*/ 89328 w 626225"/>
              <a:gd name="connsiteY17" fmla="*/ 29559 h 110081"/>
              <a:gd name="connsiteX18" fmla="*/ 89328 w 626225"/>
              <a:gd name="connsiteY18" fmla="*/ 40012 h 110081"/>
              <a:gd name="connsiteX19" fmla="*/ 70529 w 626225"/>
              <a:gd name="connsiteY19" fmla="*/ 40012 h 110081"/>
              <a:gd name="connsiteX20" fmla="*/ 64988 w 626225"/>
              <a:gd name="connsiteY20" fmla="*/ 67206 h 110081"/>
              <a:gd name="connsiteX21" fmla="*/ 85282 w 626225"/>
              <a:gd name="connsiteY21" fmla="*/ 67206 h 110081"/>
              <a:gd name="connsiteX22" fmla="*/ 85282 w 626225"/>
              <a:gd name="connsiteY22" fmla="*/ 77661 h 110081"/>
              <a:gd name="connsiteX23" fmla="*/ 62747 w 626225"/>
              <a:gd name="connsiteY23" fmla="*/ 77661 h 110081"/>
              <a:gd name="connsiteX24" fmla="*/ 56460 w 626225"/>
              <a:gd name="connsiteY24" fmla="*/ 108588 h 110081"/>
              <a:gd name="connsiteX25" fmla="*/ 44508 w 626225"/>
              <a:gd name="connsiteY25" fmla="*/ 108588 h 110081"/>
              <a:gd name="connsiteX26" fmla="*/ 50795 w 626225"/>
              <a:gd name="connsiteY26" fmla="*/ 77661 h 110081"/>
              <a:gd name="connsiteX27" fmla="*/ 28386 w 626225"/>
              <a:gd name="connsiteY27" fmla="*/ 77661 h 110081"/>
              <a:gd name="connsiteX28" fmla="*/ 22099 w 626225"/>
              <a:gd name="connsiteY28" fmla="*/ 108588 h 110081"/>
              <a:gd name="connsiteX29" fmla="*/ 30627 w 626225"/>
              <a:gd name="connsiteY29" fmla="*/ 67206 h 110081"/>
              <a:gd name="connsiteX30" fmla="*/ 53036 w 626225"/>
              <a:gd name="connsiteY30" fmla="*/ 67206 h 110081"/>
              <a:gd name="connsiteX31" fmla="*/ 58576 w 626225"/>
              <a:gd name="connsiteY31" fmla="*/ 40012 h 110081"/>
              <a:gd name="connsiteX32" fmla="*/ 36167 w 626225"/>
              <a:gd name="connsiteY32" fmla="*/ 40012 h 110081"/>
              <a:gd name="connsiteX33" fmla="*/ 30627 w 626225"/>
              <a:gd name="connsiteY33" fmla="*/ 67206 h 110081"/>
              <a:gd name="connsiteX34" fmla="*/ 131719 w 626225"/>
              <a:gd name="connsiteY34" fmla="*/ 110082 h 110081"/>
              <a:gd name="connsiteX35" fmla="*/ 103209 w 626225"/>
              <a:gd name="connsiteY35" fmla="*/ 102490 h 110081"/>
              <a:gd name="connsiteX36" fmla="*/ 103209 w 626225"/>
              <a:gd name="connsiteY36" fmla="*/ 87804 h 110081"/>
              <a:gd name="connsiteX37" fmla="*/ 116344 w 626225"/>
              <a:gd name="connsiteY37" fmla="*/ 95458 h 110081"/>
              <a:gd name="connsiteX38" fmla="*/ 131719 w 626225"/>
              <a:gd name="connsiteY38" fmla="*/ 97823 h 110081"/>
              <a:gd name="connsiteX39" fmla="*/ 148775 w 626225"/>
              <a:gd name="connsiteY39" fmla="*/ 91102 h 110081"/>
              <a:gd name="connsiteX40" fmla="*/ 154875 w 626225"/>
              <a:gd name="connsiteY40" fmla="*/ 73491 h 110081"/>
              <a:gd name="connsiteX41" fmla="*/ 148900 w 626225"/>
              <a:gd name="connsiteY41" fmla="*/ 56441 h 110081"/>
              <a:gd name="connsiteX42" fmla="*/ 133835 w 626225"/>
              <a:gd name="connsiteY42" fmla="*/ 51089 h 110081"/>
              <a:gd name="connsiteX43" fmla="*/ 123191 w 626225"/>
              <a:gd name="connsiteY43" fmla="*/ 53329 h 110081"/>
              <a:gd name="connsiteX44" fmla="*/ 117091 w 626225"/>
              <a:gd name="connsiteY44" fmla="*/ 57810 h 110081"/>
              <a:gd name="connsiteX45" fmla="*/ 106197 w 626225"/>
              <a:gd name="connsiteY45" fmla="*/ 57810 h 110081"/>
              <a:gd name="connsiteX46" fmla="*/ 106197 w 626225"/>
              <a:gd name="connsiteY46" fmla="*/ 1493 h 110081"/>
              <a:gd name="connsiteX47" fmla="*/ 164150 w 626225"/>
              <a:gd name="connsiteY47" fmla="*/ 1493 h 110081"/>
              <a:gd name="connsiteX48" fmla="*/ 164150 w 626225"/>
              <a:gd name="connsiteY48" fmla="*/ 14374 h 110081"/>
              <a:gd name="connsiteX49" fmla="*/ 118460 w 626225"/>
              <a:gd name="connsiteY49" fmla="*/ 14374 h 110081"/>
              <a:gd name="connsiteX50" fmla="*/ 118460 w 626225"/>
              <a:gd name="connsiteY50" fmla="*/ 44991 h 110081"/>
              <a:gd name="connsiteX51" fmla="*/ 125743 w 626225"/>
              <a:gd name="connsiteY51" fmla="*/ 41071 h 110081"/>
              <a:gd name="connsiteX52" fmla="*/ 136076 w 626225"/>
              <a:gd name="connsiteY52" fmla="*/ 39266 h 110081"/>
              <a:gd name="connsiteX53" fmla="*/ 152821 w 626225"/>
              <a:gd name="connsiteY53" fmla="*/ 43186 h 110081"/>
              <a:gd name="connsiteX54" fmla="*/ 164587 w 626225"/>
              <a:gd name="connsiteY54" fmla="*/ 54512 h 110081"/>
              <a:gd name="connsiteX55" fmla="*/ 169068 w 626225"/>
              <a:gd name="connsiteY55" fmla="*/ 73181 h 110081"/>
              <a:gd name="connsiteX56" fmla="*/ 164462 w 626225"/>
              <a:gd name="connsiteY56" fmla="*/ 92596 h 110081"/>
              <a:gd name="connsiteX57" fmla="*/ 151577 w 626225"/>
              <a:gd name="connsiteY57" fmla="*/ 105601 h 110081"/>
              <a:gd name="connsiteX58" fmla="*/ 131719 w 626225"/>
              <a:gd name="connsiteY58" fmla="*/ 110082 h 110081"/>
              <a:gd name="connsiteX59" fmla="*/ 277817 w 626225"/>
              <a:gd name="connsiteY59" fmla="*/ 108588 h 110081"/>
              <a:gd name="connsiteX60" fmla="*/ 262877 w 626225"/>
              <a:gd name="connsiteY60" fmla="*/ 108588 h 110081"/>
              <a:gd name="connsiteX61" fmla="*/ 251797 w 626225"/>
              <a:gd name="connsiteY61" fmla="*/ 77972 h 110081"/>
              <a:gd name="connsiteX62" fmla="*/ 204426 w 626225"/>
              <a:gd name="connsiteY62" fmla="*/ 77972 h 110081"/>
              <a:gd name="connsiteX63" fmla="*/ 193533 w 626225"/>
              <a:gd name="connsiteY63" fmla="*/ 108588 h 110081"/>
              <a:gd name="connsiteX64" fmla="*/ 180397 w 626225"/>
              <a:gd name="connsiteY64" fmla="*/ 108588 h 110081"/>
              <a:gd name="connsiteX65" fmla="*/ 218494 w 626225"/>
              <a:gd name="connsiteY65" fmla="*/ 1493 h 110081"/>
              <a:gd name="connsiteX66" fmla="*/ 239410 w 626225"/>
              <a:gd name="connsiteY66" fmla="*/ 1493 h 110081"/>
              <a:gd name="connsiteX67" fmla="*/ 277817 w 626225"/>
              <a:gd name="connsiteY67" fmla="*/ 108588 h 110081"/>
              <a:gd name="connsiteX68" fmla="*/ 209095 w 626225"/>
              <a:gd name="connsiteY68" fmla="*/ 65278 h 110081"/>
              <a:gd name="connsiteX69" fmla="*/ 247315 w 626225"/>
              <a:gd name="connsiteY69" fmla="*/ 65278 h 110081"/>
              <a:gd name="connsiteX70" fmla="*/ 228205 w 626225"/>
              <a:gd name="connsiteY70" fmla="*/ 11947 h 110081"/>
              <a:gd name="connsiteX71" fmla="*/ 209095 w 626225"/>
              <a:gd name="connsiteY71" fmla="*/ 65278 h 110081"/>
              <a:gd name="connsiteX72" fmla="*/ 322263 w 626225"/>
              <a:gd name="connsiteY72" fmla="*/ 110082 h 110081"/>
              <a:gd name="connsiteX73" fmla="*/ 304024 w 626225"/>
              <a:gd name="connsiteY73" fmla="*/ 104233 h 110081"/>
              <a:gd name="connsiteX74" fmla="*/ 291325 w 626225"/>
              <a:gd name="connsiteY74" fmla="*/ 86311 h 110081"/>
              <a:gd name="connsiteX75" fmla="*/ 286844 w 626225"/>
              <a:gd name="connsiteY75" fmla="*/ 54947 h 110081"/>
              <a:gd name="connsiteX76" fmla="*/ 291325 w 626225"/>
              <a:gd name="connsiteY76" fmla="*/ 23584 h 110081"/>
              <a:gd name="connsiteX77" fmla="*/ 304024 w 626225"/>
              <a:gd name="connsiteY77" fmla="*/ 5849 h 110081"/>
              <a:gd name="connsiteX78" fmla="*/ 322263 w 626225"/>
              <a:gd name="connsiteY78" fmla="*/ 186 h 110081"/>
              <a:gd name="connsiteX79" fmla="*/ 340315 w 626225"/>
              <a:gd name="connsiteY79" fmla="*/ 5849 h 110081"/>
              <a:gd name="connsiteX80" fmla="*/ 352703 w 626225"/>
              <a:gd name="connsiteY80" fmla="*/ 23584 h 110081"/>
              <a:gd name="connsiteX81" fmla="*/ 357185 w 626225"/>
              <a:gd name="connsiteY81" fmla="*/ 54698 h 110081"/>
              <a:gd name="connsiteX82" fmla="*/ 352703 w 626225"/>
              <a:gd name="connsiteY82" fmla="*/ 86062 h 110081"/>
              <a:gd name="connsiteX83" fmla="*/ 340315 w 626225"/>
              <a:gd name="connsiteY83" fmla="*/ 104233 h 110081"/>
              <a:gd name="connsiteX84" fmla="*/ 322263 w 626225"/>
              <a:gd name="connsiteY84" fmla="*/ 110082 h 110081"/>
              <a:gd name="connsiteX85" fmla="*/ 322076 w 626225"/>
              <a:gd name="connsiteY85" fmla="*/ 98258 h 110081"/>
              <a:gd name="connsiteX86" fmla="*/ 333468 w 626225"/>
              <a:gd name="connsiteY86" fmla="*/ 94275 h 110081"/>
              <a:gd name="connsiteX87" fmla="*/ 340627 w 626225"/>
              <a:gd name="connsiteY87" fmla="*/ 80648 h 110081"/>
              <a:gd name="connsiteX88" fmla="*/ 343178 w 626225"/>
              <a:gd name="connsiteY88" fmla="*/ 55134 h 110081"/>
              <a:gd name="connsiteX89" fmla="*/ 340751 w 626225"/>
              <a:gd name="connsiteY89" fmla="*/ 29745 h 110081"/>
              <a:gd name="connsiteX90" fmla="*/ 333593 w 626225"/>
              <a:gd name="connsiteY90" fmla="*/ 16117 h 110081"/>
              <a:gd name="connsiteX91" fmla="*/ 322263 w 626225"/>
              <a:gd name="connsiteY91" fmla="*/ 11947 h 110081"/>
              <a:gd name="connsiteX92" fmla="*/ 310747 w 626225"/>
              <a:gd name="connsiteY92" fmla="*/ 16117 h 110081"/>
              <a:gd name="connsiteX93" fmla="*/ 303401 w 626225"/>
              <a:gd name="connsiteY93" fmla="*/ 29745 h 110081"/>
              <a:gd name="connsiteX94" fmla="*/ 300850 w 626225"/>
              <a:gd name="connsiteY94" fmla="*/ 55134 h 110081"/>
              <a:gd name="connsiteX95" fmla="*/ 303277 w 626225"/>
              <a:gd name="connsiteY95" fmla="*/ 80648 h 110081"/>
              <a:gd name="connsiteX96" fmla="*/ 310560 w 626225"/>
              <a:gd name="connsiteY96" fmla="*/ 94275 h 110081"/>
              <a:gd name="connsiteX97" fmla="*/ 322076 w 626225"/>
              <a:gd name="connsiteY97" fmla="*/ 98258 h 110081"/>
              <a:gd name="connsiteX98" fmla="*/ 404370 w 626225"/>
              <a:gd name="connsiteY98" fmla="*/ 110082 h 110081"/>
              <a:gd name="connsiteX99" fmla="*/ 386130 w 626225"/>
              <a:gd name="connsiteY99" fmla="*/ 104233 h 110081"/>
              <a:gd name="connsiteX100" fmla="*/ 373431 w 626225"/>
              <a:gd name="connsiteY100" fmla="*/ 86311 h 110081"/>
              <a:gd name="connsiteX101" fmla="*/ 368950 w 626225"/>
              <a:gd name="connsiteY101" fmla="*/ 54947 h 110081"/>
              <a:gd name="connsiteX102" fmla="*/ 373431 w 626225"/>
              <a:gd name="connsiteY102" fmla="*/ 23584 h 110081"/>
              <a:gd name="connsiteX103" fmla="*/ 386130 w 626225"/>
              <a:gd name="connsiteY103" fmla="*/ 5849 h 110081"/>
              <a:gd name="connsiteX104" fmla="*/ 404370 w 626225"/>
              <a:gd name="connsiteY104" fmla="*/ 186 h 110081"/>
              <a:gd name="connsiteX105" fmla="*/ 422484 w 626225"/>
              <a:gd name="connsiteY105" fmla="*/ 5849 h 110081"/>
              <a:gd name="connsiteX106" fmla="*/ 434871 w 626225"/>
              <a:gd name="connsiteY106" fmla="*/ 23584 h 110081"/>
              <a:gd name="connsiteX107" fmla="*/ 439354 w 626225"/>
              <a:gd name="connsiteY107" fmla="*/ 54698 h 110081"/>
              <a:gd name="connsiteX108" fmla="*/ 434871 w 626225"/>
              <a:gd name="connsiteY108" fmla="*/ 86062 h 110081"/>
              <a:gd name="connsiteX109" fmla="*/ 422484 w 626225"/>
              <a:gd name="connsiteY109" fmla="*/ 104233 h 110081"/>
              <a:gd name="connsiteX110" fmla="*/ 404370 w 626225"/>
              <a:gd name="connsiteY110" fmla="*/ 110082 h 110081"/>
              <a:gd name="connsiteX111" fmla="*/ 404245 w 626225"/>
              <a:gd name="connsiteY111" fmla="*/ 98258 h 110081"/>
              <a:gd name="connsiteX112" fmla="*/ 415574 w 626225"/>
              <a:gd name="connsiteY112" fmla="*/ 94275 h 110081"/>
              <a:gd name="connsiteX113" fmla="*/ 422733 w 626225"/>
              <a:gd name="connsiteY113" fmla="*/ 80648 h 110081"/>
              <a:gd name="connsiteX114" fmla="*/ 425285 w 626225"/>
              <a:gd name="connsiteY114" fmla="*/ 55134 h 110081"/>
              <a:gd name="connsiteX115" fmla="*/ 422920 w 626225"/>
              <a:gd name="connsiteY115" fmla="*/ 29745 h 110081"/>
              <a:gd name="connsiteX116" fmla="*/ 415761 w 626225"/>
              <a:gd name="connsiteY116" fmla="*/ 16117 h 110081"/>
              <a:gd name="connsiteX117" fmla="*/ 404370 w 626225"/>
              <a:gd name="connsiteY117" fmla="*/ 11947 h 110081"/>
              <a:gd name="connsiteX118" fmla="*/ 392853 w 626225"/>
              <a:gd name="connsiteY118" fmla="*/ 16117 h 110081"/>
              <a:gd name="connsiteX119" fmla="*/ 385570 w 626225"/>
              <a:gd name="connsiteY119" fmla="*/ 29745 h 110081"/>
              <a:gd name="connsiteX120" fmla="*/ 383018 w 626225"/>
              <a:gd name="connsiteY120" fmla="*/ 55134 h 110081"/>
              <a:gd name="connsiteX121" fmla="*/ 385383 w 626225"/>
              <a:gd name="connsiteY121" fmla="*/ 80648 h 110081"/>
              <a:gd name="connsiteX122" fmla="*/ 392729 w 626225"/>
              <a:gd name="connsiteY122" fmla="*/ 94275 h 110081"/>
              <a:gd name="connsiteX123" fmla="*/ 404245 w 626225"/>
              <a:gd name="connsiteY123" fmla="*/ 98258 h 110081"/>
              <a:gd name="connsiteX124" fmla="*/ 457654 w 626225"/>
              <a:gd name="connsiteY124" fmla="*/ 1493 h 110081"/>
              <a:gd name="connsiteX125" fmla="*/ 493697 w 626225"/>
              <a:gd name="connsiteY125" fmla="*/ 1493 h 110081"/>
              <a:gd name="connsiteX126" fmla="*/ 513678 w 626225"/>
              <a:gd name="connsiteY126" fmla="*/ 4044 h 110081"/>
              <a:gd name="connsiteX127" fmla="*/ 529863 w 626225"/>
              <a:gd name="connsiteY127" fmla="*/ 12383 h 110081"/>
              <a:gd name="connsiteX128" fmla="*/ 540570 w 626225"/>
              <a:gd name="connsiteY128" fmla="*/ 27629 h 110081"/>
              <a:gd name="connsiteX129" fmla="*/ 544492 w 626225"/>
              <a:gd name="connsiteY129" fmla="*/ 51401 h 110081"/>
              <a:gd name="connsiteX130" fmla="*/ 537582 w 626225"/>
              <a:gd name="connsiteY130" fmla="*/ 83075 h 110081"/>
              <a:gd name="connsiteX131" fmla="*/ 519094 w 626225"/>
              <a:gd name="connsiteY131" fmla="*/ 102179 h 110081"/>
              <a:gd name="connsiteX132" fmla="*/ 492016 w 626225"/>
              <a:gd name="connsiteY132" fmla="*/ 108588 h 110081"/>
              <a:gd name="connsiteX133" fmla="*/ 457654 w 626225"/>
              <a:gd name="connsiteY133" fmla="*/ 108588 h 110081"/>
              <a:gd name="connsiteX134" fmla="*/ 457654 w 626225"/>
              <a:gd name="connsiteY134" fmla="*/ 1493 h 110081"/>
              <a:gd name="connsiteX135" fmla="*/ 492016 w 626225"/>
              <a:gd name="connsiteY135" fmla="*/ 95893 h 110081"/>
              <a:gd name="connsiteX136" fmla="*/ 511438 w 626225"/>
              <a:gd name="connsiteY136" fmla="*/ 91413 h 110081"/>
              <a:gd name="connsiteX137" fmla="*/ 524447 w 626225"/>
              <a:gd name="connsiteY137" fmla="*/ 77225 h 110081"/>
              <a:gd name="connsiteX138" fmla="*/ 529241 w 626225"/>
              <a:gd name="connsiteY138" fmla="*/ 52458 h 110081"/>
              <a:gd name="connsiteX139" fmla="*/ 524634 w 626225"/>
              <a:gd name="connsiteY139" fmla="*/ 29122 h 110081"/>
              <a:gd name="connsiteX140" fmla="*/ 511935 w 626225"/>
              <a:gd name="connsiteY140" fmla="*/ 17610 h 110081"/>
              <a:gd name="connsiteX141" fmla="*/ 493697 w 626225"/>
              <a:gd name="connsiteY141" fmla="*/ 14374 h 110081"/>
              <a:gd name="connsiteX142" fmla="*/ 471723 w 626225"/>
              <a:gd name="connsiteY142" fmla="*/ 14374 h 110081"/>
              <a:gd name="connsiteX143" fmla="*/ 471723 w 626225"/>
              <a:gd name="connsiteY143" fmla="*/ 95893 h 110081"/>
              <a:gd name="connsiteX144" fmla="*/ 492016 w 626225"/>
              <a:gd name="connsiteY144" fmla="*/ 95893 h 110081"/>
              <a:gd name="connsiteX145" fmla="*/ 626225 w 626225"/>
              <a:gd name="connsiteY145" fmla="*/ 108588 h 110081"/>
              <a:gd name="connsiteX146" fmla="*/ 557937 w 626225"/>
              <a:gd name="connsiteY146" fmla="*/ 108588 h 110081"/>
              <a:gd name="connsiteX147" fmla="*/ 557937 w 626225"/>
              <a:gd name="connsiteY147" fmla="*/ 94400 h 110081"/>
              <a:gd name="connsiteX148" fmla="*/ 584082 w 626225"/>
              <a:gd name="connsiteY148" fmla="*/ 72433 h 110081"/>
              <a:gd name="connsiteX149" fmla="*/ 600080 w 626225"/>
              <a:gd name="connsiteY149" fmla="*/ 56628 h 110081"/>
              <a:gd name="connsiteX150" fmla="*/ 608110 w 626225"/>
              <a:gd name="connsiteY150" fmla="*/ 43933 h 110081"/>
              <a:gd name="connsiteX151" fmla="*/ 610538 w 626225"/>
              <a:gd name="connsiteY151" fmla="*/ 32109 h 110081"/>
              <a:gd name="connsiteX152" fmla="*/ 604998 w 626225"/>
              <a:gd name="connsiteY152" fmla="*/ 17610 h 110081"/>
              <a:gd name="connsiteX153" fmla="*/ 589747 w 626225"/>
              <a:gd name="connsiteY153" fmla="*/ 12383 h 110081"/>
              <a:gd name="connsiteX154" fmla="*/ 560801 w 626225"/>
              <a:gd name="connsiteY154" fmla="*/ 27194 h 110081"/>
              <a:gd name="connsiteX155" fmla="*/ 560801 w 626225"/>
              <a:gd name="connsiteY155" fmla="*/ 12134 h 110081"/>
              <a:gd name="connsiteX156" fmla="*/ 590183 w 626225"/>
              <a:gd name="connsiteY156" fmla="*/ 0 h 110081"/>
              <a:gd name="connsiteX157" fmla="*/ 615580 w 626225"/>
              <a:gd name="connsiteY157" fmla="*/ 8401 h 110081"/>
              <a:gd name="connsiteX158" fmla="*/ 625042 w 626225"/>
              <a:gd name="connsiteY158" fmla="*/ 30803 h 110081"/>
              <a:gd name="connsiteX159" fmla="*/ 622614 w 626225"/>
              <a:gd name="connsiteY159" fmla="*/ 44804 h 110081"/>
              <a:gd name="connsiteX160" fmla="*/ 614584 w 626225"/>
              <a:gd name="connsiteY160" fmla="*/ 58681 h 110081"/>
              <a:gd name="connsiteX161" fmla="*/ 598898 w 626225"/>
              <a:gd name="connsiteY161" fmla="*/ 74860 h 110081"/>
              <a:gd name="connsiteX162" fmla="*/ 573500 w 626225"/>
              <a:gd name="connsiteY162" fmla="*/ 95769 h 110081"/>
              <a:gd name="connsiteX163" fmla="*/ 626225 w 626225"/>
              <a:gd name="connsiteY163" fmla="*/ 95769 h 110081"/>
              <a:gd name="connsiteX164" fmla="*/ 626225 w 626225"/>
              <a:gd name="connsiteY16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26225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31719" y="110082"/>
                </a:moveTo>
                <a:cubicBezTo>
                  <a:pt x="119767" y="110082"/>
                  <a:pt x="110243" y="107530"/>
                  <a:pt x="103209" y="102490"/>
                </a:cubicBezTo>
                <a:lnTo>
                  <a:pt x="103209" y="87804"/>
                </a:lnTo>
                <a:cubicBezTo>
                  <a:pt x="107379" y="91226"/>
                  <a:pt x="111737" y="93778"/>
                  <a:pt x="116344" y="95458"/>
                </a:cubicBezTo>
                <a:cubicBezTo>
                  <a:pt x="120950" y="97014"/>
                  <a:pt x="126054" y="97823"/>
                  <a:pt x="131719" y="97823"/>
                </a:cubicBezTo>
                <a:cubicBezTo>
                  <a:pt x="139127" y="97823"/>
                  <a:pt x="144791" y="95583"/>
                  <a:pt x="148775" y="91102"/>
                </a:cubicBezTo>
                <a:cubicBezTo>
                  <a:pt x="152821" y="86621"/>
                  <a:pt x="154875" y="80772"/>
                  <a:pt x="154875" y="73491"/>
                </a:cubicBezTo>
                <a:cubicBezTo>
                  <a:pt x="154875" y="65713"/>
                  <a:pt x="152884" y="60050"/>
                  <a:pt x="148900" y="56441"/>
                </a:cubicBezTo>
                <a:cubicBezTo>
                  <a:pt x="144916" y="52894"/>
                  <a:pt x="139874" y="51089"/>
                  <a:pt x="133835" y="51089"/>
                </a:cubicBezTo>
                <a:cubicBezTo>
                  <a:pt x="129416" y="51089"/>
                  <a:pt x="125930" y="51836"/>
                  <a:pt x="123191" y="53329"/>
                </a:cubicBezTo>
                <a:cubicBezTo>
                  <a:pt x="120514" y="54698"/>
                  <a:pt x="118460" y="56192"/>
                  <a:pt x="117091" y="57810"/>
                </a:cubicBezTo>
                <a:lnTo>
                  <a:pt x="106197" y="57810"/>
                </a:lnTo>
                <a:lnTo>
                  <a:pt x="106197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60" y="14374"/>
                </a:lnTo>
                <a:lnTo>
                  <a:pt x="118460" y="44991"/>
                </a:lnTo>
                <a:cubicBezTo>
                  <a:pt x="120452" y="43498"/>
                  <a:pt x="122879" y="42190"/>
                  <a:pt x="125743" y="41071"/>
                </a:cubicBezTo>
                <a:cubicBezTo>
                  <a:pt x="128669" y="39888"/>
                  <a:pt x="132093" y="39266"/>
                  <a:pt x="136076" y="39266"/>
                </a:cubicBezTo>
                <a:cubicBezTo>
                  <a:pt x="142239" y="39266"/>
                  <a:pt x="147841" y="40572"/>
                  <a:pt x="152821" y="43186"/>
                </a:cubicBezTo>
                <a:cubicBezTo>
                  <a:pt x="157802" y="45675"/>
                  <a:pt x="161723" y="49471"/>
                  <a:pt x="164587" y="54512"/>
                </a:cubicBezTo>
                <a:cubicBezTo>
                  <a:pt x="167574" y="59490"/>
                  <a:pt x="169068" y="65713"/>
                  <a:pt x="169068" y="73181"/>
                </a:cubicBezTo>
                <a:cubicBezTo>
                  <a:pt x="169068" y="80586"/>
                  <a:pt x="167512" y="87058"/>
                  <a:pt x="164462" y="92596"/>
                </a:cubicBezTo>
                <a:cubicBezTo>
                  <a:pt x="161474" y="98196"/>
                  <a:pt x="157179" y="102490"/>
                  <a:pt x="151577" y="105601"/>
                </a:cubicBezTo>
                <a:cubicBezTo>
                  <a:pt x="146037" y="108588"/>
                  <a:pt x="139375" y="110082"/>
                  <a:pt x="131719" y="110082"/>
                </a:cubicBezTo>
                <a:close/>
                <a:moveTo>
                  <a:pt x="277817" y="108588"/>
                </a:moveTo>
                <a:lnTo>
                  <a:pt x="262877" y="108588"/>
                </a:lnTo>
                <a:lnTo>
                  <a:pt x="251797" y="77972"/>
                </a:lnTo>
                <a:lnTo>
                  <a:pt x="204426" y="77972"/>
                </a:lnTo>
                <a:lnTo>
                  <a:pt x="193533" y="108588"/>
                </a:lnTo>
                <a:lnTo>
                  <a:pt x="180397" y="108588"/>
                </a:lnTo>
                <a:lnTo>
                  <a:pt x="218494" y="1493"/>
                </a:lnTo>
                <a:lnTo>
                  <a:pt x="239410" y="1493"/>
                </a:lnTo>
                <a:lnTo>
                  <a:pt x="277817" y="108588"/>
                </a:lnTo>
                <a:close/>
                <a:moveTo>
                  <a:pt x="209095" y="65278"/>
                </a:moveTo>
                <a:lnTo>
                  <a:pt x="247315" y="65278"/>
                </a:lnTo>
                <a:lnTo>
                  <a:pt x="228205" y="11947"/>
                </a:lnTo>
                <a:lnTo>
                  <a:pt x="209095" y="65278"/>
                </a:lnTo>
                <a:close/>
                <a:moveTo>
                  <a:pt x="322263" y="110082"/>
                </a:moveTo>
                <a:cubicBezTo>
                  <a:pt x="315478" y="110082"/>
                  <a:pt x="309378" y="108153"/>
                  <a:pt x="304024" y="104233"/>
                </a:cubicBezTo>
                <a:cubicBezTo>
                  <a:pt x="298609" y="100374"/>
                  <a:pt x="294376" y="94400"/>
                  <a:pt x="291325" y="86311"/>
                </a:cubicBezTo>
                <a:cubicBezTo>
                  <a:pt x="288338" y="78159"/>
                  <a:pt x="286844" y="67705"/>
                  <a:pt x="286844" y="54947"/>
                </a:cubicBezTo>
                <a:cubicBezTo>
                  <a:pt x="286844" y="42128"/>
                  <a:pt x="288338" y="31674"/>
                  <a:pt x="291325" y="23584"/>
                </a:cubicBezTo>
                <a:cubicBezTo>
                  <a:pt x="294376" y="15557"/>
                  <a:pt x="298609" y="9645"/>
                  <a:pt x="304024" y="5849"/>
                </a:cubicBezTo>
                <a:cubicBezTo>
                  <a:pt x="309378" y="2053"/>
                  <a:pt x="315478" y="186"/>
                  <a:pt x="322263" y="186"/>
                </a:cubicBezTo>
                <a:cubicBezTo>
                  <a:pt x="328986" y="186"/>
                  <a:pt x="335024" y="2053"/>
                  <a:pt x="340315" y="5849"/>
                </a:cubicBezTo>
                <a:cubicBezTo>
                  <a:pt x="345606" y="9645"/>
                  <a:pt x="349715" y="15557"/>
                  <a:pt x="352703" y="23584"/>
                </a:cubicBezTo>
                <a:cubicBezTo>
                  <a:pt x="355691" y="31549"/>
                  <a:pt x="357185" y="41942"/>
                  <a:pt x="357185" y="54698"/>
                </a:cubicBezTo>
                <a:cubicBezTo>
                  <a:pt x="357185" y="67331"/>
                  <a:pt x="355691" y="77786"/>
                  <a:pt x="352703" y="86062"/>
                </a:cubicBezTo>
                <a:cubicBezTo>
                  <a:pt x="349715" y="94213"/>
                  <a:pt x="345606" y="100250"/>
                  <a:pt x="340315" y="104233"/>
                </a:cubicBezTo>
                <a:cubicBezTo>
                  <a:pt x="335024" y="108153"/>
                  <a:pt x="328986" y="110082"/>
                  <a:pt x="322263" y="110082"/>
                </a:cubicBezTo>
                <a:close/>
                <a:moveTo>
                  <a:pt x="322076" y="98258"/>
                </a:moveTo>
                <a:cubicBezTo>
                  <a:pt x="326559" y="98258"/>
                  <a:pt x="330356" y="96952"/>
                  <a:pt x="333468" y="94275"/>
                </a:cubicBezTo>
                <a:cubicBezTo>
                  <a:pt x="336643" y="91475"/>
                  <a:pt x="339008" y="86933"/>
                  <a:pt x="340627" y="80648"/>
                </a:cubicBezTo>
                <a:cubicBezTo>
                  <a:pt x="342307" y="74300"/>
                  <a:pt x="343178" y="65775"/>
                  <a:pt x="343178" y="55134"/>
                </a:cubicBezTo>
                <a:cubicBezTo>
                  <a:pt x="343178" y="44493"/>
                  <a:pt x="342369" y="36030"/>
                  <a:pt x="340751" y="29745"/>
                </a:cubicBezTo>
                <a:cubicBezTo>
                  <a:pt x="339194" y="23336"/>
                  <a:pt x="336767" y="18855"/>
                  <a:pt x="333593" y="16117"/>
                </a:cubicBezTo>
                <a:cubicBezTo>
                  <a:pt x="330480" y="13379"/>
                  <a:pt x="326745" y="11947"/>
                  <a:pt x="322263" y="11947"/>
                </a:cubicBezTo>
                <a:cubicBezTo>
                  <a:pt x="317781" y="11947"/>
                  <a:pt x="313922" y="13379"/>
                  <a:pt x="310747" y="16117"/>
                </a:cubicBezTo>
                <a:cubicBezTo>
                  <a:pt x="307572" y="18855"/>
                  <a:pt x="305082" y="23336"/>
                  <a:pt x="303401" y="29745"/>
                </a:cubicBezTo>
                <a:cubicBezTo>
                  <a:pt x="301721" y="36030"/>
                  <a:pt x="300850" y="44493"/>
                  <a:pt x="300850" y="55134"/>
                </a:cubicBezTo>
                <a:cubicBezTo>
                  <a:pt x="300850" y="65775"/>
                  <a:pt x="301659" y="74300"/>
                  <a:pt x="303277" y="80648"/>
                </a:cubicBezTo>
                <a:cubicBezTo>
                  <a:pt x="304958" y="86933"/>
                  <a:pt x="307385" y="91475"/>
                  <a:pt x="310560" y="94275"/>
                </a:cubicBezTo>
                <a:cubicBezTo>
                  <a:pt x="313797" y="96952"/>
                  <a:pt x="317594" y="98258"/>
                  <a:pt x="322076" y="98258"/>
                </a:cubicBezTo>
                <a:close/>
                <a:moveTo>
                  <a:pt x="404370" y="110082"/>
                </a:moveTo>
                <a:cubicBezTo>
                  <a:pt x="397584" y="110082"/>
                  <a:pt x="391546" y="108153"/>
                  <a:pt x="386130" y="104233"/>
                </a:cubicBezTo>
                <a:cubicBezTo>
                  <a:pt x="380777" y="100374"/>
                  <a:pt x="376544" y="94400"/>
                  <a:pt x="373431" y="86311"/>
                </a:cubicBezTo>
                <a:cubicBezTo>
                  <a:pt x="370444" y="78159"/>
                  <a:pt x="368950" y="67705"/>
                  <a:pt x="368950" y="54947"/>
                </a:cubicBezTo>
                <a:cubicBezTo>
                  <a:pt x="368950" y="42128"/>
                  <a:pt x="370444" y="31674"/>
                  <a:pt x="373431" y="23584"/>
                </a:cubicBezTo>
                <a:cubicBezTo>
                  <a:pt x="376544" y="15557"/>
                  <a:pt x="380777" y="9645"/>
                  <a:pt x="386130" y="5849"/>
                </a:cubicBezTo>
                <a:cubicBezTo>
                  <a:pt x="391546" y="2053"/>
                  <a:pt x="397584" y="186"/>
                  <a:pt x="404370" y="186"/>
                </a:cubicBezTo>
                <a:cubicBezTo>
                  <a:pt x="411155" y="186"/>
                  <a:pt x="417193" y="2053"/>
                  <a:pt x="422484" y="5849"/>
                </a:cubicBezTo>
                <a:cubicBezTo>
                  <a:pt x="427713" y="9645"/>
                  <a:pt x="431883" y="15557"/>
                  <a:pt x="434871" y="23584"/>
                </a:cubicBezTo>
                <a:cubicBezTo>
                  <a:pt x="437860" y="31549"/>
                  <a:pt x="439354" y="41942"/>
                  <a:pt x="439354" y="54698"/>
                </a:cubicBezTo>
                <a:cubicBezTo>
                  <a:pt x="439354" y="67331"/>
                  <a:pt x="437860" y="77786"/>
                  <a:pt x="434871" y="86062"/>
                </a:cubicBezTo>
                <a:cubicBezTo>
                  <a:pt x="431883" y="94213"/>
                  <a:pt x="427713" y="100250"/>
                  <a:pt x="422484" y="104233"/>
                </a:cubicBezTo>
                <a:cubicBezTo>
                  <a:pt x="417193" y="108153"/>
                  <a:pt x="411155" y="110082"/>
                  <a:pt x="404370" y="110082"/>
                </a:cubicBezTo>
                <a:close/>
                <a:moveTo>
                  <a:pt x="404245" y="98258"/>
                </a:moveTo>
                <a:cubicBezTo>
                  <a:pt x="408727" y="98258"/>
                  <a:pt x="412524" y="96952"/>
                  <a:pt x="415574" y="94275"/>
                </a:cubicBezTo>
                <a:cubicBezTo>
                  <a:pt x="418749" y="91475"/>
                  <a:pt x="421177" y="86933"/>
                  <a:pt x="422733" y="80648"/>
                </a:cubicBezTo>
                <a:cubicBezTo>
                  <a:pt x="424476" y="74300"/>
                  <a:pt x="425285" y="65775"/>
                  <a:pt x="425285" y="55134"/>
                </a:cubicBezTo>
                <a:cubicBezTo>
                  <a:pt x="425285" y="44493"/>
                  <a:pt x="424476" y="36030"/>
                  <a:pt x="422920" y="29745"/>
                </a:cubicBezTo>
                <a:cubicBezTo>
                  <a:pt x="421301" y="23336"/>
                  <a:pt x="418936" y="18855"/>
                  <a:pt x="415761" y="16117"/>
                </a:cubicBezTo>
                <a:cubicBezTo>
                  <a:pt x="412649" y="13379"/>
                  <a:pt x="408851" y="11947"/>
                  <a:pt x="404370" y="11947"/>
                </a:cubicBezTo>
                <a:cubicBezTo>
                  <a:pt x="399887" y="11947"/>
                  <a:pt x="396090" y="13379"/>
                  <a:pt x="392853" y="16117"/>
                </a:cubicBezTo>
                <a:cubicBezTo>
                  <a:pt x="389679" y="18855"/>
                  <a:pt x="387251" y="23336"/>
                  <a:pt x="385570" y="29745"/>
                </a:cubicBezTo>
                <a:cubicBezTo>
                  <a:pt x="383890" y="36030"/>
                  <a:pt x="383018" y="44493"/>
                  <a:pt x="383018" y="55134"/>
                </a:cubicBezTo>
                <a:cubicBezTo>
                  <a:pt x="383018" y="65775"/>
                  <a:pt x="383827" y="74300"/>
                  <a:pt x="385383" y="80648"/>
                </a:cubicBezTo>
                <a:cubicBezTo>
                  <a:pt x="387127" y="86933"/>
                  <a:pt x="389554" y="91475"/>
                  <a:pt x="392729" y="94275"/>
                </a:cubicBezTo>
                <a:cubicBezTo>
                  <a:pt x="395904" y="96952"/>
                  <a:pt x="399763" y="98258"/>
                  <a:pt x="404245" y="98258"/>
                </a:cubicBezTo>
                <a:close/>
                <a:moveTo>
                  <a:pt x="457654" y="1493"/>
                </a:moveTo>
                <a:lnTo>
                  <a:pt x="493697" y="1493"/>
                </a:lnTo>
                <a:cubicBezTo>
                  <a:pt x="500856" y="1493"/>
                  <a:pt x="507516" y="2365"/>
                  <a:pt x="513678" y="4044"/>
                </a:cubicBezTo>
                <a:cubicBezTo>
                  <a:pt x="519903" y="5725"/>
                  <a:pt x="525257" y="8525"/>
                  <a:pt x="529863" y="12383"/>
                </a:cubicBezTo>
                <a:cubicBezTo>
                  <a:pt x="534408" y="16179"/>
                  <a:pt x="538018" y="21282"/>
                  <a:pt x="540570" y="27629"/>
                </a:cubicBezTo>
                <a:cubicBezTo>
                  <a:pt x="543184" y="34039"/>
                  <a:pt x="544492" y="41942"/>
                  <a:pt x="544492" y="51401"/>
                </a:cubicBezTo>
                <a:cubicBezTo>
                  <a:pt x="544492" y="63908"/>
                  <a:pt x="542189" y="74487"/>
                  <a:pt x="537582" y="83075"/>
                </a:cubicBezTo>
                <a:cubicBezTo>
                  <a:pt x="533100" y="91538"/>
                  <a:pt x="526938" y="97885"/>
                  <a:pt x="519094" y="102179"/>
                </a:cubicBezTo>
                <a:cubicBezTo>
                  <a:pt x="511188" y="106473"/>
                  <a:pt x="502225" y="108588"/>
                  <a:pt x="492016" y="108588"/>
                </a:cubicBezTo>
                <a:lnTo>
                  <a:pt x="457654" y="108588"/>
                </a:lnTo>
                <a:lnTo>
                  <a:pt x="457654" y="1493"/>
                </a:lnTo>
                <a:close/>
                <a:moveTo>
                  <a:pt x="492016" y="95893"/>
                </a:moveTo>
                <a:cubicBezTo>
                  <a:pt x="499423" y="95893"/>
                  <a:pt x="505897" y="94400"/>
                  <a:pt x="511438" y="91413"/>
                </a:cubicBezTo>
                <a:cubicBezTo>
                  <a:pt x="517040" y="88302"/>
                  <a:pt x="521397" y="83572"/>
                  <a:pt x="524447" y="77225"/>
                </a:cubicBezTo>
                <a:cubicBezTo>
                  <a:pt x="527622" y="70754"/>
                  <a:pt x="529241" y="62477"/>
                  <a:pt x="529241" y="52458"/>
                </a:cubicBezTo>
                <a:cubicBezTo>
                  <a:pt x="529241" y="42377"/>
                  <a:pt x="527684" y="34599"/>
                  <a:pt x="524634" y="29122"/>
                </a:cubicBezTo>
                <a:cubicBezTo>
                  <a:pt x="521522" y="23646"/>
                  <a:pt x="517289" y="19851"/>
                  <a:pt x="511935" y="17610"/>
                </a:cubicBezTo>
                <a:cubicBezTo>
                  <a:pt x="506644" y="15433"/>
                  <a:pt x="500544" y="14374"/>
                  <a:pt x="493697" y="14374"/>
                </a:cubicBezTo>
                <a:lnTo>
                  <a:pt x="471723" y="14374"/>
                </a:lnTo>
                <a:lnTo>
                  <a:pt x="471723" y="95893"/>
                </a:lnTo>
                <a:lnTo>
                  <a:pt x="492016" y="95893"/>
                </a:lnTo>
                <a:close/>
                <a:moveTo>
                  <a:pt x="626225" y="108588"/>
                </a:moveTo>
                <a:lnTo>
                  <a:pt x="557937" y="108588"/>
                </a:lnTo>
                <a:lnTo>
                  <a:pt x="557937" y="94400"/>
                </a:lnTo>
                <a:cubicBezTo>
                  <a:pt x="568582" y="85812"/>
                  <a:pt x="577297" y="78532"/>
                  <a:pt x="584082" y="72433"/>
                </a:cubicBezTo>
                <a:cubicBezTo>
                  <a:pt x="590930" y="66397"/>
                  <a:pt x="596283" y="61108"/>
                  <a:pt x="600080" y="56628"/>
                </a:cubicBezTo>
                <a:cubicBezTo>
                  <a:pt x="603939" y="52023"/>
                  <a:pt x="606616" y="47791"/>
                  <a:pt x="608110" y="43933"/>
                </a:cubicBezTo>
                <a:cubicBezTo>
                  <a:pt x="609729" y="40012"/>
                  <a:pt x="610538" y="36092"/>
                  <a:pt x="610538" y="32109"/>
                </a:cubicBezTo>
                <a:cubicBezTo>
                  <a:pt x="610538" y="25949"/>
                  <a:pt x="608670" y="21095"/>
                  <a:pt x="604998" y="17610"/>
                </a:cubicBezTo>
                <a:cubicBezTo>
                  <a:pt x="601325" y="14125"/>
                  <a:pt x="596221" y="12383"/>
                  <a:pt x="589747" y="12383"/>
                </a:cubicBezTo>
                <a:cubicBezTo>
                  <a:pt x="579414" y="12383"/>
                  <a:pt x="569765" y="17361"/>
                  <a:pt x="560801" y="27194"/>
                </a:cubicBezTo>
                <a:lnTo>
                  <a:pt x="560801" y="12134"/>
                </a:lnTo>
                <a:cubicBezTo>
                  <a:pt x="569018" y="4044"/>
                  <a:pt x="578853" y="0"/>
                  <a:pt x="590183" y="0"/>
                </a:cubicBezTo>
                <a:cubicBezTo>
                  <a:pt x="600952" y="0"/>
                  <a:pt x="609417" y="2800"/>
                  <a:pt x="615580" y="8401"/>
                </a:cubicBezTo>
                <a:cubicBezTo>
                  <a:pt x="621867" y="13877"/>
                  <a:pt x="625042" y="21344"/>
                  <a:pt x="625042" y="30803"/>
                </a:cubicBezTo>
                <a:cubicBezTo>
                  <a:pt x="625042" y="35657"/>
                  <a:pt x="624233" y="40324"/>
                  <a:pt x="622614" y="44804"/>
                </a:cubicBezTo>
                <a:cubicBezTo>
                  <a:pt x="621120" y="49222"/>
                  <a:pt x="618444" y="53827"/>
                  <a:pt x="614584" y="58681"/>
                </a:cubicBezTo>
                <a:cubicBezTo>
                  <a:pt x="610787" y="63473"/>
                  <a:pt x="605558" y="68887"/>
                  <a:pt x="598898" y="74860"/>
                </a:cubicBezTo>
                <a:cubicBezTo>
                  <a:pt x="592174" y="80835"/>
                  <a:pt x="583709" y="87804"/>
                  <a:pt x="573500" y="95769"/>
                </a:cubicBezTo>
                <a:lnTo>
                  <a:pt x="626225" y="95769"/>
                </a:lnTo>
                <a:lnTo>
                  <a:pt x="626225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4" name="Полилиния 913">
            <a:extLst>
              <a:ext uri="{FF2B5EF4-FFF2-40B4-BE49-F238E27FC236}">
                <a16:creationId xmlns:a16="http://schemas.microsoft.com/office/drawing/2014/main" id="{B726C8DD-6E9E-D44D-3DFF-62B61841A8E0}"/>
              </a:ext>
            </a:extLst>
          </p:cNvPr>
          <p:cNvSpPr/>
          <p:nvPr userDrawn="1"/>
        </p:nvSpPr>
        <p:spPr>
          <a:xfrm>
            <a:off x="4142452" y="6692525"/>
            <a:ext cx="2557159" cy="726227"/>
          </a:xfrm>
          <a:custGeom>
            <a:avLst/>
            <a:gdLst>
              <a:gd name="connsiteX0" fmla="*/ 1860 w 2191162"/>
              <a:gd name="connsiteY0" fmla="*/ 1422 h 622284"/>
              <a:gd name="connsiteX1" fmla="*/ 2193023 w 2191162"/>
              <a:gd name="connsiteY1" fmla="*/ 1422 h 622284"/>
              <a:gd name="connsiteX2" fmla="*/ 2193023 w 2191162"/>
              <a:gd name="connsiteY2" fmla="*/ 623706 h 622284"/>
              <a:gd name="connsiteX3" fmla="*/ 1860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422"/>
                </a:moveTo>
                <a:lnTo>
                  <a:pt x="2193023" y="1422"/>
                </a:lnTo>
                <a:lnTo>
                  <a:pt x="2193023" y="623706"/>
                </a:lnTo>
                <a:lnTo>
                  <a:pt x="1860" y="623706"/>
                </a:lnTo>
                <a:close/>
              </a:path>
            </a:pathLst>
          </a:custGeom>
          <a:solidFill>
            <a:srgbClr val="6A00E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6" name="Полилиния 915">
            <a:extLst>
              <a:ext uri="{FF2B5EF4-FFF2-40B4-BE49-F238E27FC236}">
                <a16:creationId xmlns:a16="http://schemas.microsoft.com/office/drawing/2014/main" id="{2AA72E8C-122D-0E5A-0EAD-12397A9D1026}"/>
              </a:ext>
            </a:extLst>
          </p:cNvPr>
          <p:cNvSpPr/>
          <p:nvPr userDrawn="1"/>
        </p:nvSpPr>
        <p:spPr>
          <a:xfrm>
            <a:off x="4142452" y="7418752"/>
            <a:ext cx="2557159" cy="726227"/>
          </a:xfrm>
          <a:custGeom>
            <a:avLst/>
            <a:gdLst>
              <a:gd name="connsiteX0" fmla="*/ 1860 w 2191162"/>
              <a:gd name="connsiteY0" fmla="*/ 1522 h 622284"/>
              <a:gd name="connsiteX1" fmla="*/ 2193023 w 2191162"/>
              <a:gd name="connsiteY1" fmla="*/ 1522 h 622284"/>
              <a:gd name="connsiteX2" fmla="*/ 2193023 w 2191162"/>
              <a:gd name="connsiteY2" fmla="*/ 623806 h 622284"/>
              <a:gd name="connsiteX3" fmla="*/ 1860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522"/>
                </a:moveTo>
                <a:lnTo>
                  <a:pt x="2193023" y="1522"/>
                </a:lnTo>
                <a:lnTo>
                  <a:pt x="2193023" y="623806"/>
                </a:lnTo>
                <a:lnTo>
                  <a:pt x="1860" y="623806"/>
                </a:lnTo>
                <a:close/>
              </a:path>
            </a:pathLst>
          </a:custGeom>
          <a:solidFill>
            <a:srgbClr val="7D32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7" name="Полилиния 916">
            <a:extLst>
              <a:ext uri="{FF2B5EF4-FFF2-40B4-BE49-F238E27FC236}">
                <a16:creationId xmlns:a16="http://schemas.microsoft.com/office/drawing/2014/main" id="{3E467DD8-D230-0F4B-EB02-EDE06FBDC83D}"/>
              </a:ext>
            </a:extLst>
          </p:cNvPr>
          <p:cNvSpPr/>
          <p:nvPr userDrawn="1"/>
        </p:nvSpPr>
        <p:spPr>
          <a:xfrm>
            <a:off x="4265660" y="7720500"/>
            <a:ext cx="712008" cy="128468"/>
          </a:xfrm>
          <a:custGeom>
            <a:avLst/>
            <a:gdLst>
              <a:gd name="connsiteX0" fmla="*/ 22099 w 610101"/>
              <a:gd name="connsiteY0" fmla="*/ 108588 h 110081"/>
              <a:gd name="connsiteX1" fmla="*/ 10147 w 610101"/>
              <a:gd name="connsiteY1" fmla="*/ 108588 h 110081"/>
              <a:gd name="connsiteX2" fmla="*/ 16434 w 610101"/>
              <a:gd name="connsiteY2" fmla="*/ 77661 h 110081"/>
              <a:gd name="connsiteX3" fmla="*/ 0 w 610101"/>
              <a:gd name="connsiteY3" fmla="*/ 77661 h 110081"/>
              <a:gd name="connsiteX4" fmla="*/ 0 w 610101"/>
              <a:gd name="connsiteY4" fmla="*/ 67206 h 110081"/>
              <a:gd name="connsiteX5" fmla="*/ 18675 w 610101"/>
              <a:gd name="connsiteY5" fmla="*/ 67206 h 110081"/>
              <a:gd name="connsiteX6" fmla="*/ 24215 w 610101"/>
              <a:gd name="connsiteY6" fmla="*/ 40012 h 110081"/>
              <a:gd name="connsiteX7" fmla="*/ 4046 w 610101"/>
              <a:gd name="connsiteY7" fmla="*/ 40012 h 110081"/>
              <a:gd name="connsiteX8" fmla="*/ 4046 w 610101"/>
              <a:gd name="connsiteY8" fmla="*/ 29559 h 110081"/>
              <a:gd name="connsiteX9" fmla="*/ 26270 w 610101"/>
              <a:gd name="connsiteY9" fmla="*/ 29559 h 110081"/>
              <a:gd name="connsiteX10" fmla="*/ 32121 w 610101"/>
              <a:gd name="connsiteY10" fmla="*/ 1493 h 110081"/>
              <a:gd name="connsiteX11" fmla="*/ 44073 w 610101"/>
              <a:gd name="connsiteY11" fmla="*/ 1493 h 110081"/>
              <a:gd name="connsiteX12" fmla="*/ 38221 w 610101"/>
              <a:gd name="connsiteY12" fmla="*/ 29559 h 110081"/>
              <a:gd name="connsiteX13" fmla="*/ 60630 w 610101"/>
              <a:gd name="connsiteY13" fmla="*/ 29559 h 110081"/>
              <a:gd name="connsiteX14" fmla="*/ 66482 w 610101"/>
              <a:gd name="connsiteY14" fmla="*/ 1493 h 110081"/>
              <a:gd name="connsiteX15" fmla="*/ 78434 w 610101"/>
              <a:gd name="connsiteY15" fmla="*/ 1493 h 110081"/>
              <a:gd name="connsiteX16" fmla="*/ 72582 w 610101"/>
              <a:gd name="connsiteY16" fmla="*/ 29559 h 110081"/>
              <a:gd name="connsiteX17" fmla="*/ 89328 w 610101"/>
              <a:gd name="connsiteY17" fmla="*/ 29559 h 110081"/>
              <a:gd name="connsiteX18" fmla="*/ 89328 w 610101"/>
              <a:gd name="connsiteY18" fmla="*/ 40012 h 110081"/>
              <a:gd name="connsiteX19" fmla="*/ 70529 w 610101"/>
              <a:gd name="connsiteY19" fmla="*/ 40012 h 110081"/>
              <a:gd name="connsiteX20" fmla="*/ 64988 w 610101"/>
              <a:gd name="connsiteY20" fmla="*/ 67206 h 110081"/>
              <a:gd name="connsiteX21" fmla="*/ 85282 w 610101"/>
              <a:gd name="connsiteY21" fmla="*/ 67206 h 110081"/>
              <a:gd name="connsiteX22" fmla="*/ 85282 w 610101"/>
              <a:gd name="connsiteY22" fmla="*/ 77661 h 110081"/>
              <a:gd name="connsiteX23" fmla="*/ 62747 w 610101"/>
              <a:gd name="connsiteY23" fmla="*/ 77661 h 110081"/>
              <a:gd name="connsiteX24" fmla="*/ 56460 w 610101"/>
              <a:gd name="connsiteY24" fmla="*/ 108588 h 110081"/>
              <a:gd name="connsiteX25" fmla="*/ 44508 w 610101"/>
              <a:gd name="connsiteY25" fmla="*/ 108588 h 110081"/>
              <a:gd name="connsiteX26" fmla="*/ 50795 w 610101"/>
              <a:gd name="connsiteY26" fmla="*/ 77661 h 110081"/>
              <a:gd name="connsiteX27" fmla="*/ 28386 w 610101"/>
              <a:gd name="connsiteY27" fmla="*/ 77661 h 110081"/>
              <a:gd name="connsiteX28" fmla="*/ 22099 w 610101"/>
              <a:gd name="connsiteY28" fmla="*/ 108588 h 110081"/>
              <a:gd name="connsiteX29" fmla="*/ 30627 w 610101"/>
              <a:gd name="connsiteY29" fmla="*/ 67206 h 110081"/>
              <a:gd name="connsiteX30" fmla="*/ 53036 w 610101"/>
              <a:gd name="connsiteY30" fmla="*/ 67206 h 110081"/>
              <a:gd name="connsiteX31" fmla="*/ 58576 w 610101"/>
              <a:gd name="connsiteY31" fmla="*/ 40012 h 110081"/>
              <a:gd name="connsiteX32" fmla="*/ 36167 w 610101"/>
              <a:gd name="connsiteY32" fmla="*/ 40012 h 110081"/>
              <a:gd name="connsiteX33" fmla="*/ 30627 w 610101"/>
              <a:gd name="connsiteY33" fmla="*/ 67206 h 110081"/>
              <a:gd name="connsiteX34" fmla="*/ 170874 w 610101"/>
              <a:gd name="connsiteY34" fmla="*/ 13628 h 110081"/>
              <a:gd name="connsiteX35" fmla="*/ 125432 w 610101"/>
              <a:gd name="connsiteY35" fmla="*/ 108588 h 110081"/>
              <a:gd name="connsiteX36" fmla="*/ 110803 w 610101"/>
              <a:gd name="connsiteY36" fmla="*/ 108588 h 110081"/>
              <a:gd name="connsiteX37" fmla="*/ 156556 w 610101"/>
              <a:gd name="connsiteY37" fmla="*/ 14374 h 110081"/>
              <a:gd name="connsiteX38" fmla="*/ 102026 w 610101"/>
              <a:gd name="connsiteY38" fmla="*/ 14374 h 110081"/>
              <a:gd name="connsiteX39" fmla="*/ 102026 w 610101"/>
              <a:gd name="connsiteY39" fmla="*/ 1493 h 110081"/>
              <a:gd name="connsiteX40" fmla="*/ 170874 w 610101"/>
              <a:gd name="connsiteY40" fmla="*/ 1493 h 110081"/>
              <a:gd name="connsiteX41" fmla="*/ 170874 w 610101"/>
              <a:gd name="connsiteY41" fmla="*/ 13628 h 110081"/>
              <a:gd name="connsiteX42" fmla="*/ 189984 w 610101"/>
              <a:gd name="connsiteY42" fmla="*/ 1493 h 110081"/>
              <a:gd name="connsiteX43" fmla="*/ 225964 w 610101"/>
              <a:gd name="connsiteY43" fmla="*/ 1493 h 110081"/>
              <a:gd name="connsiteX44" fmla="*/ 246008 w 610101"/>
              <a:gd name="connsiteY44" fmla="*/ 4044 h 110081"/>
              <a:gd name="connsiteX45" fmla="*/ 262130 w 610101"/>
              <a:gd name="connsiteY45" fmla="*/ 12383 h 110081"/>
              <a:gd name="connsiteX46" fmla="*/ 272900 w 610101"/>
              <a:gd name="connsiteY46" fmla="*/ 27629 h 110081"/>
              <a:gd name="connsiteX47" fmla="*/ 276759 w 610101"/>
              <a:gd name="connsiteY47" fmla="*/ 51401 h 110081"/>
              <a:gd name="connsiteX48" fmla="*/ 269911 w 610101"/>
              <a:gd name="connsiteY48" fmla="*/ 83075 h 110081"/>
              <a:gd name="connsiteX49" fmla="*/ 251361 w 610101"/>
              <a:gd name="connsiteY49" fmla="*/ 102179 h 110081"/>
              <a:gd name="connsiteX50" fmla="*/ 224345 w 610101"/>
              <a:gd name="connsiteY50" fmla="*/ 108588 h 110081"/>
              <a:gd name="connsiteX51" fmla="*/ 189984 w 610101"/>
              <a:gd name="connsiteY51" fmla="*/ 108588 h 110081"/>
              <a:gd name="connsiteX52" fmla="*/ 189984 w 610101"/>
              <a:gd name="connsiteY52" fmla="*/ 1493 h 110081"/>
              <a:gd name="connsiteX53" fmla="*/ 224345 w 610101"/>
              <a:gd name="connsiteY53" fmla="*/ 95893 h 110081"/>
              <a:gd name="connsiteX54" fmla="*/ 243767 w 610101"/>
              <a:gd name="connsiteY54" fmla="*/ 91413 h 110081"/>
              <a:gd name="connsiteX55" fmla="*/ 256715 w 610101"/>
              <a:gd name="connsiteY55" fmla="*/ 77225 h 110081"/>
              <a:gd name="connsiteX56" fmla="*/ 261508 w 610101"/>
              <a:gd name="connsiteY56" fmla="*/ 52458 h 110081"/>
              <a:gd name="connsiteX57" fmla="*/ 256902 w 610101"/>
              <a:gd name="connsiteY57" fmla="*/ 29122 h 110081"/>
              <a:gd name="connsiteX58" fmla="*/ 244203 w 610101"/>
              <a:gd name="connsiteY58" fmla="*/ 17610 h 110081"/>
              <a:gd name="connsiteX59" fmla="*/ 225964 w 610101"/>
              <a:gd name="connsiteY59" fmla="*/ 14374 h 110081"/>
              <a:gd name="connsiteX60" fmla="*/ 203990 w 610101"/>
              <a:gd name="connsiteY60" fmla="*/ 14374 h 110081"/>
              <a:gd name="connsiteX61" fmla="*/ 203990 w 610101"/>
              <a:gd name="connsiteY61" fmla="*/ 95893 h 110081"/>
              <a:gd name="connsiteX62" fmla="*/ 224345 w 610101"/>
              <a:gd name="connsiteY62" fmla="*/ 95893 h 110081"/>
              <a:gd name="connsiteX63" fmla="*/ 307697 w 610101"/>
              <a:gd name="connsiteY63" fmla="*/ 58992 h 110081"/>
              <a:gd name="connsiteX64" fmla="*/ 307697 w 610101"/>
              <a:gd name="connsiteY64" fmla="*/ 46298 h 110081"/>
              <a:gd name="connsiteX65" fmla="*/ 322014 w 610101"/>
              <a:gd name="connsiteY65" fmla="*/ 46298 h 110081"/>
              <a:gd name="connsiteX66" fmla="*/ 335647 w 610101"/>
              <a:gd name="connsiteY66" fmla="*/ 41817 h 110081"/>
              <a:gd name="connsiteX67" fmla="*/ 341000 w 610101"/>
              <a:gd name="connsiteY67" fmla="*/ 28812 h 110081"/>
              <a:gd name="connsiteX68" fmla="*/ 336082 w 610101"/>
              <a:gd name="connsiteY68" fmla="*/ 16864 h 110081"/>
              <a:gd name="connsiteX69" fmla="*/ 321890 w 610101"/>
              <a:gd name="connsiteY69" fmla="*/ 12383 h 110081"/>
              <a:gd name="connsiteX70" fmla="*/ 307261 w 610101"/>
              <a:gd name="connsiteY70" fmla="*/ 15246 h 110081"/>
              <a:gd name="connsiteX71" fmla="*/ 293193 w 610101"/>
              <a:gd name="connsiteY71" fmla="*/ 24331 h 110081"/>
              <a:gd name="connsiteX72" fmla="*/ 293193 w 610101"/>
              <a:gd name="connsiteY72" fmla="*/ 9707 h 110081"/>
              <a:gd name="connsiteX73" fmla="*/ 322014 w 610101"/>
              <a:gd name="connsiteY73" fmla="*/ 0 h 110081"/>
              <a:gd name="connsiteX74" fmla="*/ 346105 w 610101"/>
              <a:gd name="connsiteY74" fmla="*/ 7779 h 110081"/>
              <a:gd name="connsiteX75" fmla="*/ 354881 w 610101"/>
              <a:gd name="connsiteY75" fmla="*/ 28065 h 110081"/>
              <a:gd name="connsiteX76" fmla="*/ 349217 w 610101"/>
              <a:gd name="connsiteY76" fmla="*/ 44244 h 110081"/>
              <a:gd name="connsiteX77" fmla="*/ 335958 w 610101"/>
              <a:gd name="connsiteY77" fmla="*/ 52147 h 110081"/>
              <a:gd name="connsiteX78" fmla="*/ 347412 w 610101"/>
              <a:gd name="connsiteY78" fmla="*/ 56441 h 110081"/>
              <a:gd name="connsiteX79" fmla="*/ 356127 w 610101"/>
              <a:gd name="connsiteY79" fmla="*/ 65153 h 110081"/>
              <a:gd name="connsiteX80" fmla="*/ 359363 w 610101"/>
              <a:gd name="connsiteY80" fmla="*/ 77661 h 110081"/>
              <a:gd name="connsiteX81" fmla="*/ 354446 w 610101"/>
              <a:gd name="connsiteY81" fmla="*/ 94836 h 110081"/>
              <a:gd name="connsiteX82" fmla="*/ 340875 w 610101"/>
              <a:gd name="connsiteY82" fmla="*/ 106224 h 110081"/>
              <a:gd name="connsiteX83" fmla="*/ 321018 w 610101"/>
              <a:gd name="connsiteY83" fmla="*/ 110082 h 110081"/>
              <a:gd name="connsiteX84" fmla="*/ 290516 w 610101"/>
              <a:gd name="connsiteY84" fmla="*/ 100997 h 110081"/>
              <a:gd name="connsiteX85" fmla="*/ 290516 w 610101"/>
              <a:gd name="connsiteY85" fmla="*/ 86062 h 110081"/>
              <a:gd name="connsiteX86" fmla="*/ 304273 w 610101"/>
              <a:gd name="connsiteY86" fmla="*/ 94711 h 110081"/>
              <a:gd name="connsiteX87" fmla="*/ 321143 w 610101"/>
              <a:gd name="connsiteY87" fmla="*/ 97823 h 110081"/>
              <a:gd name="connsiteX88" fmla="*/ 338448 w 610101"/>
              <a:gd name="connsiteY88" fmla="*/ 92596 h 110081"/>
              <a:gd name="connsiteX89" fmla="*/ 344922 w 610101"/>
              <a:gd name="connsiteY89" fmla="*/ 77972 h 110081"/>
              <a:gd name="connsiteX90" fmla="*/ 339071 w 610101"/>
              <a:gd name="connsiteY90" fmla="*/ 64095 h 110081"/>
              <a:gd name="connsiteX91" fmla="*/ 321454 w 610101"/>
              <a:gd name="connsiteY91" fmla="*/ 58992 h 110081"/>
              <a:gd name="connsiteX92" fmla="*/ 307697 w 610101"/>
              <a:gd name="connsiteY92" fmla="*/ 58992 h 110081"/>
              <a:gd name="connsiteX93" fmla="*/ 440661 w 610101"/>
              <a:gd name="connsiteY93" fmla="*/ 108588 h 110081"/>
              <a:gd name="connsiteX94" fmla="*/ 372374 w 610101"/>
              <a:gd name="connsiteY94" fmla="*/ 108588 h 110081"/>
              <a:gd name="connsiteX95" fmla="*/ 372374 w 610101"/>
              <a:gd name="connsiteY95" fmla="*/ 94400 h 110081"/>
              <a:gd name="connsiteX96" fmla="*/ 398518 w 610101"/>
              <a:gd name="connsiteY96" fmla="*/ 72433 h 110081"/>
              <a:gd name="connsiteX97" fmla="*/ 414516 w 610101"/>
              <a:gd name="connsiteY97" fmla="*/ 56628 h 110081"/>
              <a:gd name="connsiteX98" fmla="*/ 422546 w 610101"/>
              <a:gd name="connsiteY98" fmla="*/ 43933 h 110081"/>
              <a:gd name="connsiteX99" fmla="*/ 424974 w 610101"/>
              <a:gd name="connsiteY99" fmla="*/ 32109 h 110081"/>
              <a:gd name="connsiteX100" fmla="*/ 419433 w 610101"/>
              <a:gd name="connsiteY100" fmla="*/ 17610 h 110081"/>
              <a:gd name="connsiteX101" fmla="*/ 404183 w 610101"/>
              <a:gd name="connsiteY101" fmla="*/ 12383 h 110081"/>
              <a:gd name="connsiteX102" fmla="*/ 375175 w 610101"/>
              <a:gd name="connsiteY102" fmla="*/ 27194 h 110081"/>
              <a:gd name="connsiteX103" fmla="*/ 375175 w 610101"/>
              <a:gd name="connsiteY103" fmla="*/ 12134 h 110081"/>
              <a:gd name="connsiteX104" fmla="*/ 404618 w 610101"/>
              <a:gd name="connsiteY104" fmla="*/ 0 h 110081"/>
              <a:gd name="connsiteX105" fmla="*/ 430016 w 610101"/>
              <a:gd name="connsiteY105" fmla="*/ 8401 h 110081"/>
              <a:gd name="connsiteX106" fmla="*/ 439416 w 610101"/>
              <a:gd name="connsiteY106" fmla="*/ 30803 h 110081"/>
              <a:gd name="connsiteX107" fmla="*/ 437050 w 610101"/>
              <a:gd name="connsiteY107" fmla="*/ 44804 h 110081"/>
              <a:gd name="connsiteX108" fmla="*/ 428958 w 610101"/>
              <a:gd name="connsiteY108" fmla="*/ 58681 h 110081"/>
              <a:gd name="connsiteX109" fmla="*/ 413271 w 610101"/>
              <a:gd name="connsiteY109" fmla="*/ 74860 h 110081"/>
              <a:gd name="connsiteX110" fmla="*/ 387874 w 610101"/>
              <a:gd name="connsiteY110" fmla="*/ 95769 h 110081"/>
              <a:gd name="connsiteX111" fmla="*/ 440661 w 610101"/>
              <a:gd name="connsiteY111" fmla="*/ 95769 h 110081"/>
              <a:gd name="connsiteX112" fmla="*/ 440661 w 610101"/>
              <a:gd name="connsiteY112" fmla="*/ 108588 h 110081"/>
              <a:gd name="connsiteX113" fmla="*/ 459709 w 610101"/>
              <a:gd name="connsiteY113" fmla="*/ 1493 h 110081"/>
              <a:gd name="connsiteX114" fmla="*/ 525132 w 610101"/>
              <a:gd name="connsiteY114" fmla="*/ 1493 h 110081"/>
              <a:gd name="connsiteX115" fmla="*/ 525132 w 610101"/>
              <a:gd name="connsiteY115" fmla="*/ 14374 h 110081"/>
              <a:gd name="connsiteX116" fmla="*/ 473777 w 610101"/>
              <a:gd name="connsiteY116" fmla="*/ 14374 h 110081"/>
              <a:gd name="connsiteX117" fmla="*/ 473777 w 610101"/>
              <a:gd name="connsiteY117" fmla="*/ 49907 h 110081"/>
              <a:gd name="connsiteX118" fmla="*/ 517413 w 610101"/>
              <a:gd name="connsiteY118" fmla="*/ 49907 h 110081"/>
              <a:gd name="connsiteX119" fmla="*/ 517413 w 610101"/>
              <a:gd name="connsiteY119" fmla="*/ 62601 h 110081"/>
              <a:gd name="connsiteX120" fmla="*/ 473777 w 610101"/>
              <a:gd name="connsiteY120" fmla="*/ 62601 h 110081"/>
              <a:gd name="connsiteX121" fmla="*/ 473777 w 610101"/>
              <a:gd name="connsiteY121" fmla="*/ 108588 h 110081"/>
              <a:gd name="connsiteX122" fmla="*/ 459709 w 610101"/>
              <a:gd name="connsiteY122" fmla="*/ 108588 h 110081"/>
              <a:gd name="connsiteX123" fmla="*/ 459709 w 610101"/>
              <a:gd name="connsiteY123" fmla="*/ 1493 h 110081"/>
              <a:gd name="connsiteX124" fmla="*/ 544616 w 610101"/>
              <a:gd name="connsiteY124" fmla="*/ 1493 h 110081"/>
              <a:gd name="connsiteX125" fmla="*/ 610102 w 610101"/>
              <a:gd name="connsiteY125" fmla="*/ 1493 h 110081"/>
              <a:gd name="connsiteX126" fmla="*/ 610102 w 610101"/>
              <a:gd name="connsiteY126" fmla="*/ 14374 h 110081"/>
              <a:gd name="connsiteX127" fmla="*/ 558684 w 610101"/>
              <a:gd name="connsiteY127" fmla="*/ 14374 h 110081"/>
              <a:gd name="connsiteX128" fmla="*/ 558684 w 610101"/>
              <a:gd name="connsiteY128" fmla="*/ 49907 h 110081"/>
              <a:gd name="connsiteX129" fmla="*/ 602321 w 610101"/>
              <a:gd name="connsiteY129" fmla="*/ 49907 h 110081"/>
              <a:gd name="connsiteX130" fmla="*/ 602321 w 610101"/>
              <a:gd name="connsiteY130" fmla="*/ 62601 h 110081"/>
              <a:gd name="connsiteX131" fmla="*/ 558684 w 610101"/>
              <a:gd name="connsiteY131" fmla="*/ 62601 h 110081"/>
              <a:gd name="connsiteX132" fmla="*/ 558684 w 610101"/>
              <a:gd name="connsiteY132" fmla="*/ 108588 h 110081"/>
              <a:gd name="connsiteX133" fmla="*/ 544616 w 610101"/>
              <a:gd name="connsiteY133" fmla="*/ 108588 h 110081"/>
              <a:gd name="connsiteX134" fmla="*/ 544616 w 610101"/>
              <a:gd name="connsiteY13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0101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3628"/>
                </a:moveTo>
                <a:lnTo>
                  <a:pt x="125432" y="108588"/>
                </a:lnTo>
                <a:lnTo>
                  <a:pt x="110803" y="108588"/>
                </a:lnTo>
                <a:lnTo>
                  <a:pt x="156556" y="14374"/>
                </a:lnTo>
                <a:lnTo>
                  <a:pt x="102026" y="14374"/>
                </a:lnTo>
                <a:lnTo>
                  <a:pt x="102026" y="1493"/>
                </a:lnTo>
                <a:lnTo>
                  <a:pt x="170874" y="1493"/>
                </a:lnTo>
                <a:lnTo>
                  <a:pt x="170874" y="13628"/>
                </a:lnTo>
                <a:close/>
                <a:moveTo>
                  <a:pt x="189984" y="1493"/>
                </a:moveTo>
                <a:lnTo>
                  <a:pt x="225964" y="1493"/>
                </a:lnTo>
                <a:cubicBezTo>
                  <a:pt x="233123" y="1493"/>
                  <a:pt x="239783" y="2365"/>
                  <a:pt x="246008" y="4044"/>
                </a:cubicBezTo>
                <a:cubicBezTo>
                  <a:pt x="252171" y="5725"/>
                  <a:pt x="257524" y="8525"/>
                  <a:pt x="262130" y="12383"/>
                </a:cubicBezTo>
                <a:cubicBezTo>
                  <a:pt x="266675" y="16179"/>
                  <a:pt x="270285" y="21282"/>
                  <a:pt x="272900" y="27629"/>
                </a:cubicBezTo>
                <a:cubicBezTo>
                  <a:pt x="275452" y="34039"/>
                  <a:pt x="276759" y="41942"/>
                  <a:pt x="276759" y="51401"/>
                </a:cubicBezTo>
                <a:cubicBezTo>
                  <a:pt x="276759" y="63908"/>
                  <a:pt x="274456" y="74487"/>
                  <a:pt x="269911" y="83075"/>
                </a:cubicBezTo>
                <a:cubicBezTo>
                  <a:pt x="265430" y="91538"/>
                  <a:pt x="259205" y="97885"/>
                  <a:pt x="251361" y="102179"/>
                </a:cubicBezTo>
                <a:cubicBezTo>
                  <a:pt x="243518" y="106473"/>
                  <a:pt x="234492" y="108588"/>
                  <a:pt x="224345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4345" y="95893"/>
                </a:moveTo>
                <a:cubicBezTo>
                  <a:pt x="231691" y="95893"/>
                  <a:pt x="238165" y="94400"/>
                  <a:pt x="243767" y="91413"/>
                </a:cubicBezTo>
                <a:cubicBezTo>
                  <a:pt x="249307" y="88302"/>
                  <a:pt x="253664" y="83572"/>
                  <a:pt x="256715" y="77225"/>
                </a:cubicBezTo>
                <a:cubicBezTo>
                  <a:pt x="259952" y="70754"/>
                  <a:pt x="261508" y="62477"/>
                  <a:pt x="261508" y="52458"/>
                </a:cubicBezTo>
                <a:cubicBezTo>
                  <a:pt x="261508" y="42377"/>
                  <a:pt x="259952" y="34599"/>
                  <a:pt x="256902" y="29122"/>
                </a:cubicBezTo>
                <a:cubicBezTo>
                  <a:pt x="253789" y="23646"/>
                  <a:pt x="249557" y="19851"/>
                  <a:pt x="244203" y="17610"/>
                </a:cubicBezTo>
                <a:cubicBezTo>
                  <a:pt x="238912" y="15433"/>
                  <a:pt x="232811" y="14374"/>
                  <a:pt x="225964" y="14374"/>
                </a:cubicBezTo>
                <a:lnTo>
                  <a:pt x="203990" y="14374"/>
                </a:lnTo>
                <a:lnTo>
                  <a:pt x="203990" y="95893"/>
                </a:lnTo>
                <a:lnTo>
                  <a:pt x="224345" y="95893"/>
                </a:lnTo>
                <a:close/>
                <a:moveTo>
                  <a:pt x="307697" y="58992"/>
                </a:moveTo>
                <a:lnTo>
                  <a:pt x="307697" y="46298"/>
                </a:lnTo>
                <a:lnTo>
                  <a:pt x="322014" y="46298"/>
                </a:lnTo>
                <a:cubicBezTo>
                  <a:pt x="327616" y="46298"/>
                  <a:pt x="332160" y="44804"/>
                  <a:pt x="335647" y="41817"/>
                </a:cubicBezTo>
                <a:cubicBezTo>
                  <a:pt x="339194" y="38768"/>
                  <a:pt x="341000" y="34412"/>
                  <a:pt x="341000" y="28812"/>
                </a:cubicBezTo>
                <a:cubicBezTo>
                  <a:pt x="341000" y="23771"/>
                  <a:pt x="339381" y="19788"/>
                  <a:pt x="336082" y="16864"/>
                </a:cubicBezTo>
                <a:cubicBezTo>
                  <a:pt x="332783" y="13877"/>
                  <a:pt x="328052" y="12383"/>
                  <a:pt x="321890" y="12383"/>
                </a:cubicBezTo>
                <a:cubicBezTo>
                  <a:pt x="316723" y="12383"/>
                  <a:pt x="311806" y="13379"/>
                  <a:pt x="307261" y="15246"/>
                </a:cubicBezTo>
                <a:cubicBezTo>
                  <a:pt x="302779" y="17113"/>
                  <a:pt x="298110" y="20162"/>
                  <a:pt x="293193" y="24331"/>
                </a:cubicBezTo>
                <a:lnTo>
                  <a:pt x="293193" y="9707"/>
                </a:lnTo>
                <a:cubicBezTo>
                  <a:pt x="301160" y="3235"/>
                  <a:pt x="310809" y="0"/>
                  <a:pt x="322014" y="0"/>
                </a:cubicBezTo>
                <a:cubicBezTo>
                  <a:pt x="332285" y="0"/>
                  <a:pt x="340315" y="2613"/>
                  <a:pt x="346105" y="7779"/>
                </a:cubicBezTo>
                <a:cubicBezTo>
                  <a:pt x="351956" y="12943"/>
                  <a:pt x="354881" y="19726"/>
                  <a:pt x="354881" y="28065"/>
                </a:cubicBezTo>
                <a:cubicBezTo>
                  <a:pt x="354881" y="34848"/>
                  <a:pt x="353014" y="40262"/>
                  <a:pt x="349217" y="44244"/>
                </a:cubicBezTo>
                <a:cubicBezTo>
                  <a:pt x="345544" y="48227"/>
                  <a:pt x="341125" y="50840"/>
                  <a:pt x="335958" y="52147"/>
                </a:cubicBezTo>
                <a:cubicBezTo>
                  <a:pt x="340128" y="52707"/>
                  <a:pt x="343925" y="54201"/>
                  <a:pt x="347412" y="56441"/>
                </a:cubicBezTo>
                <a:cubicBezTo>
                  <a:pt x="351022" y="58681"/>
                  <a:pt x="353886" y="61543"/>
                  <a:pt x="356127" y="65153"/>
                </a:cubicBezTo>
                <a:cubicBezTo>
                  <a:pt x="358305" y="68700"/>
                  <a:pt x="359363" y="72869"/>
                  <a:pt x="359363" y="77661"/>
                </a:cubicBezTo>
                <a:cubicBezTo>
                  <a:pt x="359363" y="84257"/>
                  <a:pt x="357745" y="89982"/>
                  <a:pt x="354446" y="94836"/>
                </a:cubicBezTo>
                <a:cubicBezTo>
                  <a:pt x="351147" y="99752"/>
                  <a:pt x="346665" y="103486"/>
                  <a:pt x="340875" y="106224"/>
                </a:cubicBezTo>
                <a:cubicBezTo>
                  <a:pt x="335211" y="108775"/>
                  <a:pt x="328550" y="110082"/>
                  <a:pt x="321018" y="110082"/>
                </a:cubicBezTo>
                <a:cubicBezTo>
                  <a:pt x="307822" y="110082"/>
                  <a:pt x="297675" y="107033"/>
                  <a:pt x="290516" y="100997"/>
                </a:cubicBezTo>
                <a:lnTo>
                  <a:pt x="290516" y="86062"/>
                </a:lnTo>
                <a:cubicBezTo>
                  <a:pt x="294313" y="89733"/>
                  <a:pt x="298857" y="92596"/>
                  <a:pt x="304273" y="94711"/>
                </a:cubicBezTo>
                <a:cubicBezTo>
                  <a:pt x="309626" y="96765"/>
                  <a:pt x="315291" y="97823"/>
                  <a:pt x="321143" y="97823"/>
                </a:cubicBezTo>
                <a:cubicBezTo>
                  <a:pt x="328488" y="97823"/>
                  <a:pt x="334277" y="96080"/>
                  <a:pt x="338448" y="92596"/>
                </a:cubicBezTo>
                <a:cubicBezTo>
                  <a:pt x="342743" y="89048"/>
                  <a:pt x="344922" y="84132"/>
                  <a:pt x="344922" y="77972"/>
                </a:cubicBezTo>
                <a:cubicBezTo>
                  <a:pt x="344922" y="71998"/>
                  <a:pt x="342930" y="67393"/>
                  <a:pt x="339071" y="64095"/>
                </a:cubicBezTo>
                <a:cubicBezTo>
                  <a:pt x="335273" y="60673"/>
                  <a:pt x="329422" y="58992"/>
                  <a:pt x="321454" y="58992"/>
                </a:cubicBezTo>
                <a:lnTo>
                  <a:pt x="307697" y="58992"/>
                </a:lnTo>
                <a:close/>
                <a:moveTo>
                  <a:pt x="440661" y="108588"/>
                </a:moveTo>
                <a:lnTo>
                  <a:pt x="372374" y="108588"/>
                </a:lnTo>
                <a:lnTo>
                  <a:pt x="372374" y="94400"/>
                </a:lnTo>
                <a:cubicBezTo>
                  <a:pt x="383018" y="85812"/>
                  <a:pt x="391733" y="78532"/>
                  <a:pt x="398518" y="72433"/>
                </a:cubicBezTo>
                <a:cubicBezTo>
                  <a:pt x="405365" y="66397"/>
                  <a:pt x="410718" y="61108"/>
                  <a:pt x="414516" y="56628"/>
                </a:cubicBezTo>
                <a:cubicBezTo>
                  <a:pt x="418376" y="52023"/>
                  <a:pt x="421052" y="47791"/>
                  <a:pt x="422546" y="43933"/>
                </a:cubicBezTo>
                <a:cubicBezTo>
                  <a:pt x="424164" y="40012"/>
                  <a:pt x="424974" y="36092"/>
                  <a:pt x="424974" y="32109"/>
                </a:cubicBezTo>
                <a:cubicBezTo>
                  <a:pt x="424974" y="25949"/>
                  <a:pt x="423107" y="21095"/>
                  <a:pt x="419433" y="17610"/>
                </a:cubicBezTo>
                <a:cubicBezTo>
                  <a:pt x="415761" y="14125"/>
                  <a:pt x="410657" y="12383"/>
                  <a:pt x="404183" y="12383"/>
                </a:cubicBezTo>
                <a:cubicBezTo>
                  <a:pt x="393849" y="12383"/>
                  <a:pt x="384139" y="17361"/>
                  <a:pt x="375175" y="27194"/>
                </a:cubicBezTo>
                <a:lnTo>
                  <a:pt x="375175" y="12134"/>
                </a:lnTo>
                <a:cubicBezTo>
                  <a:pt x="383454" y="4044"/>
                  <a:pt x="393289" y="0"/>
                  <a:pt x="404618" y="0"/>
                </a:cubicBezTo>
                <a:cubicBezTo>
                  <a:pt x="415387" y="0"/>
                  <a:pt x="423854" y="2800"/>
                  <a:pt x="430016" y="8401"/>
                </a:cubicBezTo>
                <a:cubicBezTo>
                  <a:pt x="436303" y="13877"/>
                  <a:pt x="439416" y="21344"/>
                  <a:pt x="439416" y="30803"/>
                </a:cubicBezTo>
                <a:cubicBezTo>
                  <a:pt x="439416" y="35657"/>
                  <a:pt x="438669" y="40324"/>
                  <a:pt x="437050" y="44804"/>
                </a:cubicBezTo>
                <a:cubicBezTo>
                  <a:pt x="435556" y="49222"/>
                  <a:pt x="432879" y="53827"/>
                  <a:pt x="428958" y="58681"/>
                </a:cubicBezTo>
                <a:cubicBezTo>
                  <a:pt x="425223" y="63473"/>
                  <a:pt x="419994" y="68887"/>
                  <a:pt x="413271" y="74860"/>
                </a:cubicBezTo>
                <a:cubicBezTo>
                  <a:pt x="406611" y="80835"/>
                  <a:pt x="398145" y="87804"/>
                  <a:pt x="387874" y="95769"/>
                </a:cubicBezTo>
                <a:lnTo>
                  <a:pt x="440661" y="95769"/>
                </a:lnTo>
                <a:lnTo>
                  <a:pt x="440661" y="108588"/>
                </a:lnTo>
                <a:close/>
                <a:moveTo>
                  <a:pt x="459709" y="1493"/>
                </a:moveTo>
                <a:lnTo>
                  <a:pt x="525132" y="1493"/>
                </a:lnTo>
                <a:lnTo>
                  <a:pt x="525132" y="14374"/>
                </a:lnTo>
                <a:lnTo>
                  <a:pt x="473777" y="14374"/>
                </a:lnTo>
                <a:lnTo>
                  <a:pt x="473777" y="49907"/>
                </a:lnTo>
                <a:lnTo>
                  <a:pt x="517413" y="49907"/>
                </a:lnTo>
                <a:lnTo>
                  <a:pt x="517413" y="62601"/>
                </a:lnTo>
                <a:lnTo>
                  <a:pt x="473777" y="62601"/>
                </a:lnTo>
                <a:lnTo>
                  <a:pt x="473777" y="108588"/>
                </a:lnTo>
                <a:lnTo>
                  <a:pt x="459709" y="108588"/>
                </a:lnTo>
                <a:lnTo>
                  <a:pt x="459709" y="1493"/>
                </a:lnTo>
                <a:close/>
                <a:moveTo>
                  <a:pt x="544616" y="1493"/>
                </a:moveTo>
                <a:lnTo>
                  <a:pt x="610102" y="1493"/>
                </a:lnTo>
                <a:lnTo>
                  <a:pt x="610102" y="14374"/>
                </a:lnTo>
                <a:lnTo>
                  <a:pt x="558684" y="14374"/>
                </a:lnTo>
                <a:lnTo>
                  <a:pt x="558684" y="49907"/>
                </a:lnTo>
                <a:lnTo>
                  <a:pt x="602321" y="49907"/>
                </a:lnTo>
                <a:lnTo>
                  <a:pt x="602321" y="62601"/>
                </a:lnTo>
                <a:lnTo>
                  <a:pt x="558684" y="62601"/>
                </a:lnTo>
                <a:lnTo>
                  <a:pt x="558684" y="108588"/>
                </a:lnTo>
                <a:lnTo>
                  <a:pt x="544616" y="108588"/>
                </a:lnTo>
                <a:lnTo>
                  <a:pt x="544616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8" name="Полилиния 917">
            <a:extLst>
              <a:ext uri="{FF2B5EF4-FFF2-40B4-BE49-F238E27FC236}">
                <a16:creationId xmlns:a16="http://schemas.microsoft.com/office/drawing/2014/main" id="{FCD23607-F948-D811-65BB-2FF890A1307B}"/>
              </a:ext>
            </a:extLst>
          </p:cNvPr>
          <p:cNvSpPr/>
          <p:nvPr userDrawn="1"/>
        </p:nvSpPr>
        <p:spPr>
          <a:xfrm>
            <a:off x="4142452" y="8144980"/>
            <a:ext cx="2557159" cy="726227"/>
          </a:xfrm>
          <a:custGeom>
            <a:avLst/>
            <a:gdLst>
              <a:gd name="connsiteX0" fmla="*/ 1860 w 2191162"/>
              <a:gd name="connsiteY0" fmla="*/ 1622 h 622284"/>
              <a:gd name="connsiteX1" fmla="*/ 2193023 w 2191162"/>
              <a:gd name="connsiteY1" fmla="*/ 1622 h 622284"/>
              <a:gd name="connsiteX2" fmla="*/ 2193023 w 2191162"/>
              <a:gd name="connsiteY2" fmla="*/ 623906 h 622284"/>
              <a:gd name="connsiteX3" fmla="*/ 1860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622"/>
                </a:moveTo>
                <a:lnTo>
                  <a:pt x="2193023" y="1622"/>
                </a:lnTo>
                <a:lnTo>
                  <a:pt x="2193023" y="623906"/>
                </a:lnTo>
                <a:lnTo>
                  <a:pt x="1860" y="623906"/>
                </a:lnTo>
                <a:close/>
              </a:path>
            </a:pathLst>
          </a:custGeom>
          <a:solidFill>
            <a:srgbClr val="9B5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9" name="Полилиния 918">
            <a:extLst>
              <a:ext uri="{FF2B5EF4-FFF2-40B4-BE49-F238E27FC236}">
                <a16:creationId xmlns:a16="http://schemas.microsoft.com/office/drawing/2014/main" id="{1747FCC0-6CFD-42E7-1D2C-19846380E24C}"/>
              </a:ext>
            </a:extLst>
          </p:cNvPr>
          <p:cNvSpPr/>
          <p:nvPr userDrawn="1"/>
        </p:nvSpPr>
        <p:spPr>
          <a:xfrm>
            <a:off x="4265660" y="8446726"/>
            <a:ext cx="704454" cy="128468"/>
          </a:xfrm>
          <a:custGeom>
            <a:avLst/>
            <a:gdLst>
              <a:gd name="connsiteX0" fmla="*/ 22099 w 603628"/>
              <a:gd name="connsiteY0" fmla="*/ 108588 h 110081"/>
              <a:gd name="connsiteX1" fmla="*/ 10147 w 603628"/>
              <a:gd name="connsiteY1" fmla="*/ 108588 h 110081"/>
              <a:gd name="connsiteX2" fmla="*/ 16434 w 603628"/>
              <a:gd name="connsiteY2" fmla="*/ 77661 h 110081"/>
              <a:gd name="connsiteX3" fmla="*/ 0 w 603628"/>
              <a:gd name="connsiteY3" fmla="*/ 77661 h 110081"/>
              <a:gd name="connsiteX4" fmla="*/ 0 w 603628"/>
              <a:gd name="connsiteY4" fmla="*/ 67206 h 110081"/>
              <a:gd name="connsiteX5" fmla="*/ 18675 w 603628"/>
              <a:gd name="connsiteY5" fmla="*/ 67206 h 110081"/>
              <a:gd name="connsiteX6" fmla="*/ 24215 w 603628"/>
              <a:gd name="connsiteY6" fmla="*/ 40012 h 110081"/>
              <a:gd name="connsiteX7" fmla="*/ 4046 w 603628"/>
              <a:gd name="connsiteY7" fmla="*/ 40012 h 110081"/>
              <a:gd name="connsiteX8" fmla="*/ 4046 w 603628"/>
              <a:gd name="connsiteY8" fmla="*/ 29559 h 110081"/>
              <a:gd name="connsiteX9" fmla="*/ 26270 w 603628"/>
              <a:gd name="connsiteY9" fmla="*/ 29559 h 110081"/>
              <a:gd name="connsiteX10" fmla="*/ 32121 w 603628"/>
              <a:gd name="connsiteY10" fmla="*/ 1493 h 110081"/>
              <a:gd name="connsiteX11" fmla="*/ 44073 w 603628"/>
              <a:gd name="connsiteY11" fmla="*/ 1493 h 110081"/>
              <a:gd name="connsiteX12" fmla="*/ 38221 w 603628"/>
              <a:gd name="connsiteY12" fmla="*/ 29559 h 110081"/>
              <a:gd name="connsiteX13" fmla="*/ 60630 w 603628"/>
              <a:gd name="connsiteY13" fmla="*/ 29559 h 110081"/>
              <a:gd name="connsiteX14" fmla="*/ 66482 w 603628"/>
              <a:gd name="connsiteY14" fmla="*/ 1493 h 110081"/>
              <a:gd name="connsiteX15" fmla="*/ 78434 w 603628"/>
              <a:gd name="connsiteY15" fmla="*/ 1493 h 110081"/>
              <a:gd name="connsiteX16" fmla="*/ 72582 w 603628"/>
              <a:gd name="connsiteY16" fmla="*/ 29559 h 110081"/>
              <a:gd name="connsiteX17" fmla="*/ 89328 w 603628"/>
              <a:gd name="connsiteY17" fmla="*/ 29559 h 110081"/>
              <a:gd name="connsiteX18" fmla="*/ 89328 w 603628"/>
              <a:gd name="connsiteY18" fmla="*/ 40012 h 110081"/>
              <a:gd name="connsiteX19" fmla="*/ 70529 w 603628"/>
              <a:gd name="connsiteY19" fmla="*/ 40012 h 110081"/>
              <a:gd name="connsiteX20" fmla="*/ 64988 w 603628"/>
              <a:gd name="connsiteY20" fmla="*/ 67206 h 110081"/>
              <a:gd name="connsiteX21" fmla="*/ 85282 w 603628"/>
              <a:gd name="connsiteY21" fmla="*/ 67206 h 110081"/>
              <a:gd name="connsiteX22" fmla="*/ 85282 w 603628"/>
              <a:gd name="connsiteY22" fmla="*/ 77661 h 110081"/>
              <a:gd name="connsiteX23" fmla="*/ 62747 w 603628"/>
              <a:gd name="connsiteY23" fmla="*/ 77661 h 110081"/>
              <a:gd name="connsiteX24" fmla="*/ 56460 w 603628"/>
              <a:gd name="connsiteY24" fmla="*/ 108588 h 110081"/>
              <a:gd name="connsiteX25" fmla="*/ 44508 w 603628"/>
              <a:gd name="connsiteY25" fmla="*/ 108588 h 110081"/>
              <a:gd name="connsiteX26" fmla="*/ 50795 w 603628"/>
              <a:gd name="connsiteY26" fmla="*/ 77661 h 110081"/>
              <a:gd name="connsiteX27" fmla="*/ 28386 w 603628"/>
              <a:gd name="connsiteY27" fmla="*/ 77661 h 110081"/>
              <a:gd name="connsiteX28" fmla="*/ 22099 w 603628"/>
              <a:gd name="connsiteY28" fmla="*/ 108588 h 110081"/>
              <a:gd name="connsiteX29" fmla="*/ 30627 w 603628"/>
              <a:gd name="connsiteY29" fmla="*/ 67206 h 110081"/>
              <a:gd name="connsiteX30" fmla="*/ 53036 w 603628"/>
              <a:gd name="connsiteY30" fmla="*/ 67206 h 110081"/>
              <a:gd name="connsiteX31" fmla="*/ 58576 w 603628"/>
              <a:gd name="connsiteY31" fmla="*/ 40012 h 110081"/>
              <a:gd name="connsiteX32" fmla="*/ 36167 w 603628"/>
              <a:gd name="connsiteY32" fmla="*/ 40012 h 110081"/>
              <a:gd name="connsiteX33" fmla="*/ 30627 w 603628"/>
              <a:gd name="connsiteY33" fmla="*/ 67206 h 110081"/>
              <a:gd name="connsiteX34" fmla="*/ 100221 w 603628"/>
              <a:gd name="connsiteY34" fmla="*/ 35844 h 110081"/>
              <a:gd name="connsiteX35" fmla="*/ 104828 w 603628"/>
              <a:gd name="connsiteY35" fmla="*/ 17051 h 110081"/>
              <a:gd name="connsiteX36" fmla="*/ 117713 w 603628"/>
              <a:gd name="connsiteY36" fmla="*/ 4480 h 110081"/>
              <a:gd name="connsiteX37" fmla="*/ 135765 w 603628"/>
              <a:gd name="connsiteY37" fmla="*/ 0 h 110081"/>
              <a:gd name="connsiteX38" fmla="*/ 157428 w 603628"/>
              <a:gd name="connsiteY38" fmla="*/ 5849 h 110081"/>
              <a:gd name="connsiteX39" fmla="*/ 169504 w 603628"/>
              <a:gd name="connsiteY39" fmla="*/ 21842 h 110081"/>
              <a:gd name="connsiteX40" fmla="*/ 173239 w 603628"/>
              <a:gd name="connsiteY40" fmla="*/ 45426 h 110081"/>
              <a:gd name="connsiteX41" fmla="*/ 168633 w 603628"/>
              <a:gd name="connsiteY41" fmla="*/ 80088 h 110081"/>
              <a:gd name="connsiteX42" fmla="*/ 154315 w 603628"/>
              <a:gd name="connsiteY42" fmla="*/ 102303 h 110081"/>
              <a:gd name="connsiteX43" fmla="*/ 129790 w 603628"/>
              <a:gd name="connsiteY43" fmla="*/ 110082 h 110081"/>
              <a:gd name="connsiteX44" fmla="*/ 106757 w 603628"/>
              <a:gd name="connsiteY44" fmla="*/ 104543 h 110081"/>
              <a:gd name="connsiteX45" fmla="*/ 106757 w 603628"/>
              <a:gd name="connsiteY45" fmla="*/ 91413 h 110081"/>
              <a:gd name="connsiteX46" fmla="*/ 129790 w 603628"/>
              <a:gd name="connsiteY46" fmla="*/ 98010 h 110081"/>
              <a:gd name="connsiteX47" fmla="*/ 145352 w 603628"/>
              <a:gd name="connsiteY47" fmla="*/ 92907 h 110081"/>
              <a:gd name="connsiteX48" fmla="*/ 155062 w 603628"/>
              <a:gd name="connsiteY48" fmla="*/ 79154 h 110081"/>
              <a:gd name="connsiteX49" fmla="*/ 159358 w 603628"/>
              <a:gd name="connsiteY49" fmla="*/ 59739 h 110081"/>
              <a:gd name="connsiteX50" fmla="*/ 148340 w 603628"/>
              <a:gd name="connsiteY50" fmla="*/ 68389 h 110081"/>
              <a:gd name="connsiteX51" fmla="*/ 134396 w 603628"/>
              <a:gd name="connsiteY51" fmla="*/ 71127 h 110081"/>
              <a:gd name="connsiteX52" fmla="*/ 117091 w 603628"/>
              <a:gd name="connsiteY52" fmla="*/ 67082 h 110081"/>
              <a:gd name="connsiteX53" fmla="*/ 104703 w 603628"/>
              <a:gd name="connsiteY53" fmla="*/ 55134 h 110081"/>
              <a:gd name="connsiteX54" fmla="*/ 100221 w 603628"/>
              <a:gd name="connsiteY54" fmla="*/ 35844 h 110081"/>
              <a:gd name="connsiteX55" fmla="*/ 136201 w 603628"/>
              <a:gd name="connsiteY55" fmla="*/ 12134 h 110081"/>
              <a:gd name="connsiteX56" fmla="*/ 125432 w 603628"/>
              <a:gd name="connsiteY56" fmla="*/ 14810 h 110081"/>
              <a:gd name="connsiteX57" fmla="*/ 117401 w 603628"/>
              <a:gd name="connsiteY57" fmla="*/ 22589 h 110081"/>
              <a:gd name="connsiteX58" fmla="*/ 114414 w 603628"/>
              <a:gd name="connsiteY58" fmla="*/ 35532 h 110081"/>
              <a:gd name="connsiteX59" fmla="*/ 117401 w 603628"/>
              <a:gd name="connsiteY59" fmla="*/ 48725 h 110081"/>
              <a:gd name="connsiteX60" fmla="*/ 124996 w 603628"/>
              <a:gd name="connsiteY60" fmla="*/ 56752 h 110081"/>
              <a:gd name="connsiteX61" fmla="*/ 134707 w 603628"/>
              <a:gd name="connsiteY61" fmla="*/ 59428 h 110081"/>
              <a:gd name="connsiteX62" fmla="*/ 151141 w 603628"/>
              <a:gd name="connsiteY62" fmla="*/ 53329 h 110081"/>
              <a:gd name="connsiteX63" fmla="*/ 157863 w 603628"/>
              <a:gd name="connsiteY63" fmla="*/ 35283 h 110081"/>
              <a:gd name="connsiteX64" fmla="*/ 152075 w 603628"/>
              <a:gd name="connsiteY64" fmla="*/ 18544 h 110081"/>
              <a:gd name="connsiteX65" fmla="*/ 136201 w 603628"/>
              <a:gd name="connsiteY65" fmla="*/ 12134 h 110081"/>
              <a:gd name="connsiteX66" fmla="*/ 189984 w 603628"/>
              <a:gd name="connsiteY66" fmla="*/ 1493 h 110081"/>
              <a:gd name="connsiteX67" fmla="*/ 226276 w 603628"/>
              <a:gd name="connsiteY67" fmla="*/ 1493 h 110081"/>
              <a:gd name="connsiteX68" fmla="*/ 252980 w 603628"/>
              <a:gd name="connsiteY68" fmla="*/ 7467 h 110081"/>
              <a:gd name="connsiteX69" fmla="*/ 262255 w 603628"/>
              <a:gd name="connsiteY69" fmla="*/ 27629 h 110081"/>
              <a:gd name="connsiteX70" fmla="*/ 256466 w 603628"/>
              <a:gd name="connsiteY70" fmla="*/ 45116 h 110081"/>
              <a:gd name="connsiteX71" fmla="*/ 240904 w 603628"/>
              <a:gd name="connsiteY71" fmla="*/ 53018 h 110081"/>
              <a:gd name="connsiteX72" fmla="*/ 259703 w 603628"/>
              <a:gd name="connsiteY72" fmla="*/ 60361 h 110081"/>
              <a:gd name="connsiteX73" fmla="*/ 266177 w 603628"/>
              <a:gd name="connsiteY73" fmla="*/ 77661 h 110081"/>
              <a:gd name="connsiteX74" fmla="*/ 260948 w 603628"/>
              <a:gd name="connsiteY74" fmla="*/ 95583 h 110081"/>
              <a:gd name="connsiteX75" fmla="*/ 246568 w 603628"/>
              <a:gd name="connsiteY75" fmla="*/ 105601 h 110081"/>
              <a:gd name="connsiteX76" fmla="*/ 225964 w 603628"/>
              <a:gd name="connsiteY76" fmla="*/ 108588 h 110081"/>
              <a:gd name="connsiteX77" fmla="*/ 189984 w 603628"/>
              <a:gd name="connsiteY77" fmla="*/ 108588 h 110081"/>
              <a:gd name="connsiteX78" fmla="*/ 189984 w 603628"/>
              <a:gd name="connsiteY78" fmla="*/ 1493 h 110081"/>
              <a:gd name="connsiteX79" fmla="*/ 225217 w 603628"/>
              <a:gd name="connsiteY79" fmla="*/ 47231 h 110081"/>
              <a:gd name="connsiteX80" fmla="*/ 241651 w 603628"/>
              <a:gd name="connsiteY80" fmla="*/ 42751 h 110081"/>
              <a:gd name="connsiteX81" fmla="*/ 248063 w 603628"/>
              <a:gd name="connsiteY81" fmla="*/ 28376 h 110081"/>
              <a:gd name="connsiteX82" fmla="*/ 242398 w 603628"/>
              <a:gd name="connsiteY82" fmla="*/ 17361 h 110081"/>
              <a:gd name="connsiteX83" fmla="*/ 226276 w 603628"/>
              <a:gd name="connsiteY83" fmla="*/ 14374 h 110081"/>
              <a:gd name="connsiteX84" fmla="*/ 203990 w 603628"/>
              <a:gd name="connsiteY84" fmla="*/ 14374 h 110081"/>
              <a:gd name="connsiteX85" fmla="*/ 203990 w 603628"/>
              <a:gd name="connsiteY85" fmla="*/ 47231 h 110081"/>
              <a:gd name="connsiteX86" fmla="*/ 225217 w 603628"/>
              <a:gd name="connsiteY86" fmla="*/ 47231 h 110081"/>
              <a:gd name="connsiteX87" fmla="*/ 225964 w 603628"/>
              <a:gd name="connsiteY87" fmla="*/ 95893 h 110081"/>
              <a:gd name="connsiteX88" fmla="*/ 244327 w 603628"/>
              <a:gd name="connsiteY88" fmla="*/ 92035 h 110081"/>
              <a:gd name="connsiteX89" fmla="*/ 251361 w 603628"/>
              <a:gd name="connsiteY89" fmla="*/ 77972 h 110081"/>
              <a:gd name="connsiteX90" fmla="*/ 244763 w 603628"/>
              <a:gd name="connsiteY90" fmla="*/ 63908 h 110081"/>
              <a:gd name="connsiteX91" fmla="*/ 224345 w 603628"/>
              <a:gd name="connsiteY91" fmla="*/ 59926 h 110081"/>
              <a:gd name="connsiteX92" fmla="*/ 203990 w 603628"/>
              <a:gd name="connsiteY92" fmla="*/ 59926 h 110081"/>
              <a:gd name="connsiteX93" fmla="*/ 203990 w 603628"/>
              <a:gd name="connsiteY93" fmla="*/ 95893 h 110081"/>
              <a:gd name="connsiteX94" fmla="*/ 225964 w 603628"/>
              <a:gd name="connsiteY94" fmla="*/ 95893 h 110081"/>
              <a:gd name="connsiteX95" fmla="*/ 310187 w 603628"/>
              <a:gd name="connsiteY95" fmla="*/ 110082 h 110081"/>
              <a:gd name="connsiteX96" fmla="*/ 281614 w 603628"/>
              <a:gd name="connsiteY96" fmla="*/ 102490 h 110081"/>
              <a:gd name="connsiteX97" fmla="*/ 281614 w 603628"/>
              <a:gd name="connsiteY97" fmla="*/ 87804 h 110081"/>
              <a:gd name="connsiteX98" fmla="*/ 294749 w 603628"/>
              <a:gd name="connsiteY98" fmla="*/ 95458 h 110081"/>
              <a:gd name="connsiteX99" fmla="*/ 310187 w 603628"/>
              <a:gd name="connsiteY99" fmla="*/ 97823 h 110081"/>
              <a:gd name="connsiteX100" fmla="*/ 327181 w 603628"/>
              <a:gd name="connsiteY100" fmla="*/ 91102 h 110081"/>
              <a:gd name="connsiteX101" fmla="*/ 333343 w 603628"/>
              <a:gd name="connsiteY101" fmla="*/ 73491 h 110081"/>
              <a:gd name="connsiteX102" fmla="*/ 327368 w 603628"/>
              <a:gd name="connsiteY102" fmla="*/ 56441 h 110081"/>
              <a:gd name="connsiteX103" fmla="*/ 312241 w 603628"/>
              <a:gd name="connsiteY103" fmla="*/ 51089 h 110081"/>
              <a:gd name="connsiteX104" fmla="*/ 301659 w 603628"/>
              <a:gd name="connsiteY104" fmla="*/ 53329 h 110081"/>
              <a:gd name="connsiteX105" fmla="*/ 295496 w 603628"/>
              <a:gd name="connsiteY105" fmla="*/ 57810 h 110081"/>
              <a:gd name="connsiteX106" fmla="*/ 284603 w 603628"/>
              <a:gd name="connsiteY106" fmla="*/ 57810 h 110081"/>
              <a:gd name="connsiteX107" fmla="*/ 284603 w 603628"/>
              <a:gd name="connsiteY107" fmla="*/ 1493 h 110081"/>
              <a:gd name="connsiteX108" fmla="*/ 342556 w 603628"/>
              <a:gd name="connsiteY108" fmla="*/ 1493 h 110081"/>
              <a:gd name="connsiteX109" fmla="*/ 342556 w 603628"/>
              <a:gd name="connsiteY109" fmla="*/ 14374 h 110081"/>
              <a:gd name="connsiteX110" fmla="*/ 296866 w 603628"/>
              <a:gd name="connsiteY110" fmla="*/ 14374 h 110081"/>
              <a:gd name="connsiteX111" fmla="*/ 296866 w 603628"/>
              <a:gd name="connsiteY111" fmla="*/ 44991 h 110081"/>
              <a:gd name="connsiteX112" fmla="*/ 304211 w 603628"/>
              <a:gd name="connsiteY112" fmla="*/ 41071 h 110081"/>
              <a:gd name="connsiteX113" fmla="*/ 314482 w 603628"/>
              <a:gd name="connsiteY113" fmla="*/ 39266 h 110081"/>
              <a:gd name="connsiteX114" fmla="*/ 331227 w 603628"/>
              <a:gd name="connsiteY114" fmla="*/ 43186 h 110081"/>
              <a:gd name="connsiteX115" fmla="*/ 343054 w 603628"/>
              <a:gd name="connsiteY115" fmla="*/ 54512 h 110081"/>
              <a:gd name="connsiteX116" fmla="*/ 347536 w 603628"/>
              <a:gd name="connsiteY116" fmla="*/ 73181 h 110081"/>
              <a:gd name="connsiteX117" fmla="*/ 342868 w 603628"/>
              <a:gd name="connsiteY117" fmla="*/ 92596 h 110081"/>
              <a:gd name="connsiteX118" fmla="*/ 330044 w 603628"/>
              <a:gd name="connsiteY118" fmla="*/ 105601 h 110081"/>
              <a:gd name="connsiteX119" fmla="*/ 310187 w 603628"/>
              <a:gd name="connsiteY119" fmla="*/ 110082 h 110081"/>
              <a:gd name="connsiteX120" fmla="*/ 368390 w 603628"/>
              <a:gd name="connsiteY120" fmla="*/ 1493 h 110081"/>
              <a:gd name="connsiteX121" fmla="*/ 433813 w 603628"/>
              <a:gd name="connsiteY121" fmla="*/ 1493 h 110081"/>
              <a:gd name="connsiteX122" fmla="*/ 433813 w 603628"/>
              <a:gd name="connsiteY122" fmla="*/ 14374 h 110081"/>
              <a:gd name="connsiteX123" fmla="*/ 382458 w 603628"/>
              <a:gd name="connsiteY123" fmla="*/ 14374 h 110081"/>
              <a:gd name="connsiteX124" fmla="*/ 382458 w 603628"/>
              <a:gd name="connsiteY124" fmla="*/ 49907 h 110081"/>
              <a:gd name="connsiteX125" fmla="*/ 426095 w 603628"/>
              <a:gd name="connsiteY125" fmla="*/ 49907 h 110081"/>
              <a:gd name="connsiteX126" fmla="*/ 426095 w 603628"/>
              <a:gd name="connsiteY126" fmla="*/ 62601 h 110081"/>
              <a:gd name="connsiteX127" fmla="*/ 382458 w 603628"/>
              <a:gd name="connsiteY127" fmla="*/ 62601 h 110081"/>
              <a:gd name="connsiteX128" fmla="*/ 382458 w 603628"/>
              <a:gd name="connsiteY128" fmla="*/ 108588 h 110081"/>
              <a:gd name="connsiteX129" fmla="*/ 368390 w 603628"/>
              <a:gd name="connsiteY129" fmla="*/ 108588 h 110081"/>
              <a:gd name="connsiteX130" fmla="*/ 368390 w 603628"/>
              <a:gd name="connsiteY130" fmla="*/ 1493 h 110081"/>
              <a:gd name="connsiteX131" fmla="*/ 453297 w 603628"/>
              <a:gd name="connsiteY131" fmla="*/ 1493 h 110081"/>
              <a:gd name="connsiteX132" fmla="*/ 518721 w 603628"/>
              <a:gd name="connsiteY132" fmla="*/ 1493 h 110081"/>
              <a:gd name="connsiteX133" fmla="*/ 518721 w 603628"/>
              <a:gd name="connsiteY133" fmla="*/ 14374 h 110081"/>
              <a:gd name="connsiteX134" fmla="*/ 467366 w 603628"/>
              <a:gd name="connsiteY134" fmla="*/ 14374 h 110081"/>
              <a:gd name="connsiteX135" fmla="*/ 467366 w 603628"/>
              <a:gd name="connsiteY135" fmla="*/ 49907 h 110081"/>
              <a:gd name="connsiteX136" fmla="*/ 511002 w 603628"/>
              <a:gd name="connsiteY136" fmla="*/ 49907 h 110081"/>
              <a:gd name="connsiteX137" fmla="*/ 511002 w 603628"/>
              <a:gd name="connsiteY137" fmla="*/ 62601 h 110081"/>
              <a:gd name="connsiteX138" fmla="*/ 467366 w 603628"/>
              <a:gd name="connsiteY138" fmla="*/ 62601 h 110081"/>
              <a:gd name="connsiteX139" fmla="*/ 467366 w 603628"/>
              <a:gd name="connsiteY139" fmla="*/ 108588 h 110081"/>
              <a:gd name="connsiteX140" fmla="*/ 453297 w 603628"/>
              <a:gd name="connsiteY140" fmla="*/ 108588 h 110081"/>
              <a:gd name="connsiteX141" fmla="*/ 453297 w 603628"/>
              <a:gd name="connsiteY141" fmla="*/ 1493 h 110081"/>
              <a:gd name="connsiteX142" fmla="*/ 538205 w 603628"/>
              <a:gd name="connsiteY142" fmla="*/ 1493 h 110081"/>
              <a:gd name="connsiteX143" fmla="*/ 603629 w 603628"/>
              <a:gd name="connsiteY143" fmla="*/ 1493 h 110081"/>
              <a:gd name="connsiteX144" fmla="*/ 603629 w 603628"/>
              <a:gd name="connsiteY144" fmla="*/ 14374 h 110081"/>
              <a:gd name="connsiteX145" fmla="*/ 552273 w 603628"/>
              <a:gd name="connsiteY145" fmla="*/ 14374 h 110081"/>
              <a:gd name="connsiteX146" fmla="*/ 552273 w 603628"/>
              <a:gd name="connsiteY146" fmla="*/ 49907 h 110081"/>
              <a:gd name="connsiteX147" fmla="*/ 595909 w 603628"/>
              <a:gd name="connsiteY147" fmla="*/ 49907 h 110081"/>
              <a:gd name="connsiteX148" fmla="*/ 595909 w 603628"/>
              <a:gd name="connsiteY148" fmla="*/ 62601 h 110081"/>
              <a:gd name="connsiteX149" fmla="*/ 552273 w 603628"/>
              <a:gd name="connsiteY149" fmla="*/ 62601 h 110081"/>
              <a:gd name="connsiteX150" fmla="*/ 552273 w 603628"/>
              <a:gd name="connsiteY150" fmla="*/ 108588 h 110081"/>
              <a:gd name="connsiteX151" fmla="*/ 538205 w 603628"/>
              <a:gd name="connsiteY151" fmla="*/ 108588 h 110081"/>
              <a:gd name="connsiteX152" fmla="*/ 538205 w 603628"/>
              <a:gd name="connsiteY15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60362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0221" y="35844"/>
                </a:moveTo>
                <a:cubicBezTo>
                  <a:pt x="100221" y="28687"/>
                  <a:pt x="101778" y="22402"/>
                  <a:pt x="104828" y="17051"/>
                </a:cubicBezTo>
                <a:cubicBezTo>
                  <a:pt x="108003" y="11637"/>
                  <a:pt x="112297" y="7467"/>
                  <a:pt x="117713" y="4480"/>
                </a:cubicBezTo>
                <a:cubicBezTo>
                  <a:pt x="123066" y="1493"/>
                  <a:pt x="129104" y="0"/>
                  <a:pt x="135765" y="0"/>
                </a:cubicBezTo>
                <a:cubicBezTo>
                  <a:pt x="144729" y="0"/>
                  <a:pt x="151950" y="1929"/>
                  <a:pt x="157428" y="5849"/>
                </a:cubicBezTo>
                <a:cubicBezTo>
                  <a:pt x="163030" y="9645"/>
                  <a:pt x="167014" y="14934"/>
                  <a:pt x="169504" y="21842"/>
                </a:cubicBezTo>
                <a:cubicBezTo>
                  <a:pt x="171994" y="28563"/>
                  <a:pt x="173239" y="36466"/>
                  <a:pt x="173239" y="45426"/>
                </a:cubicBezTo>
                <a:cubicBezTo>
                  <a:pt x="173239" y="58868"/>
                  <a:pt x="171745" y="70380"/>
                  <a:pt x="168633" y="80088"/>
                </a:cubicBezTo>
                <a:cubicBezTo>
                  <a:pt x="165521" y="89733"/>
                  <a:pt x="160790" y="97138"/>
                  <a:pt x="154315" y="102303"/>
                </a:cubicBezTo>
                <a:cubicBezTo>
                  <a:pt x="147904" y="107468"/>
                  <a:pt x="139749" y="110082"/>
                  <a:pt x="129790" y="110082"/>
                </a:cubicBezTo>
                <a:cubicBezTo>
                  <a:pt x="120825" y="110082"/>
                  <a:pt x="113169" y="108215"/>
                  <a:pt x="106757" y="104543"/>
                </a:cubicBezTo>
                <a:lnTo>
                  <a:pt x="106757" y="91413"/>
                </a:lnTo>
                <a:cubicBezTo>
                  <a:pt x="113542" y="95769"/>
                  <a:pt x="121199" y="98010"/>
                  <a:pt x="129790" y="98010"/>
                </a:cubicBezTo>
                <a:cubicBezTo>
                  <a:pt x="135952" y="98010"/>
                  <a:pt x="141119" y="96267"/>
                  <a:pt x="145352" y="92907"/>
                </a:cubicBezTo>
                <a:cubicBezTo>
                  <a:pt x="149522" y="89546"/>
                  <a:pt x="152759" y="84941"/>
                  <a:pt x="155062" y="79154"/>
                </a:cubicBezTo>
                <a:cubicBezTo>
                  <a:pt x="157428" y="73367"/>
                  <a:pt x="158859" y="66896"/>
                  <a:pt x="159358" y="59739"/>
                </a:cubicBezTo>
                <a:cubicBezTo>
                  <a:pt x="156307" y="63660"/>
                  <a:pt x="152572" y="66522"/>
                  <a:pt x="148340" y="68389"/>
                </a:cubicBezTo>
                <a:cubicBezTo>
                  <a:pt x="144044" y="70193"/>
                  <a:pt x="139375" y="71127"/>
                  <a:pt x="134396" y="71127"/>
                </a:cubicBezTo>
                <a:cubicBezTo>
                  <a:pt x="128047" y="71127"/>
                  <a:pt x="122257" y="69758"/>
                  <a:pt x="117091" y="67082"/>
                </a:cubicBezTo>
                <a:cubicBezTo>
                  <a:pt x="111923" y="64406"/>
                  <a:pt x="107753" y="60424"/>
                  <a:pt x="104703" y="55134"/>
                </a:cubicBezTo>
                <a:cubicBezTo>
                  <a:pt x="101715" y="49845"/>
                  <a:pt x="100221" y="43435"/>
                  <a:pt x="100221" y="35844"/>
                </a:cubicBezTo>
                <a:close/>
                <a:moveTo>
                  <a:pt x="136201" y="12134"/>
                </a:moveTo>
                <a:cubicBezTo>
                  <a:pt x="132404" y="12134"/>
                  <a:pt x="128856" y="13006"/>
                  <a:pt x="125432" y="14810"/>
                </a:cubicBezTo>
                <a:cubicBezTo>
                  <a:pt x="122195" y="16490"/>
                  <a:pt x="119456" y="19104"/>
                  <a:pt x="117401" y="22589"/>
                </a:cubicBezTo>
                <a:cubicBezTo>
                  <a:pt x="115410" y="25949"/>
                  <a:pt x="114414" y="30305"/>
                  <a:pt x="114414" y="35532"/>
                </a:cubicBezTo>
                <a:cubicBezTo>
                  <a:pt x="114414" y="40759"/>
                  <a:pt x="115410" y="45116"/>
                  <a:pt x="117401" y="48725"/>
                </a:cubicBezTo>
                <a:cubicBezTo>
                  <a:pt x="119394" y="52271"/>
                  <a:pt x="121946" y="54947"/>
                  <a:pt x="124996" y="56752"/>
                </a:cubicBezTo>
                <a:cubicBezTo>
                  <a:pt x="128109" y="58556"/>
                  <a:pt x="131346" y="59428"/>
                  <a:pt x="134707" y="59428"/>
                </a:cubicBezTo>
                <a:cubicBezTo>
                  <a:pt x="141306" y="59428"/>
                  <a:pt x="146784" y="57437"/>
                  <a:pt x="151141" y="53329"/>
                </a:cubicBezTo>
                <a:cubicBezTo>
                  <a:pt x="155622" y="49160"/>
                  <a:pt x="157863" y="43124"/>
                  <a:pt x="157863" y="35283"/>
                </a:cubicBezTo>
                <a:cubicBezTo>
                  <a:pt x="157863" y="28313"/>
                  <a:pt x="155934" y="22713"/>
                  <a:pt x="152075" y="18544"/>
                </a:cubicBezTo>
                <a:cubicBezTo>
                  <a:pt x="148153" y="14250"/>
                  <a:pt x="142862" y="12134"/>
                  <a:pt x="136201" y="12134"/>
                </a:cubicBez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2" y="3484"/>
                  <a:pt x="252980" y="7467"/>
                </a:cubicBezTo>
                <a:cubicBezTo>
                  <a:pt x="259205" y="11450"/>
                  <a:pt x="262255" y="18170"/>
                  <a:pt x="262255" y="27629"/>
                </a:cubicBezTo>
                <a:cubicBezTo>
                  <a:pt x="262255" y="35283"/>
                  <a:pt x="260326" y="41133"/>
                  <a:pt x="256466" y="45116"/>
                </a:cubicBezTo>
                <a:cubicBezTo>
                  <a:pt x="252544" y="48974"/>
                  <a:pt x="247377" y="51649"/>
                  <a:pt x="240904" y="53018"/>
                </a:cubicBezTo>
                <a:cubicBezTo>
                  <a:pt x="249183" y="54014"/>
                  <a:pt x="255470" y="56441"/>
                  <a:pt x="259703" y="60361"/>
                </a:cubicBezTo>
                <a:cubicBezTo>
                  <a:pt x="263998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8" y="95583"/>
                </a:cubicBezTo>
                <a:cubicBezTo>
                  <a:pt x="257462" y="100188"/>
                  <a:pt x="252669" y="103486"/>
                  <a:pt x="246568" y="105601"/>
                </a:cubicBezTo>
                <a:cubicBezTo>
                  <a:pt x="240530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7" y="47231"/>
                </a:moveTo>
                <a:cubicBezTo>
                  <a:pt x="232002" y="47231"/>
                  <a:pt x="237480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8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7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1" y="84755"/>
                  <a:pt x="251361" y="77972"/>
                </a:cubicBezTo>
                <a:cubicBezTo>
                  <a:pt x="251361" y="71189"/>
                  <a:pt x="249183" y="66522"/>
                  <a:pt x="244763" y="63908"/>
                </a:cubicBezTo>
                <a:cubicBezTo>
                  <a:pt x="240530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310187" y="110082"/>
                </a:moveTo>
                <a:cubicBezTo>
                  <a:pt x="298235" y="110082"/>
                  <a:pt x="288711" y="107530"/>
                  <a:pt x="281614" y="102490"/>
                </a:cubicBezTo>
                <a:lnTo>
                  <a:pt x="281614" y="87804"/>
                </a:lnTo>
                <a:cubicBezTo>
                  <a:pt x="285785" y="91226"/>
                  <a:pt x="290205" y="93778"/>
                  <a:pt x="294749" y="95458"/>
                </a:cubicBezTo>
                <a:cubicBezTo>
                  <a:pt x="299356" y="97014"/>
                  <a:pt x="304460" y="97823"/>
                  <a:pt x="310187" y="97823"/>
                </a:cubicBezTo>
                <a:cubicBezTo>
                  <a:pt x="317532" y="97823"/>
                  <a:pt x="323197" y="95583"/>
                  <a:pt x="327181" y="91102"/>
                </a:cubicBezTo>
                <a:cubicBezTo>
                  <a:pt x="331289" y="86621"/>
                  <a:pt x="333343" y="80772"/>
                  <a:pt x="333343" y="73491"/>
                </a:cubicBezTo>
                <a:cubicBezTo>
                  <a:pt x="333343" y="65713"/>
                  <a:pt x="331351" y="60050"/>
                  <a:pt x="327368" y="56441"/>
                </a:cubicBezTo>
                <a:cubicBezTo>
                  <a:pt x="323384" y="52894"/>
                  <a:pt x="318341" y="51089"/>
                  <a:pt x="312241" y="51089"/>
                </a:cubicBezTo>
                <a:cubicBezTo>
                  <a:pt x="307884" y="51089"/>
                  <a:pt x="304335" y="51836"/>
                  <a:pt x="301659" y="53329"/>
                </a:cubicBezTo>
                <a:cubicBezTo>
                  <a:pt x="298982" y="54698"/>
                  <a:pt x="296928" y="56192"/>
                  <a:pt x="295496" y="57810"/>
                </a:cubicBezTo>
                <a:lnTo>
                  <a:pt x="284603" y="57810"/>
                </a:lnTo>
                <a:lnTo>
                  <a:pt x="284603" y="1493"/>
                </a:lnTo>
                <a:lnTo>
                  <a:pt x="342556" y="1493"/>
                </a:lnTo>
                <a:lnTo>
                  <a:pt x="342556" y="14374"/>
                </a:lnTo>
                <a:lnTo>
                  <a:pt x="296866" y="14374"/>
                </a:lnTo>
                <a:lnTo>
                  <a:pt x="296866" y="44991"/>
                </a:lnTo>
                <a:cubicBezTo>
                  <a:pt x="298857" y="43498"/>
                  <a:pt x="301285" y="42190"/>
                  <a:pt x="304211" y="41071"/>
                </a:cubicBezTo>
                <a:cubicBezTo>
                  <a:pt x="307075" y="39888"/>
                  <a:pt x="310498" y="39266"/>
                  <a:pt x="314482" y="39266"/>
                </a:cubicBezTo>
                <a:cubicBezTo>
                  <a:pt x="320644" y="39266"/>
                  <a:pt x="326247" y="40572"/>
                  <a:pt x="331227" y="43186"/>
                </a:cubicBezTo>
                <a:cubicBezTo>
                  <a:pt x="336207" y="45675"/>
                  <a:pt x="340128" y="49471"/>
                  <a:pt x="343054" y="54512"/>
                </a:cubicBezTo>
                <a:cubicBezTo>
                  <a:pt x="346042" y="59490"/>
                  <a:pt x="347536" y="65713"/>
                  <a:pt x="347536" y="73181"/>
                </a:cubicBezTo>
                <a:cubicBezTo>
                  <a:pt x="347536" y="80586"/>
                  <a:pt x="345980" y="87058"/>
                  <a:pt x="342868" y="92596"/>
                </a:cubicBezTo>
                <a:cubicBezTo>
                  <a:pt x="339880" y="98196"/>
                  <a:pt x="335584" y="102490"/>
                  <a:pt x="330044" y="105601"/>
                </a:cubicBezTo>
                <a:cubicBezTo>
                  <a:pt x="324442" y="108588"/>
                  <a:pt x="317844" y="110082"/>
                  <a:pt x="310187" y="110082"/>
                </a:cubicBezTo>
                <a:close/>
                <a:moveTo>
                  <a:pt x="368390" y="1493"/>
                </a:moveTo>
                <a:lnTo>
                  <a:pt x="433813" y="1493"/>
                </a:lnTo>
                <a:lnTo>
                  <a:pt x="433813" y="14374"/>
                </a:lnTo>
                <a:lnTo>
                  <a:pt x="382458" y="14374"/>
                </a:lnTo>
                <a:lnTo>
                  <a:pt x="382458" y="49907"/>
                </a:lnTo>
                <a:lnTo>
                  <a:pt x="426095" y="49907"/>
                </a:lnTo>
                <a:lnTo>
                  <a:pt x="426095" y="62601"/>
                </a:lnTo>
                <a:lnTo>
                  <a:pt x="382458" y="62601"/>
                </a:lnTo>
                <a:lnTo>
                  <a:pt x="382458" y="108588"/>
                </a:lnTo>
                <a:lnTo>
                  <a:pt x="368390" y="108588"/>
                </a:lnTo>
                <a:lnTo>
                  <a:pt x="368390" y="1493"/>
                </a:lnTo>
                <a:close/>
                <a:moveTo>
                  <a:pt x="453297" y="1493"/>
                </a:moveTo>
                <a:lnTo>
                  <a:pt x="518721" y="1493"/>
                </a:lnTo>
                <a:lnTo>
                  <a:pt x="518721" y="14374"/>
                </a:lnTo>
                <a:lnTo>
                  <a:pt x="467366" y="14374"/>
                </a:lnTo>
                <a:lnTo>
                  <a:pt x="467366" y="49907"/>
                </a:lnTo>
                <a:lnTo>
                  <a:pt x="511002" y="49907"/>
                </a:lnTo>
                <a:lnTo>
                  <a:pt x="511002" y="62601"/>
                </a:lnTo>
                <a:lnTo>
                  <a:pt x="467366" y="62601"/>
                </a:lnTo>
                <a:lnTo>
                  <a:pt x="467366" y="108588"/>
                </a:lnTo>
                <a:lnTo>
                  <a:pt x="453297" y="108588"/>
                </a:lnTo>
                <a:lnTo>
                  <a:pt x="453297" y="1493"/>
                </a:lnTo>
                <a:close/>
                <a:moveTo>
                  <a:pt x="538205" y="1493"/>
                </a:moveTo>
                <a:lnTo>
                  <a:pt x="603629" y="1493"/>
                </a:lnTo>
                <a:lnTo>
                  <a:pt x="603629" y="14374"/>
                </a:lnTo>
                <a:lnTo>
                  <a:pt x="552273" y="14374"/>
                </a:lnTo>
                <a:lnTo>
                  <a:pt x="552273" y="49907"/>
                </a:lnTo>
                <a:lnTo>
                  <a:pt x="595909" y="49907"/>
                </a:lnTo>
                <a:lnTo>
                  <a:pt x="595909" y="62601"/>
                </a:lnTo>
                <a:lnTo>
                  <a:pt x="552273" y="62601"/>
                </a:lnTo>
                <a:lnTo>
                  <a:pt x="552273" y="108588"/>
                </a:lnTo>
                <a:lnTo>
                  <a:pt x="538205" y="108588"/>
                </a:lnTo>
                <a:lnTo>
                  <a:pt x="538205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0" name="Полилиния 919">
            <a:extLst>
              <a:ext uri="{FF2B5EF4-FFF2-40B4-BE49-F238E27FC236}">
                <a16:creationId xmlns:a16="http://schemas.microsoft.com/office/drawing/2014/main" id="{FEDA60A3-7CD8-B542-77E8-EB12AF2746F8}"/>
              </a:ext>
            </a:extLst>
          </p:cNvPr>
          <p:cNvSpPr/>
          <p:nvPr userDrawn="1"/>
        </p:nvSpPr>
        <p:spPr>
          <a:xfrm>
            <a:off x="4142452" y="8871205"/>
            <a:ext cx="2557159" cy="726227"/>
          </a:xfrm>
          <a:custGeom>
            <a:avLst/>
            <a:gdLst>
              <a:gd name="connsiteX0" fmla="*/ 1860 w 2191162"/>
              <a:gd name="connsiteY0" fmla="*/ 1722 h 622284"/>
              <a:gd name="connsiteX1" fmla="*/ 2193023 w 2191162"/>
              <a:gd name="connsiteY1" fmla="*/ 1722 h 622284"/>
              <a:gd name="connsiteX2" fmla="*/ 2193023 w 2191162"/>
              <a:gd name="connsiteY2" fmla="*/ 624006 h 622284"/>
              <a:gd name="connsiteX3" fmla="*/ 1860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722"/>
                </a:moveTo>
                <a:lnTo>
                  <a:pt x="2193023" y="1722"/>
                </a:lnTo>
                <a:lnTo>
                  <a:pt x="2193023" y="624006"/>
                </a:lnTo>
                <a:lnTo>
                  <a:pt x="1860" y="624006"/>
                </a:lnTo>
                <a:close/>
              </a:path>
            </a:pathLst>
          </a:custGeom>
          <a:solidFill>
            <a:srgbClr val="B98C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1" name="Полилиния 920">
            <a:extLst>
              <a:ext uri="{FF2B5EF4-FFF2-40B4-BE49-F238E27FC236}">
                <a16:creationId xmlns:a16="http://schemas.microsoft.com/office/drawing/2014/main" id="{EEBD19B5-8CD0-F67B-8D09-C069BB31DD14}"/>
              </a:ext>
            </a:extLst>
          </p:cNvPr>
          <p:cNvSpPr/>
          <p:nvPr userDrawn="1"/>
        </p:nvSpPr>
        <p:spPr>
          <a:xfrm>
            <a:off x="4265660" y="9172951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4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5 w 619003"/>
              <a:gd name="connsiteY6" fmla="*/ 40012 h 110081"/>
              <a:gd name="connsiteX7" fmla="*/ 4046 w 619003"/>
              <a:gd name="connsiteY7" fmla="*/ 40012 h 110081"/>
              <a:gd name="connsiteX8" fmla="*/ 4046 w 619003"/>
              <a:gd name="connsiteY8" fmla="*/ 29559 h 110081"/>
              <a:gd name="connsiteX9" fmla="*/ 26270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1 w 619003"/>
              <a:gd name="connsiteY12" fmla="*/ 29559 h 110081"/>
              <a:gd name="connsiteX13" fmla="*/ 60630 w 619003"/>
              <a:gd name="connsiteY13" fmla="*/ 29559 h 110081"/>
              <a:gd name="connsiteX14" fmla="*/ 66482 w 619003"/>
              <a:gd name="connsiteY14" fmla="*/ 1493 h 110081"/>
              <a:gd name="connsiteX15" fmla="*/ 78434 w 619003"/>
              <a:gd name="connsiteY15" fmla="*/ 1493 h 110081"/>
              <a:gd name="connsiteX16" fmla="*/ 72582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2 w 619003"/>
              <a:gd name="connsiteY21" fmla="*/ 67206 h 110081"/>
              <a:gd name="connsiteX22" fmla="*/ 85282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8 w 619003"/>
              <a:gd name="connsiteY25" fmla="*/ 108588 h 110081"/>
              <a:gd name="connsiteX26" fmla="*/ 50795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7 w 619003"/>
              <a:gd name="connsiteY29" fmla="*/ 67206 h 110081"/>
              <a:gd name="connsiteX30" fmla="*/ 53036 w 619003"/>
              <a:gd name="connsiteY30" fmla="*/ 67206 h 110081"/>
              <a:gd name="connsiteX31" fmla="*/ 58576 w 619003"/>
              <a:gd name="connsiteY31" fmla="*/ 40012 h 110081"/>
              <a:gd name="connsiteX32" fmla="*/ 36167 w 619003"/>
              <a:gd name="connsiteY32" fmla="*/ 40012 h 110081"/>
              <a:gd name="connsiteX33" fmla="*/ 30627 w 619003"/>
              <a:gd name="connsiteY33" fmla="*/ 67206 h 110081"/>
              <a:gd name="connsiteX34" fmla="*/ 107816 w 619003"/>
              <a:gd name="connsiteY34" fmla="*/ 1493 h 110081"/>
              <a:gd name="connsiteX35" fmla="*/ 144106 w 619003"/>
              <a:gd name="connsiteY35" fmla="*/ 1493 h 110081"/>
              <a:gd name="connsiteX36" fmla="*/ 170874 w 619003"/>
              <a:gd name="connsiteY36" fmla="*/ 7467 h 110081"/>
              <a:gd name="connsiteX37" fmla="*/ 180149 w 619003"/>
              <a:gd name="connsiteY37" fmla="*/ 27629 h 110081"/>
              <a:gd name="connsiteX38" fmla="*/ 174297 w 619003"/>
              <a:gd name="connsiteY38" fmla="*/ 45116 h 110081"/>
              <a:gd name="connsiteX39" fmla="*/ 158797 w 619003"/>
              <a:gd name="connsiteY39" fmla="*/ 53018 h 110081"/>
              <a:gd name="connsiteX40" fmla="*/ 177596 w 619003"/>
              <a:gd name="connsiteY40" fmla="*/ 60361 h 110081"/>
              <a:gd name="connsiteX41" fmla="*/ 184008 w 619003"/>
              <a:gd name="connsiteY41" fmla="*/ 77661 h 110081"/>
              <a:gd name="connsiteX42" fmla="*/ 178780 w 619003"/>
              <a:gd name="connsiteY42" fmla="*/ 95583 h 110081"/>
              <a:gd name="connsiteX43" fmla="*/ 164462 w 619003"/>
              <a:gd name="connsiteY43" fmla="*/ 105601 h 110081"/>
              <a:gd name="connsiteX44" fmla="*/ 143857 w 619003"/>
              <a:gd name="connsiteY44" fmla="*/ 108588 h 110081"/>
              <a:gd name="connsiteX45" fmla="*/ 107816 w 619003"/>
              <a:gd name="connsiteY45" fmla="*/ 108588 h 110081"/>
              <a:gd name="connsiteX46" fmla="*/ 107816 w 619003"/>
              <a:gd name="connsiteY46" fmla="*/ 1493 h 110081"/>
              <a:gd name="connsiteX47" fmla="*/ 143110 w 619003"/>
              <a:gd name="connsiteY47" fmla="*/ 47231 h 110081"/>
              <a:gd name="connsiteX48" fmla="*/ 159544 w 619003"/>
              <a:gd name="connsiteY48" fmla="*/ 42751 h 110081"/>
              <a:gd name="connsiteX49" fmla="*/ 165956 w 619003"/>
              <a:gd name="connsiteY49" fmla="*/ 28376 h 110081"/>
              <a:gd name="connsiteX50" fmla="*/ 160291 w 619003"/>
              <a:gd name="connsiteY50" fmla="*/ 17361 h 110081"/>
              <a:gd name="connsiteX51" fmla="*/ 144106 w 619003"/>
              <a:gd name="connsiteY51" fmla="*/ 14374 h 110081"/>
              <a:gd name="connsiteX52" fmla="*/ 121884 w 619003"/>
              <a:gd name="connsiteY52" fmla="*/ 14374 h 110081"/>
              <a:gd name="connsiteX53" fmla="*/ 121884 w 619003"/>
              <a:gd name="connsiteY53" fmla="*/ 47231 h 110081"/>
              <a:gd name="connsiteX54" fmla="*/ 143110 w 619003"/>
              <a:gd name="connsiteY54" fmla="*/ 47231 h 110081"/>
              <a:gd name="connsiteX55" fmla="*/ 143857 w 619003"/>
              <a:gd name="connsiteY55" fmla="*/ 95893 h 110081"/>
              <a:gd name="connsiteX56" fmla="*/ 162221 w 619003"/>
              <a:gd name="connsiteY56" fmla="*/ 92035 h 110081"/>
              <a:gd name="connsiteX57" fmla="*/ 169255 w 619003"/>
              <a:gd name="connsiteY57" fmla="*/ 77972 h 110081"/>
              <a:gd name="connsiteX58" fmla="*/ 162657 w 619003"/>
              <a:gd name="connsiteY58" fmla="*/ 63908 h 110081"/>
              <a:gd name="connsiteX59" fmla="*/ 142177 w 619003"/>
              <a:gd name="connsiteY59" fmla="*/ 59926 h 110081"/>
              <a:gd name="connsiteX60" fmla="*/ 121884 w 619003"/>
              <a:gd name="connsiteY60" fmla="*/ 59926 h 110081"/>
              <a:gd name="connsiteX61" fmla="*/ 121884 w 619003"/>
              <a:gd name="connsiteY61" fmla="*/ 95893 h 110081"/>
              <a:gd name="connsiteX62" fmla="*/ 143857 w 619003"/>
              <a:gd name="connsiteY62" fmla="*/ 95893 h 110081"/>
              <a:gd name="connsiteX63" fmla="*/ 196520 w 619003"/>
              <a:gd name="connsiteY63" fmla="*/ 35844 h 110081"/>
              <a:gd name="connsiteX64" fmla="*/ 201127 w 619003"/>
              <a:gd name="connsiteY64" fmla="*/ 17051 h 110081"/>
              <a:gd name="connsiteX65" fmla="*/ 213950 w 619003"/>
              <a:gd name="connsiteY65" fmla="*/ 4480 h 110081"/>
              <a:gd name="connsiteX66" fmla="*/ 232064 w 619003"/>
              <a:gd name="connsiteY66" fmla="*/ 0 h 110081"/>
              <a:gd name="connsiteX67" fmla="*/ 253727 w 619003"/>
              <a:gd name="connsiteY67" fmla="*/ 5849 h 110081"/>
              <a:gd name="connsiteX68" fmla="*/ 265803 w 619003"/>
              <a:gd name="connsiteY68" fmla="*/ 21842 h 110081"/>
              <a:gd name="connsiteX69" fmla="*/ 269538 w 619003"/>
              <a:gd name="connsiteY69" fmla="*/ 45426 h 110081"/>
              <a:gd name="connsiteX70" fmla="*/ 264932 w 619003"/>
              <a:gd name="connsiteY70" fmla="*/ 80088 h 110081"/>
              <a:gd name="connsiteX71" fmla="*/ 250552 w 619003"/>
              <a:gd name="connsiteY71" fmla="*/ 102303 h 110081"/>
              <a:gd name="connsiteX72" fmla="*/ 226089 w 619003"/>
              <a:gd name="connsiteY72" fmla="*/ 110082 h 110081"/>
              <a:gd name="connsiteX73" fmla="*/ 203056 w 619003"/>
              <a:gd name="connsiteY73" fmla="*/ 104543 h 110081"/>
              <a:gd name="connsiteX74" fmla="*/ 203056 w 619003"/>
              <a:gd name="connsiteY74" fmla="*/ 91413 h 110081"/>
              <a:gd name="connsiteX75" fmla="*/ 226089 w 619003"/>
              <a:gd name="connsiteY75" fmla="*/ 98010 h 110081"/>
              <a:gd name="connsiteX76" fmla="*/ 241589 w 619003"/>
              <a:gd name="connsiteY76" fmla="*/ 92907 h 110081"/>
              <a:gd name="connsiteX77" fmla="*/ 251299 w 619003"/>
              <a:gd name="connsiteY77" fmla="*/ 79154 h 110081"/>
              <a:gd name="connsiteX78" fmla="*/ 255657 w 619003"/>
              <a:gd name="connsiteY78" fmla="*/ 59739 h 110081"/>
              <a:gd name="connsiteX79" fmla="*/ 244576 w 619003"/>
              <a:gd name="connsiteY79" fmla="*/ 68389 h 110081"/>
              <a:gd name="connsiteX80" fmla="*/ 230695 w 619003"/>
              <a:gd name="connsiteY80" fmla="*/ 71127 h 110081"/>
              <a:gd name="connsiteX81" fmla="*/ 213390 w 619003"/>
              <a:gd name="connsiteY81" fmla="*/ 67082 h 110081"/>
              <a:gd name="connsiteX82" fmla="*/ 201002 w 619003"/>
              <a:gd name="connsiteY82" fmla="*/ 55134 h 110081"/>
              <a:gd name="connsiteX83" fmla="*/ 196520 w 619003"/>
              <a:gd name="connsiteY83" fmla="*/ 35844 h 110081"/>
              <a:gd name="connsiteX84" fmla="*/ 232500 w 619003"/>
              <a:gd name="connsiteY84" fmla="*/ 12134 h 110081"/>
              <a:gd name="connsiteX85" fmla="*/ 221731 w 619003"/>
              <a:gd name="connsiteY85" fmla="*/ 14810 h 110081"/>
              <a:gd name="connsiteX86" fmla="*/ 213701 w 619003"/>
              <a:gd name="connsiteY86" fmla="*/ 22589 h 110081"/>
              <a:gd name="connsiteX87" fmla="*/ 210713 w 619003"/>
              <a:gd name="connsiteY87" fmla="*/ 35532 h 110081"/>
              <a:gd name="connsiteX88" fmla="*/ 213701 w 619003"/>
              <a:gd name="connsiteY88" fmla="*/ 48725 h 110081"/>
              <a:gd name="connsiteX89" fmla="*/ 221295 w 619003"/>
              <a:gd name="connsiteY89" fmla="*/ 56752 h 110081"/>
              <a:gd name="connsiteX90" fmla="*/ 231006 w 619003"/>
              <a:gd name="connsiteY90" fmla="*/ 59428 h 110081"/>
              <a:gd name="connsiteX91" fmla="*/ 247440 w 619003"/>
              <a:gd name="connsiteY91" fmla="*/ 53329 h 110081"/>
              <a:gd name="connsiteX92" fmla="*/ 254163 w 619003"/>
              <a:gd name="connsiteY92" fmla="*/ 35283 h 110081"/>
              <a:gd name="connsiteX93" fmla="*/ 248311 w 619003"/>
              <a:gd name="connsiteY93" fmla="*/ 18544 h 110081"/>
              <a:gd name="connsiteX94" fmla="*/ 232500 w 619003"/>
              <a:gd name="connsiteY94" fmla="*/ 12134 h 110081"/>
              <a:gd name="connsiteX95" fmla="*/ 315229 w 619003"/>
              <a:gd name="connsiteY95" fmla="*/ 110082 h 110081"/>
              <a:gd name="connsiteX96" fmla="*/ 296554 w 619003"/>
              <a:gd name="connsiteY96" fmla="*/ 106473 h 110081"/>
              <a:gd name="connsiteX97" fmla="*/ 283856 w 619003"/>
              <a:gd name="connsiteY97" fmla="*/ 96205 h 110081"/>
              <a:gd name="connsiteX98" fmla="*/ 279249 w 619003"/>
              <a:gd name="connsiteY98" fmla="*/ 79777 h 110081"/>
              <a:gd name="connsiteX99" fmla="*/ 284603 w 619003"/>
              <a:gd name="connsiteY99" fmla="*/ 62291 h 110081"/>
              <a:gd name="connsiteX100" fmla="*/ 299418 w 619003"/>
              <a:gd name="connsiteY100" fmla="*/ 51711 h 110081"/>
              <a:gd name="connsiteX101" fmla="*/ 287466 w 619003"/>
              <a:gd name="connsiteY101" fmla="*/ 42564 h 110081"/>
              <a:gd name="connsiteX102" fmla="*/ 283108 w 619003"/>
              <a:gd name="connsiteY102" fmla="*/ 27504 h 110081"/>
              <a:gd name="connsiteX103" fmla="*/ 287279 w 619003"/>
              <a:gd name="connsiteY103" fmla="*/ 12570 h 110081"/>
              <a:gd name="connsiteX104" fmla="*/ 298795 w 619003"/>
              <a:gd name="connsiteY104" fmla="*/ 3298 h 110081"/>
              <a:gd name="connsiteX105" fmla="*/ 315229 w 619003"/>
              <a:gd name="connsiteY105" fmla="*/ 186 h 110081"/>
              <a:gd name="connsiteX106" fmla="*/ 331351 w 619003"/>
              <a:gd name="connsiteY106" fmla="*/ 3298 h 110081"/>
              <a:gd name="connsiteX107" fmla="*/ 342743 w 619003"/>
              <a:gd name="connsiteY107" fmla="*/ 12259 h 110081"/>
              <a:gd name="connsiteX108" fmla="*/ 347038 w 619003"/>
              <a:gd name="connsiteY108" fmla="*/ 27194 h 110081"/>
              <a:gd name="connsiteX109" fmla="*/ 342556 w 619003"/>
              <a:gd name="connsiteY109" fmla="*/ 42439 h 110081"/>
              <a:gd name="connsiteX110" fmla="*/ 330791 w 619003"/>
              <a:gd name="connsiteY110" fmla="*/ 51711 h 110081"/>
              <a:gd name="connsiteX111" fmla="*/ 345109 w 619003"/>
              <a:gd name="connsiteY111" fmla="*/ 61855 h 110081"/>
              <a:gd name="connsiteX112" fmla="*/ 350649 w 619003"/>
              <a:gd name="connsiteY112" fmla="*/ 79341 h 110081"/>
              <a:gd name="connsiteX113" fmla="*/ 346042 w 619003"/>
              <a:gd name="connsiteY113" fmla="*/ 95893 h 110081"/>
              <a:gd name="connsiteX114" fmla="*/ 333343 w 619003"/>
              <a:gd name="connsiteY114" fmla="*/ 106473 h 110081"/>
              <a:gd name="connsiteX115" fmla="*/ 315229 w 619003"/>
              <a:gd name="connsiteY115" fmla="*/ 110082 h 110081"/>
              <a:gd name="connsiteX116" fmla="*/ 315229 w 619003"/>
              <a:gd name="connsiteY116" fmla="*/ 46298 h 110081"/>
              <a:gd name="connsiteX117" fmla="*/ 328239 w 619003"/>
              <a:gd name="connsiteY117" fmla="*/ 41817 h 110081"/>
              <a:gd name="connsiteX118" fmla="*/ 333468 w 619003"/>
              <a:gd name="connsiteY118" fmla="*/ 29122 h 110081"/>
              <a:gd name="connsiteX119" fmla="*/ 328239 w 619003"/>
              <a:gd name="connsiteY119" fmla="*/ 16615 h 110081"/>
              <a:gd name="connsiteX120" fmla="*/ 315229 w 619003"/>
              <a:gd name="connsiteY120" fmla="*/ 11947 h 110081"/>
              <a:gd name="connsiteX121" fmla="*/ 301970 w 619003"/>
              <a:gd name="connsiteY121" fmla="*/ 16615 h 110081"/>
              <a:gd name="connsiteX122" fmla="*/ 296741 w 619003"/>
              <a:gd name="connsiteY122" fmla="*/ 29122 h 110081"/>
              <a:gd name="connsiteX123" fmla="*/ 301970 w 619003"/>
              <a:gd name="connsiteY123" fmla="*/ 41817 h 110081"/>
              <a:gd name="connsiteX124" fmla="*/ 315229 w 619003"/>
              <a:gd name="connsiteY124" fmla="*/ 46298 h 110081"/>
              <a:gd name="connsiteX125" fmla="*/ 315229 w 619003"/>
              <a:gd name="connsiteY125" fmla="*/ 98258 h 110081"/>
              <a:gd name="connsiteX126" fmla="*/ 330604 w 619003"/>
              <a:gd name="connsiteY126" fmla="*/ 92907 h 110081"/>
              <a:gd name="connsiteX127" fmla="*/ 336891 w 619003"/>
              <a:gd name="connsiteY127" fmla="*/ 77536 h 110081"/>
              <a:gd name="connsiteX128" fmla="*/ 330604 w 619003"/>
              <a:gd name="connsiteY128" fmla="*/ 62291 h 110081"/>
              <a:gd name="connsiteX129" fmla="*/ 315229 w 619003"/>
              <a:gd name="connsiteY129" fmla="*/ 56752 h 110081"/>
              <a:gd name="connsiteX130" fmla="*/ 299231 w 619003"/>
              <a:gd name="connsiteY130" fmla="*/ 62291 h 110081"/>
              <a:gd name="connsiteX131" fmla="*/ 293006 w 619003"/>
              <a:gd name="connsiteY131" fmla="*/ 77536 h 110081"/>
              <a:gd name="connsiteX132" fmla="*/ 299231 w 619003"/>
              <a:gd name="connsiteY132" fmla="*/ 92907 h 110081"/>
              <a:gd name="connsiteX133" fmla="*/ 315229 w 619003"/>
              <a:gd name="connsiteY133" fmla="*/ 98258 h 110081"/>
              <a:gd name="connsiteX134" fmla="*/ 414889 w 619003"/>
              <a:gd name="connsiteY134" fmla="*/ 110082 h 110081"/>
              <a:gd name="connsiteX135" fmla="*/ 387064 w 619003"/>
              <a:gd name="connsiteY135" fmla="*/ 103486 h 110081"/>
              <a:gd name="connsiteX136" fmla="*/ 368700 w 619003"/>
              <a:gd name="connsiteY136" fmla="*/ 84693 h 110081"/>
              <a:gd name="connsiteX137" fmla="*/ 362102 w 619003"/>
              <a:gd name="connsiteY137" fmla="*/ 55134 h 110081"/>
              <a:gd name="connsiteX138" fmla="*/ 375735 w 619003"/>
              <a:gd name="connsiteY138" fmla="*/ 14810 h 110081"/>
              <a:gd name="connsiteX139" fmla="*/ 414579 w 619003"/>
              <a:gd name="connsiteY139" fmla="*/ 186 h 110081"/>
              <a:gd name="connsiteX140" fmla="*/ 432506 w 619003"/>
              <a:gd name="connsiteY140" fmla="*/ 2240 h 110081"/>
              <a:gd name="connsiteX141" fmla="*/ 447135 w 619003"/>
              <a:gd name="connsiteY141" fmla="*/ 7902 h 110081"/>
              <a:gd name="connsiteX142" fmla="*/ 447135 w 619003"/>
              <a:gd name="connsiteY142" fmla="*/ 21344 h 110081"/>
              <a:gd name="connsiteX143" fmla="*/ 432070 w 619003"/>
              <a:gd name="connsiteY143" fmla="*/ 15121 h 110081"/>
              <a:gd name="connsiteX144" fmla="*/ 414392 w 619003"/>
              <a:gd name="connsiteY144" fmla="*/ 12881 h 110081"/>
              <a:gd name="connsiteX145" fmla="*/ 386504 w 619003"/>
              <a:gd name="connsiteY145" fmla="*/ 23459 h 110081"/>
              <a:gd name="connsiteX146" fmla="*/ 377353 w 619003"/>
              <a:gd name="connsiteY146" fmla="*/ 55134 h 110081"/>
              <a:gd name="connsiteX147" fmla="*/ 387251 w 619003"/>
              <a:gd name="connsiteY147" fmla="*/ 86933 h 110081"/>
              <a:gd name="connsiteX148" fmla="*/ 416073 w 619003"/>
              <a:gd name="connsiteY148" fmla="*/ 97387 h 110081"/>
              <a:gd name="connsiteX149" fmla="*/ 447135 w 619003"/>
              <a:gd name="connsiteY149" fmla="*/ 87555 h 110081"/>
              <a:gd name="connsiteX150" fmla="*/ 447135 w 619003"/>
              <a:gd name="connsiteY150" fmla="*/ 100997 h 110081"/>
              <a:gd name="connsiteX151" fmla="*/ 433253 w 619003"/>
              <a:gd name="connsiteY151" fmla="*/ 107717 h 110081"/>
              <a:gd name="connsiteX152" fmla="*/ 414889 w 619003"/>
              <a:gd name="connsiteY152" fmla="*/ 110082 h 110081"/>
              <a:gd name="connsiteX153" fmla="*/ 468610 w 619003"/>
              <a:gd name="connsiteY153" fmla="*/ 1493 h 110081"/>
              <a:gd name="connsiteX154" fmla="*/ 534034 w 619003"/>
              <a:gd name="connsiteY154" fmla="*/ 1493 h 110081"/>
              <a:gd name="connsiteX155" fmla="*/ 534034 w 619003"/>
              <a:gd name="connsiteY155" fmla="*/ 14374 h 110081"/>
              <a:gd name="connsiteX156" fmla="*/ 482679 w 619003"/>
              <a:gd name="connsiteY156" fmla="*/ 14374 h 110081"/>
              <a:gd name="connsiteX157" fmla="*/ 482679 w 619003"/>
              <a:gd name="connsiteY157" fmla="*/ 49907 h 110081"/>
              <a:gd name="connsiteX158" fmla="*/ 526315 w 619003"/>
              <a:gd name="connsiteY158" fmla="*/ 49907 h 110081"/>
              <a:gd name="connsiteX159" fmla="*/ 526315 w 619003"/>
              <a:gd name="connsiteY159" fmla="*/ 62601 h 110081"/>
              <a:gd name="connsiteX160" fmla="*/ 482679 w 619003"/>
              <a:gd name="connsiteY160" fmla="*/ 62601 h 110081"/>
              <a:gd name="connsiteX161" fmla="*/ 482679 w 619003"/>
              <a:gd name="connsiteY161" fmla="*/ 108588 h 110081"/>
              <a:gd name="connsiteX162" fmla="*/ 468610 w 619003"/>
              <a:gd name="connsiteY162" fmla="*/ 108588 h 110081"/>
              <a:gd name="connsiteX163" fmla="*/ 468610 w 619003"/>
              <a:gd name="connsiteY163" fmla="*/ 1493 h 110081"/>
              <a:gd name="connsiteX164" fmla="*/ 553518 w 619003"/>
              <a:gd name="connsiteY164" fmla="*/ 1493 h 110081"/>
              <a:gd name="connsiteX165" fmla="*/ 619004 w 619003"/>
              <a:gd name="connsiteY165" fmla="*/ 1493 h 110081"/>
              <a:gd name="connsiteX166" fmla="*/ 619004 w 619003"/>
              <a:gd name="connsiteY166" fmla="*/ 14374 h 110081"/>
              <a:gd name="connsiteX167" fmla="*/ 567586 w 619003"/>
              <a:gd name="connsiteY167" fmla="*/ 14374 h 110081"/>
              <a:gd name="connsiteX168" fmla="*/ 567586 w 619003"/>
              <a:gd name="connsiteY168" fmla="*/ 49907 h 110081"/>
              <a:gd name="connsiteX169" fmla="*/ 611223 w 619003"/>
              <a:gd name="connsiteY169" fmla="*/ 49907 h 110081"/>
              <a:gd name="connsiteX170" fmla="*/ 611223 w 619003"/>
              <a:gd name="connsiteY170" fmla="*/ 62601 h 110081"/>
              <a:gd name="connsiteX171" fmla="*/ 567586 w 619003"/>
              <a:gd name="connsiteY171" fmla="*/ 62601 h 110081"/>
              <a:gd name="connsiteX172" fmla="*/ 567586 w 619003"/>
              <a:gd name="connsiteY172" fmla="*/ 108588 h 110081"/>
              <a:gd name="connsiteX173" fmla="*/ 553518 w 619003"/>
              <a:gd name="connsiteY173" fmla="*/ 108588 h 110081"/>
              <a:gd name="connsiteX174" fmla="*/ 553518 w 619003"/>
              <a:gd name="connsiteY17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44106" y="1493"/>
                </a:lnTo>
                <a:cubicBezTo>
                  <a:pt x="155872" y="1493"/>
                  <a:pt x="164774" y="3484"/>
                  <a:pt x="170874" y="7467"/>
                </a:cubicBezTo>
                <a:cubicBezTo>
                  <a:pt x="177036" y="11450"/>
                  <a:pt x="180149" y="18170"/>
                  <a:pt x="180149" y="27629"/>
                </a:cubicBezTo>
                <a:cubicBezTo>
                  <a:pt x="180149" y="35283"/>
                  <a:pt x="178219" y="41133"/>
                  <a:pt x="174297" y="45116"/>
                </a:cubicBezTo>
                <a:cubicBezTo>
                  <a:pt x="170438" y="48974"/>
                  <a:pt x="165271" y="51649"/>
                  <a:pt x="158797" y="53018"/>
                </a:cubicBezTo>
                <a:cubicBezTo>
                  <a:pt x="167014" y="54014"/>
                  <a:pt x="173302" y="56441"/>
                  <a:pt x="177596" y="60361"/>
                </a:cubicBezTo>
                <a:cubicBezTo>
                  <a:pt x="181892" y="64157"/>
                  <a:pt x="184008" y="69882"/>
                  <a:pt x="184008" y="77661"/>
                </a:cubicBezTo>
                <a:cubicBezTo>
                  <a:pt x="184008" y="85066"/>
                  <a:pt x="182265" y="91040"/>
                  <a:pt x="178780" y="95583"/>
                </a:cubicBezTo>
                <a:cubicBezTo>
                  <a:pt x="175293" y="100188"/>
                  <a:pt x="170500" y="103486"/>
                  <a:pt x="164462" y="105601"/>
                </a:cubicBezTo>
                <a:cubicBezTo>
                  <a:pt x="158362" y="107592"/>
                  <a:pt x="151514" y="108588"/>
                  <a:pt x="143857" y="108588"/>
                </a:cubicBez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43110" y="47231"/>
                </a:moveTo>
                <a:cubicBezTo>
                  <a:pt x="149834" y="47231"/>
                  <a:pt x="155312" y="45738"/>
                  <a:pt x="159544" y="42751"/>
                </a:cubicBezTo>
                <a:cubicBezTo>
                  <a:pt x="163777" y="39639"/>
                  <a:pt x="165956" y="34848"/>
                  <a:pt x="165956" y="28376"/>
                </a:cubicBezTo>
                <a:cubicBezTo>
                  <a:pt x="165956" y="22900"/>
                  <a:pt x="164027" y="19228"/>
                  <a:pt x="160291" y="17361"/>
                </a:cubicBezTo>
                <a:cubicBezTo>
                  <a:pt x="156494" y="15370"/>
                  <a:pt x="151078" y="14374"/>
                  <a:pt x="144106" y="14374"/>
                </a:cubicBezTo>
                <a:lnTo>
                  <a:pt x="121884" y="14374"/>
                </a:lnTo>
                <a:lnTo>
                  <a:pt x="121884" y="47231"/>
                </a:lnTo>
                <a:lnTo>
                  <a:pt x="143110" y="47231"/>
                </a:lnTo>
                <a:close/>
                <a:moveTo>
                  <a:pt x="143857" y="95893"/>
                </a:moveTo>
                <a:cubicBezTo>
                  <a:pt x="151390" y="95893"/>
                  <a:pt x="157552" y="94587"/>
                  <a:pt x="162221" y="92035"/>
                </a:cubicBezTo>
                <a:cubicBezTo>
                  <a:pt x="166890" y="89422"/>
                  <a:pt x="169255" y="84755"/>
                  <a:pt x="169255" y="77972"/>
                </a:cubicBezTo>
                <a:cubicBezTo>
                  <a:pt x="169255" y="71189"/>
                  <a:pt x="167014" y="66522"/>
                  <a:pt x="162657" y="63908"/>
                </a:cubicBezTo>
                <a:cubicBezTo>
                  <a:pt x="158362" y="61233"/>
                  <a:pt x="151577" y="59926"/>
                  <a:pt x="142177" y="59926"/>
                </a:cubicBezTo>
                <a:lnTo>
                  <a:pt x="121884" y="59926"/>
                </a:lnTo>
                <a:lnTo>
                  <a:pt x="121884" y="95893"/>
                </a:lnTo>
                <a:lnTo>
                  <a:pt x="143857" y="95893"/>
                </a:lnTo>
                <a:close/>
                <a:moveTo>
                  <a:pt x="196520" y="35844"/>
                </a:moveTo>
                <a:cubicBezTo>
                  <a:pt x="196520" y="28687"/>
                  <a:pt x="198014" y="22402"/>
                  <a:pt x="201127" y="17051"/>
                </a:cubicBezTo>
                <a:cubicBezTo>
                  <a:pt x="204301" y="11637"/>
                  <a:pt x="208596" y="7467"/>
                  <a:pt x="213950" y="4480"/>
                </a:cubicBezTo>
                <a:cubicBezTo>
                  <a:pt x="219365" y="1493"/>
                  <a:pt x="225404" y="0"/>
                  <a:pt x="232064" y="0"/>
                </a:cubicBezTo>
                <a:cubicBezTo>
                  <a:pt x="241029" y="0"/>
                  <a:pt x="248249" y="1929"/>
                  <a:pt x="253727" y="5849"/>
                </a:cubicBezTo>
                <a:cubicBezTo>
                  <a:pt x="259267" y="9645"/>
                  <a:pt x="263313" y="14934"/>
                  <a:pt x="265803" y="21842"/>
                </a:cubicBezTo>
                <a:cubicBezTo>
                  <a:pt x="268294" y="28563"/>
                  <a:pt x="269538" y="36466"/>
                  <a:pt x="269538" y="45426"/>
                </a:cubicBezTo>
                <a:cubicBezTo>
                  <a:pt x="269538" y="58868"/>
                  <a:pt x="267982" y="70380"/>
                  <a:pt x="264932" y="80088"/>
                </a:cubicBezTo>
                <a:cubicBezTo>
                  <a:pt x="261819" y="89733"/>
                  <a:pt x="257026" y="97138"/>
                  <a:pt x="250552" y="102303"/>
                </a:cubicBezTo>
                <a:cubicBezTo>
                  <a:pt x="244203" y="107468"/>
                  <a:pt x="236048" y="110082"/>
                  <a:pt x="226089" y="110082"/>
                </a:cubicBezTo>
                <a:cubicBezTo>
                  <a:pt x="217124" y="110082"/>
                  <a:pt x="209468" y="108215"/>
                  <a:pt x="203056" y="104543"/>
                </a:cubicBezTo>
                <a:lnTo>
                  <a:pt x="203056" y="91413"/>
                </a:lnTo>
                <a:cubicBezTo>
                  <a:pt x="209842" y="95769"/>
                  <a:pt x="217498" y="98010"/>
                  <a:pt x="226089" y="98010"/>
                </a:cubicBezTo>
                <a:cubicBezTo>
                  <a:pt x="232251" y="98010"/>
                  <a:pt x="237418" y="96267"/>
                  <a:pt x="241589" y="92907"/>
                </a:cubicBezTo>
                <a:cubicBezTo>
                  <a:pt x="245821" y="89546"/>
                  <a:pt x="249058" y="84941"/>
                  <a:pt x="251299" y="79154"/>
                </a:cubicBezTo>
                <a:cubicBezTo>
                  <a:pt x="253727" y="73367"/>
                  <a:pt x="255158" y="66896"/>
                  <a:pt x="255657" y="59739"/>
                </a:cubicBezTo>
                <a:cubicBezTo>
                  <a:pt x="252544" y="63660"/>
                  <a:pt x="248871" y="66522"/>
                  <a:pt x="244576" y="68389"/>
                </a:cubicBezTo>
                <a:cubicBezTo>
                  <a:pt x="240343" y="70193"/>
                  <a:pt x="235674" y="71127"/>
                  <a:pt x="230695" y="71127"/>
                </a:cubicBezTo>
                <a:cubicBezTo>
                  <a:pt x="224345" y="71127"/>
                  <a:pt x="218556" y="69758"/>
                  <a:pt x="213390" y="67082"/>
                </a:cubicBezTo>
                <a:cubicBezTo>
                  <a:pt x="208223" y="64406"/>
                  <a:pt x="204052" y="60424"/>
                  <a:pt x="201002" y="55134"/>
                </a:cubicBezTo>
                <a:cubicBezTo>
                  <a:pt x="198014" y="49845"/>
                  <a:pt x="196520" y="43435"/>
                  <a:pt x="196520" y="35844"/>
                </a:cubicBezTo>
                <a:close/>
                <a:moveTo>
                  <a:pt x="232500" y="12134"/>
                </a:moveTo>
                <a:cubicBezTo>
                  <a:pt x="228703" y="12134"/>
                  <a:pt x="225155" y="13006"/>
                  <a:pt x="221731" y="14810"/>
                </a:cubicBezTo>
                <a:cubicBezTo>
                  <a:pt x="218432" y="16490"/>
                  <a:pt x="215755" y="19104"/>
                  <a:pt x="213701" y="22589"/>
                </a:cubicBezTo>
                <a:cubicBezTo>
                  <a:pt x="211709" y="25949"/>
                  <a:pt x="210713" y="30305"/>
                  <a:pt x="210713" y="35532"/>
                </a:cubicBezTo>
                <a:cubicBezTo>
                  <a:pt x="210713" y="40759"/>
                  <a:pt x="211709" y="45116"/>
                  <a:pt x="213701" y="48725"/>
                </a:cubicBezTo>
                <a:cubicBezTo>
                  <a:pt x="215693" y="52271"/>
                  <a:pt x="218183" y="54947"/>
                  <a:pt x="221295" y="56752"/>
                </a:cubicBezTo>
                <a:cubicBezTo>
                  <a:pt x="224408" y="58556"/>
                  <a:pt x="227645" y="59428"/>
                  <a:pt x="231006" y="59428"/>
                </a:cubicBezTo>
                <a:cubicBezTo>
                  <a:pt x="237605" y="59428"/>
                  <a:pt x="243082" y="57437"/>
                  <a:pt x="247440" y="53329"/>
                </a:cubicBezTo>
                <a:cubicBezTo>
                  <a:pt x="251922" y="49160"/>
                  <a:pt x="254163" y="43124"/>
                  <a:pt x="254163" y="35283"/>
                </a:cubicBezTo>
                <a:cubicBezTo>
                  <a:pt x="254163" y="28313"/>
                  <a:pt x="252233" y="22713"/>
                  <a:pt x="248311" y="18544"/>
                </a:cubicBezTo>
                <a:cubicBezTo>
                  <a:pt x="244452" y="14250"/>
                  <a:pt x="239161" y="12134"/>
                  <a:pt x="232500" y="12134"/>
                </a:cubicBezTo>
                <a:close/>
                <a:moveTo>
                  <a:pt x="315229" y="110082"/>
                </a:moveTo>
                <a:cubicBezTo>
                  <a:pt x="308257" y="110082"/>
                  <a:pt x="302032" y="108900"/>
                  <a:pt x="296554" y="106473"/>
                </a:cubicBezTo>
                <a:cubicBezTo>
                  <a:pt x="291201" y="104108"/>
                  <a:pt x="286968" y="100685"/>
                  <a:pt x="283856" y="96205"/>
                </a:cubicBezTo>
                <a:cubicBezTo>
                  <a:pt x="280805" y="91600"/>
                  <a:pt x="279249" y="86124"/>
                  <a:pt x="279249" y="79777"/>
                </a:cubicBezTo>
                <a:cubicBezTo>
                  <a:pt x="279249" y="72869"/>
                  <a:pt x="281054" y="67082"/>
                  <a:pt x="284603" y="62291"/>
                </a:cubicBezTo>
                <a:cubicBezTo>
                  <a:pt x="288275" y="57437"/>
                  <a:pt x="293255" y="53889"/>
                  <a:pt x="299418" y="51711"/>
                </a:cubicBezTo>
                <a:cubicBezTo>
                  <a:pt x="294438" y="49720"/>
                  <a:pt x="290454" y="46671"/>
                  <a:pt x="287466" y="42564"/>
                </a:cubicBezTo>
                <a:cubicBezTo>
                  <a:pt x="284540" y="38519"/>
                  <a:pt x="283108" y="33479"/>
                  <a:pt x="283108" y="27504"/>
                </a:cubicBezTo>
                <a:cubicBezTo>
                  <a:pt x="283108" y="21593"/>
                  <a:pt x="284540" y="16615"/>
                  <a:pt x="287279" y="12570"/>
                </a:cubicBezTo>
                <a:cubicBezTo>
                  <a:pt x="290081" y="8463"/>
                  <a:pt x="293940" y="5414"/>
                  <a:pt x="298795" y="3298"/>
                </a:cubicBezTo>
                <a:cubicBezTo>
                  <a:pt x="303713" y="1182"/>
                  <a:pt x="309191" y="186"/>
                  <a:pt x="315229" y="186"/>
                </a:cubicBezTo>
                <a:cubicBezTo>
                  <a:pt x="321205" y="186"/>
                  <a:pt x="326621" y="1182"/>
                  <a:pt x="331351" y="3298"/>
                </a:cubicBezTo>
                <a:cubicBezTo>
                  <a:pt x="336144" y="5289"/>
                  <a:pt x="339941" y="8276"/>
                  <a:pt x="342743" y="12259"/>
                </a:cubicBezTo>
                <a:cubicBezTo>
                  <a:pt x="345606" y="16242"/>
                  <a:pt x="347038" y="21219"/>
                  <a:pt x="347038" y="27194"/>
                </a:cubicBezTo>
                <a:cubicBezTo>
                  <a:pt x="347038" y="33292"/>
                  <a:pt x="345544" y="38332"/>
                  <a:pt x="342556" y="42439"/>
                </a:cubicBezTo>
                <a:cubicBezTo>
                  <a:pt x="339568" y="46484"/>
                  <a:pt x="335647" y="49596"/>
                  <a:pt x="330791" y="51711"/>
                </a:cubicBezTo>
                <a:cubicBezTo>
                  <a:pt x="336767" y="53765"/>
                  <a:pt x="341560" y="57188"/>
                  <a:pt x="345109" y="61855"/>
                </a:cubicBezTo>
                <a:cubicBezTo>
                  <a:pt x="348781" y="66522"/>
                  <a:pt x="350649" y="72372"/>
                  <a:pt x="350649" y="79341"/>
                </a:cubicBezTo>
                <a:cubicBezTo>
                  <a:pt x="350649" y="85688"/>
                  <a:pt x="349093" y="91226"/>
                  <a:pt x="346042" y="95893"/>
                </a:cubicBezTo>
                <a:cubicBezTo>
                  <a:pt x="342930" y="100498"/>
                  <a:pt x="338697" y="103983"/>
                  <a:pt x="333343" y="106473"/>
                </a:cubicBezTo>
                <a:cubicBezTo>
                  <a:pt x="328052" y="108900"/>
                  <a:pt x="322014" y="110082"/>
                  <a:pt x="315229" y="110082"/>
                </a:cubicBezTo>
                <a:close/>
                <a:moveTo>
                  <a:pt x="315229" y="46298"/>
                </a:moveTo>
                <a:cubicBezTo>
                  <a:pt x="320520" y="46298"/>
                  <a:pt x="324878" y="44804"/>
                  <a:pt x="328239" y="41817"/>
                </a:cubicBezTo>
                <a:cubicBezTo>
                  <a:pt x="331725" y="38768"/>
                  <a:pt x="333468" y="34536"/>
                  <a:pt x="333468" y="29122"/>
                </a:cubicBezTo>
                <a:cubicBezTo>
                  <a:pt x="333468" y="23771"/>
                  <a:pt x="331725" y="19601"/>
                  <a:pt x="328239" y="16615"/>
                </a:cubicBezTo>
                <a:cubicBezTo>
                  <a:pt x="324878" y="13503"/>
                  <a:pt x="320520" y="11947"/>
                  <a:pt x="315229" y="11947"/>
                </a:cubicBezTo>
                <a:cubicBezTo>
                  <a:pt x="309938" y="11947"/>
                  <a:pt x="305518" y="13503"/>
                  <a:pt x="301970" y="16615"/>
                </a:cubicBezTo>
                <a:cubicBezTo>
                  <a:pt x="298484" y="19601"/>
                  <a:pt x="296741" y="23771"/>
                  <a:pt x="296741" y="29122"/>
                </a:cubicBezTo>
                <a:cubicBezTo>
                  <a:pt x="296741" y="34536"/>
                  <a:pt x="298484" y="38768"/>
                  <a:pt x="301970" y="41817"/>
                </a:cubicBezTo>
                <a:cubicBezTo>
                  <a:pt x="305518" y="44804"/>
                  <a:pt x="309938" y="46298"/>
                  <a:pt x="315229" y="46298"/>
                </a:cubicBezTo>
                <a:close/>
                <a:moveTo>
                  <a:pt x="315229" y="98258"/>
                </a:moveTo>
                <a:cubicBezTo>
                  <a:pt x="321391" y="98258"/>
                  <a:pt x="326559" y="96516"/>
                  <a:pt x="330604" y="92907"/>
                </a:cubicBezTo>
                <a:cubicBezTo>
                  <a:pt x="334837" y="89235"/>
                  <a:pt x="336891" y="84071"/>
                  <a:pt x="336891" y="77536"/>
                </a:cubicBezTo>
                <a:cubicBezTo>
                  <a:pt x="336891" y="70940"/>
                  <a:pt x="334837" y="65900"/>
                  <a:pt x="330604" y="62291"/>
                </a:cubicBezTo>
                <a:cubicBezTo>
                  <a:pt x="326559" y="58619"/>
                  <a:pt x="321391" y="56752"/>
                  <a:pt x="315229" y="56752"/>
                </a:cubicBezTo>
                <a:cubicBezTo>
                  <a:pt x="308879" y="56752"/>
                  <a:pt x="303526" y="58619"/>
                  <a:pt x="299231" y="62291"/>
                </a:cubicBezTo>
                <a:cubicBezTo>
                  <a:pt x="295060" y="65900"/>
                  <a:pt x="293006" y="70940"/>
                  <a:pt x="293006" y="77536"/>
                </a:cubicBezTo>
                <a:cubicBezTo>
                  <a:pt x="293006" y="84071"/>
                  <a:pt x="295060" y="89235"/>
                  <a:pt x="299231" y="92907"/>
                </a:cubicBezTo>
                <a:cubicBezTo>
                  <a:pt x="303526" y="96516"/>
                  <a:pt x="308879" y="98258"/>
                  <a:pt x="315229" y="98258"/>
                </a:cubicBezTo>
                <a:close/>
                <a:moveTo>
                  <a:pt x="414889" y="110082"/>
                </a:moveTo>
                <a:cubicBezTo>
                  <a:pt x="404307" y="110082"/>
                  <a:pt x="395032" y="107904"/>
                  <a:pt x="387064" y="103486"/>
                </a:cubicBezTo>
                <a:cubicBezTo>
                  <a:pt x="379221" y="99129"/>
                  <a:pt x="373058" y="92844"/>
                  <a:pt x="368700" y="84693"/>
                </a:cubicBezTo>
                <a:cubicBezTo>
                  <a:pt x="364343" y="76416"/>
                  <a:pt x="362102" y="66584"/>
                  <a:pt x="362102" y="55134"/>
                </a:cubicBezTo>
                <a:cubicBezTo>
                  <a:pt x="362102" y="37897"/>
                  <a:pt x="366646" y="24455"/>
                  <a:pt x="375735" y="14810"/>
                </a:cubicBezTo>
                <a:cubicBezTo>
                  <a:pt x="384761" y="5040"/>
                  <a:pt x="397709" y="186"/>
                  <a:pt x="414579" y="186"/>
                </a:cubicBezTo>
                <a:cubicBezTo>
                  <a:pt x="420865" y="186"/>
                  <a:pt x="426841" y="871"/>
                  <a:pt x="432506" y="2240"/>
                </a:cubicBezTo>
                <a:cubicBezTo>
                  <a:pt x="438295" y="3547"/>
                  <a:pt x="443151" y="5414"/>
                  <a:pt x="447135" y="7902"/>
                </a:cubicBezTo>
                <a:lnTo>
                  <a:pt x="447135" y="21344"/>
                </a:lnTo>
                <a:cubicBezTo>
                  <a:pt x="442839" y="18669"/>
                  <a:pt x="437797" y="16615"/>
                  <a:pt x="432070" y="15121"/>
                </a:cubicBezTo>
                <a:cubicBezTo>
                  <a:pt x="426343" y="13628"/>
                  <a:pt x="420492" y="12881"/>
                  <a:pt x="414392" y="12881"/>
                </a:cubicBezTo>
                <a:cubicBezTo>
                  <a:pt x="401880" y="12881"/>
                  <a:pt x="392542" y="16366"/>
                  <a:pt x="386504" y="23459"/>
                </a:cubicBezTo>
                <a:cubicBezTo>
                  <a:pt x="380403" y="30554"/>
                  <a:pt x="377353" y="41071"/>
                  <a:pt x="377353" y="55134"/>
                </a:cubicBezTo>
                <a:cubicBezTo>
                  <a:pt x="377353" y="69260"/>
                  <a:pt x="380652" y="79839"/>
                  <a:pt x="387251" y="86933"/>
                </a:cubicBezTo>
                <a:cubicBezTo>
                  <a:pt x="393787" y="93902"/>
                  <a:pt x="403436" y="97387"/>
                  <a:pt x="416073" y="97387"/>
                </a:cubicBezTo>
                <a:cubicBezTo>
                  <a:pt x="428024" y="97387"/>
                  <a:pt x="438357" y="94089"/>
                  <a:pt x="447135" y="87555"/>
                </a:cubicBezTo>
                <a:lnTo>
                  <a:pt x="447135" y="100997"/>
                </a:lnTo>
                <a:cubicBezTo>
                  <a:pt x="443648" y="103734"/>
                  <a:pt x="439042" y="105974"/>
                  <a:pt x="433253" y="107717"/>
                </a:cubicBezTo>
                <a:cubicBezTo>
                  <a:pt x="427464" y="109273"/>
                  <a:pt x="421364" y="110082"/>
                  <a:pt x="414889" y="110082"/>
                </a:cubicBez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8" y="1493"/>
                </a:moveTo>
                <a:lnTo>
                  <a:pt x="619004" y="1493"/>
                </a:lnTo>
                <a:lnTo>
                  <a:pt x="619004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3" y="49907"/>
                </a:lnTo>
                <a:lnTo>
                  <a:pt x="611223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8" y="108588"/>
                </a:lnTo>
                <a:lnTo>
                  <a:pt x="553518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2" name="Полилиния 921">
            <a:extLst>
              <a:ext uri="{FF2B5EF4-FFF2-40B4-BE49-F238E27FC236}">
                <a16:creationId xmlns:a16="http://schemas.microsoft.com/office/drawing/2014/main" id="{7ACABABF-D036-4B8F-0304-89C8B4AC51F5}"/>
              </a:ext>
            </a:extLst>
          </p:cNvPr>
          <p:cNvSpPr/>
          <p:nvPr userDrawn="1"/>
        </p:nvSpPr>
        <p:spPr>
          <a:xfrm>
            <a:off x="4142452" y="9597431"/>
            <a:ext cx="2557159" cy="726227"/>
          </a:xfrm>
          <a:custGeom>
            <a:avLst/>
            <a:gdLst>
              <a:gd name="connsiteX0" fmla="*/ 1860 w 2191162"/>
              <a:gd name="connsiteY0" fmla="*/ 1822 h 622284"/>
              <a:gd name="connsiteX1" fmla="*/ 2193023 w 2191162"/>
              <a:gd name="connsiteY1" fmla="*/ 1822 h 622284"/>
              <a:gd name="connsiteX2" fmla="*/ 2193023 w 2191162"/>
              <a:gd name="connsiteY2" fmla="*/ 624106 h 622284"/>
              <a:gd name="connsiteX3" fmla="*/ 1860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822"/>
                </a:moveTo>
                <a:lnTo>
                  <a:pt x="2193023" y="1822"/>
                </a:lnTo>
                <a:lnTo>
                  <a:pt x="2193023" y="624106"/>
                </a:lnTo>
                <a:lnTo>
                  <a:pt x="1860" y="624106"/>
                </a:lnTo>
                <a:close/>
              </a:path>
            </a:pathLst>
          </a:custGeom>
          <a:solidFill>
            <a:srgbClr val="D7BE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3" name="Полилиния 922">
            <a:extLst>
              <a:ext uri="{FF2B5EF4-FFF2-40B4-BE49-F238E27FC236}">
                <a16:creationId xmlns:a16="http://schemas.microsoft.com/office/drawing/2014/main" id="{FEB91610-9D8A-B4CE-C191-80F3863515C8}"/>
              </a:ext>
            </a:extLst>
          </p:cNvPr>
          <p:cNvSpPr/>
          <p:nvPr userDrawn="1"/>
        </p:nvSpPr>
        <p:spPr>
          <a:xfrm>
            <a:off x="4265660" y="9900922"/>
            <a:ext cx="736854" cy="124982"/>
          </a:xfrm>
          <a:custGeom>
            <a:avLst/>
            <a:gdLst>
              <a:gd name="connsiteX0" fmla="*/ 22099 w 631391"/>
              <a:gd name="connsiteY0" fmla="*/ 107095 h 107094"/>
              <a:gd name="connsiteX1" fmla="*/ 10147 w 631391"/>
              <a:gd name="connsiteY1" fmla="*/ 107095 h 107094"/>
              <a:gd name="connsiteX2" fmla="*/ 16434 w 631391"/>
              <a:gd name="connsiteY2" fmla="*/ 76168 h 107094"/>
              <a:gd name="connsiteX3" fmla="*/ 0 w 631391"/>
              <a:gd name="connsiteY3" fmla="*/ 76168 h 107094"/>
              <a:gd name="connsiteX4" fmla="*/ 0 w 631391"/>
              <a:gd name="connsiteY4" fmla="*/ 65713 h 107094"/>
              <a:gd name="connsiteX5" fmla="*/ 18675 w 631391"/>
              <a:gd name="connsiteY5" fmla="*/ 65713 h 107094"/>
              <a:gd name="connsiteX6" fmla="*/ 24215 w 631391"/>
              <a:gd name="connsiteY6" fmla="*/ 38519 h 107094"/>
              <a:gd name="connsiteX7" fmla="*/ 4046 w 631391"/>
              <a:gd name="connsiteY7" fmla="*/ 38519 h 107094"/>
              <a:gd name="connsiteX8" fmla="*/ 4046 w 631391"/>
              <a:gd name="connsiteY8" fmla="*/ 28065 h 107094"/>
              <a:gd name="connsiteX9" fmla="*/ 26270 w 631391"/>
              <a:gd name="connsiteY9" fmla="*/ 28065 h 107094"/>
              <a:gd name="connsiteX10" fmla="*/ 32121 w 631391"/>
              <a:gd name="connsiteY10" fmla="*/ 0 h 107094"/>
              <a:gd name="connsiteX11" fmla="*/ 44073 w 631391"/>
              <a:gd name="connsiteY11" fmla="*/ 0 h 107094"/>
              <a:gd name="connsiteX12" fmla="*/ 38221 w 631391"/>
              <a:gd name="connsiteY12" fmla="*/ 28065 h 107094"/>
              <a:gd name="connsiteX13" fmla="*/ 60630 w 631391"/>
              <a:gd name="connsiteY13" fmla="*/ 28065 h 107094"/>
              <a:gd name="connsiteX14" fmla="*/ 66482 w 631391"/>
              <a:gd name="connsiteY14" fmla="*/ 0 h 107094"/>
              <a:gd name="connsiteX15" fmla="*/ 78434 w 631391"/>
              <a:gd name="connsiteY15" fmla="*/ 0 h 107094"/>
              <a:gd name="connsiteX16" fmla="*/ 72582 w 631391"/>
              <a:gd name="connsiteY16" fmla="*/ 28065 h 107094"/>
              <a:gd name="connsiteX17" fmla="*/ 89328 w 631391"/>
              <a:gd name="connsiteY17" fmla="*/ 28065 h 107094"/>
              <a:gd name="connsiteX18" fmla="*/ 89328 w 631391"/>
              <a:gd name="connsiteY18" fmla="*/ 38519 h 107094"/>
              <a:gd name="connsiteX19" fmla="*/ 70529 w 631391"/>
              <a:gd name="connsiteY19" fmla="*/ 38519 h 107094"/>
              <a:gd name="connsiteX20" fmla="*/ 64988 w 631391"/>
              <a:gd name="connsiteY20" fmla="*/ 65713 h 107094"/>
              <a:gd name="connsiteX21" fmla="*/ 85282 w 631391"/>
              <a:gd name="connsiteY21" fmla="*/ 65713 h 107094"/>
              <a:gd name="connsiteX22" fmla="*/ 85282 w 631391"/>
              <a:gd name="connsiteY22" fmla="*/ 76168 h 107094"/>
              <a:gd name="connsiteX23" fmla="*/ 62747 w 631391"/>
              <a:gd name="connsiteY23" fmla="*/ 76168 h 107094"/>
              <a:gd name="connsiteX24" fmla="*/ 56460 w 631391"/>
              <a:gd name="connsiteY24" fmla="*/ 107095 h 107094"/>
              <a:gd name="connsiteX25" fmla="*/ 44508 w 631391"/>
              <a:gd name="connsiteY25" fmla="*/ 107095 h 107094"/>
              <a:gd name="connsiteX26" fmla="*/ 50795 w 631391"/>
              <a:gd name="connsiteY26" fmla="*/ 76168 h 107094"/>
              <a:gd name="connsiteX27" fmla="*/ 28386 w 631391"/>
              <a:gd name="connsiteY27" fmla="*/ 76168 h 107094"/>
              <a:gd name="connsiteX28" fmla="*/ 22099 w 631391"/>
              <a:gd name="connsiteY28" fmla="*/ 107095 h 107094"/>
              <a:gd name="connsiteX29" fmla="*/ 30627 w 631391"/>
              <a:gd name="connsiteY29" fmla="*/ 65713 h 107094"/>
              <a:gd name="connsiteX30" fmla="*/ 53036 w 631391"/>
              <a:gd name="connsiteY30" fmla="*/ 65713 h 107094"/>
              <a:gd name="connsiteX31" fmla="*/ 58576 w 631391"/>
              <a:gd name="connsiteY31" fmla="*/ 38519 h 107094"/>
              <a:gd name="connsiteX32" fmla="*/ 36167 w 631391"/>
              <a:gd name="connsiteY32" fmla="*/ 38519 h 107094"/>
              <a:gd name="connsiteX33" fmla="*/ 30627 w 631391"/>
              <a:gd name="connsiteY33" fmla="*/ 65713 h 107094"/>
              <a:gd name="connsiteX34" fmla="*/ 107816 w 631391"/>
              <a:gd name="connsiteY34" fmla="*/ 0 h 107094"/>
              <a:gd name="connsiteX35" fmla="*/ 143857 w 631391"/>
              <a:gd name="connsiteY35" fmla="*/ 0 h 107094"/>
              <a:gd name="connsiteX36" fmla="*/ 163840 w 631391"/>
              <a:gd name="connsiteY36" fmla="*/ 2551 h 107094"/>
              <a:gd name="connsiteX37" fmla="*/ 179962 w 631391"/>
              <a:gd name="connsiteY37" fmla="*/ 10890 h 107094"/>
              <a:gd name="connsiteX38" fmla="*/ 190731 w 631391"/>
              <a:gd name="connsiteY38" fmla="*/ 26136 h 107094"/>
              <a:gd name="connsiteX39" fmla="*/ 194653 w 631391"/>
              <a:gd name="connsiteY39" fmla="*/ 49907 h 107094"/>
              <a:gd name="connsiteX40" fmla="*/ 187743 w 631391"/>
              <a:gd name="connsiteY40" fmla="*/ 81581 h 107094"/>
              <a:gd name="connsiteX41" fmla="*/ 169255 w 631391"/>
              <a:gd name="connsiteY41" fmla="*/ 100685 h 107094"/>
              <a:gd name="connsiteX42" fmla="*/ 142177 w 631391"/>
              <a:gd name="connsiteY42" fmla="*/ 107095 h 107094"/>
              <a:gd name="connsiteX43" fmla="*/ 107816 w 631391"/>
              <a:gd name="connsiteY43" fmla="*/ 107095 h 107094"/>
              <a:gd name="connsiteX44" fmla="*/ 107816 w 631391"/>
              <a:gd name="connsiteY44" fmla="*/ 0 h 107094"/>
              <a:gd name="connsiteX45" fmla="*/ 142177 w 631391"/>
              <a:gd name="connsiteY45" fmla="*/ 94400 h 107094"/>
              <a:gd name="connsiteX46" fmla="*/ 161599 w 631391"/>
              <a:gd name="connsiteY46" fmla="*/ 89920 h 107094"/>
              <a:gd name="connsiteX47" fmla="*/ 174609 w 631391"/>
              <a:gd name="connsiteY47" fmla="*/ 75732 h 107094"/>
              <a:gd name="connsiteX48" fmla="*/ 179402 w 631391"/>
              <a:gd name="connsiteY48" fmla="*/ 50965 h 107094"/>
              <a:gd name="connsiteX49" fmla="*/ 174733 w 631391"/>
              <a:gd name="connsiteY49" fmla="*/ 27629 h 107094"/>
              <a:gd name="connsiteX50" fmla="*/ 162034 w 631391"/>
              <a:gd name="connsiteY50" fmla="*/ 16117 h 107094"/>
              <a:gd name="connsiteX51" fmla="*/ 143857 w 631391"/>
              <a:gd name="connsiteY51" fmla="*/ 12881 h 107094"/>
              <a:gd name="connsiteX52" fmla="*/ 121884 w 631391"/>
              <a:gd name="connsiteY52" fmla="*/ 12881 h 107094"/>
              <a:gd name="connsiteX53" fmla="*/ 121884 w 631391"/>
              <a:gd name="connsiteY53" fmla="*/ 94400 h 107094"/>
              <a:gd name="connsiteX54" fmla="*/ 142177 w 631391"/>
              <a:gd name="connsiteY54" fmla="*/ 94400 h 107094"/>
              <a:gd name="connsiteX55" fmla="*/ 276323 w 631391"/>
              <a:gd name="connsiteY55" fmla="*/ 12134 h 107094"/>
              <a:gd name="connsiteX56" fmla="*/ 230944 w 631391"/>
              <a:gd name="connsiteY56" fmla="*/ 107095 h 107094"/>
              <a:gd name="connsiteX57" fmla="*/ 216315 w 631391"/>
              <a:gd name="connsiteY57" fmla="*/ 107095 h 107094"/>
              <a:gd name="connsiteX58" fmla="*/ 262006 w 631391"/>
              <a:gd name="connsiteY58" fmla="*/ 12881 h 107094"/>
              <a:gd name="connsiteX59" fmla="*/ 207476 w 631391"/>
              <a:gd name="connsiteY59" fmla="*/ 12881 h 107094"/>
              <a:gd name="connsiteX60" fmla="*/ 207476 w 631391"/>
              <a:gd name="connsiteY60" fmla="*/ 0 h 107094"/>
              <a:gd name="connsiteX61" fmla="*/ 276323 w 631391"/>
              <a:gd name="connsiteY61" fmla="*/ 0 h 107094"/>
              <a:gd name="connsiteX62" fmla="*/ 276323 w 631391"/>
              <a:gd name="connsiteY62" fmla="*/ 12134 h 107094"/>
              <a:gd name="connsiteX63" fmla="*/ 295434 w 631391"/>
              <a:gd name="connsiteY63" fmla="*/ 0 h 107094"/>
              <a:gd name="connsiteX64" fmla="*/ 331725 w 631391"/>
              <a:gd name="connsiteY64" fmla="*/ 0 h 107094"/>
              <a:gd name="connsiteX65" fmla="*/ 358492 w 631391"/>
              <a:gd name="connsiteY65" fmla="*/ 5974 h 107094"/>
              <a:gd name="connsiteX66" fmla="*/ 367767 w 631391"/>
              <a:gd name="connsiteY66" fmla="*/ 26136 h 107094"/>
              <a:gd name="connsiteX67" fmla="*/ 361915 w 631391"/>
              <a:gd name="connsiteY67" fmla="*/ 43622 h 107094"/>
              <a:gd name="connsiteX68" fmla="*/ 346416 w 631391"/>
              <a:gd name="connsiteY68" fmla="*/ 51525 h 107094"/>
              <a:gd name="connsiteX69" fmla="*/ 365215 w 631391"/>
              <a:gd name="connsiteY69" fmla="*/ 58868 h 107094"/>
              <a:gd name="connsiteX70" fmla="*/ 371627 w 631391"/>
              <a:gd name="connsiteY70" fmla="*/ 76168 h 107094"/>
              <a:gd name="connsiteX71" fmla="*/ 366397 w 631391"/>
              <a:gd name="connsiteY71" fmla="*/ 94089 h 107094"/>
              <a:gd name="connsiteX72" fmla="*/ 352080 w 631391"/>
              <a:gd name="connsiteY72" fmla="*/ 104108 h 107094"/>
              <a:gd name="connsiteX73" fmla="*/ 331476 w 631391"/>
              <a:gd name="connsiteY73" fmla="*/ 107095 h 107094"/>
              <a:gd name="connsiteX74" fmla="*/ 295434 w 631391"/>
              <a:gd name="connsiteY74" fmla="*/ 107095 h 107094"/>
              <a:gd name="connsiteX75" fmla="*/ 295434 w 631391"/>
              <a:gd name="connsiteY75" fmla="*/ 0 h 107094"/>
              <a:gd name="connsiteX76" fmla="*/ 330729 w 631391"/>
              <a:gd name="connsiteY76" fmla="*/ 45738 h 107094"/>
              <a:gd name="connsiteX77" fmla="*/ 347163 w 631391"/>
              <a:gd name="connsiteY77" fmla="*/ 41257 h 107094"/>
              <a:gd name="connsiteX78" fmla="*/ 353574 w 631391"/>
              <a:gd name="connsiteY78" fmla="*/ 26882 h 107094"/>
              <a:gd name="connsiteX79" fmla="*/ 347909 w 631391"/>
              <a:gd name="connsiteY79" fmla="*/ 15868 h 107094"/>
              <a:gd name="connsiteX80" fmla="*/ 331725 w 631391"/>
              <a:gd name="connsiteY80" fmla="*/ 12881 h 107094"/>
              <a:gd name="connsiteX81" fmla="*/ 309502 w 631391"/>
              <a:gd name="connsiteY81" fmla="*/ 12881 h 107094"/>
              <a:gd name="connsiteX82" fmla="*/ 309502 w 631391"/>
              <a:gd name="connsiteY82" fmla="*/ 45738 h 107094"/>
              <a:gd name="connsiteX83" fmla="*/ 330729 w 631391"/>
              <a:gd name="connsiteY83" fmla="*/ 45738 h 107094"/>
              <a:gd name="connsiteX84" fmla="*/ 331476 w 631391"/>
              <a:gd name="connsiteY84" fmla="*/ 94400 h 107094"/>
              <a:gd name="connsiteX85" fmla="*/ 349840 w 631391"/>
              <a:gd name="connsiteY85" fmla="*/ 90542 h 107094"/>
              <a:gd name="connsiteX86" fmla="*/ 356874 w 631391"/>
              <a:gd name="connsiteY86" fmla="*/ 76478 h 107094"/>
              <a:gd name="connsiteX87" fmla="*/ 350275 w 631391"/>
              <a:gd name="connsiteY87" fmla="*/ 62415 h 107094"/>
              <a:gd name="connsiteX88" fmla="*/ 329795 w 631391"/>
              <a:gd name="connsiteY88" fmla="*/ 58433 h 107094"/>
              <a:gd name="connsiteX89" fmla="*/ 309502 w 631391"/>
              <a:gd name="connsiteY89" fmla="*/ 58433 h 107094"/>
              <a:gd name="connsiteX90" fmla="*/ 309502 w 631391"/>
              <a:gd name="connsiteY90" fmla="*/ 94400 h 107094"/>
              <a:gd name="connsiteX91" fmla="*/ 331476 w 631391"/>
              <a:gd name="connsiteY91" fmla="*/ 94400 h 107094"/>
              <a:gd name="connsiteX92" fmla="*/ 391733 w 631391"/>
              <a:gd name="connsiteY92" fmla="*/ 0 h 107094"/>
              <a:gd name="connsiteX93" fmla="*/ 458091 w 631391"/>
              <a:gd name="connsiteY93" fmla="*/ 0 h 107094"/>
              <a:gd name="connsiteX94" fmla="*/ 458091 w 631391"/>
              <a:gd name="connsiteY94" fmla="*/ 12881 h 107094"/>
              <a:gd name="connsiteX95" fmla="*/ 405801 w 631391"/>
              <a:gd name="connsiteY95" fmla="*/ 12881 h 107094"/>
              <a:gd name="connsiteX96" fmla="*/ 405801 w 631391"/>
              <a:gd name="connsiteY96" fmla="*/ 45240 h 107094"/>
              <a:gd name="connsiteX97" fmla="*/ 450185 w 631391"/>
              <a:gd name="connsiteY97" fmla="*/ 45240 h 107094"/>
              <a:gd name="connsiteX98" fmla="*/ 450185 w 631391"/>
              <a:gd name="connsiteY98" fmla="*/ 57934 h 107094"/>
              <a:gd name="connsiteX99" fmla="*/ 405801 w 631391"/>
              <a:gd name="connsiteY99" fmla="*/ 57934 h 107094"/>
              <a:gd name="connsiteX100" fmla="*/ 405801 w 631391"/>
              <a:gd name="connsiteY100" fmla="*/ 94400 h 107094"/>
              <a:gd name="connsiteX101" fmla="*/ 458838 w 631391"/>
              <a:gd name="connsiteY101" fmla="*/ 94400 h 107094"/>
              <a:gd name="connsiteX102" fmla="*/ 458838 w 631391"/>
              <a:gd name="connsiteY102" fmla="*/ 107095 h 107094"/>
              <a:gd name="connsiteX103" fmla="*/ 391733 w 631391"/>
              <a:gd name="connsiteY103" fmla="*/ 107095 h 107094"/>
              <a:gd name="connsiteX104" fmla="*/ 391733 w 631391"/>
              <a:gd name="connsiteY104" fmla="*/ 0 h 107094"/>
              <a:gd name="connsiteX105" fmla="*/ 480998 w 631391"/>
              <a:gd name="connsiteY105" fmla="*/ 0 h 107094"/>
              <a:gd name="connsiteX106" fmla="*/ 546484 w 631391"/>
              <a:gd name="connsiteY106" fmla="*/ 0 h 107094"/>
              <a:gd name="connsiteX107" fmla="*/ 546484 w 631391"/>
              <a:gd name="connsiteY107" fmla="*/ 12881 h 107094"/>
              <a:gd name="connsiteX108" fmla="*/ 495066 w 631391"/>
              <a:gd name="connsiteY108" fmla="*/ 12881 h 107094"/>
              <a:gd name="connsiteX109" fmla="*/ 495066 w 631391"/>
              <a:gd name="connsiteY109" fmla="*/ 48413 h 107094"/>
              <a:gd name="connsiteX110" fmla="*/ 538703 w 631391"/>
              <a:gd name="connsiteY110" fmla="*/ 48413 h 107094"/>
              <a:gd name="connsiteX111" fmla="*/ 538703 w 631391"/>
              <a:gd name="connsiteY111" fmla="*/ 61108 h 107094"/>
              <a:gd name="connsiteX112" fmla="*/ 495066 w 631391"/>
              <a:gd name="connsiteY112" fmla="*/ 61108 h 107094"/>
              <a:gd name="connsiteX113" fmla="*/ 495066 w 631391"/>
              <a:gd name="connsiteY113" fmla="*/ 107095 h 107094"/>
              <a:gd name="connsiteX114" fmla="*/ 480998 w 631391"/>
              <a:gd name="connsiteY114" fmla="*/ 107095 h 107094"/>
              <a:gd name="connsiteX115" fmla="*/ 480998 w 631391"/>
              <a:gd name="connsiteY115" fmla="*/ 0 h 107094"/>
              <a:gd name="connsiteX116" fmla="*/ 565968 w 631391"/>
              <a:gd name="connsiteY116" fmla="*/ 0 h 107094"/>
              <a:gd name="connsiteX117" fmla="*/ 631391 w 631391"/>
              <a:gd name="connsiteY117" fmla="*/ 0 h 107094"/>
              <a:gd name="connsiteX118" fmla="*/ 631391 w 631391"/>
              <a:gd name="connsiteY118" fmla="*/ 12881 h 107094"/>
              <a:gd name="connsiteX119" fmla="*/ 579974 w 631391"/>
              <a:gd name="connsiteY119" fmla="*/ 12881 h 107094"/>
              <a:gd name="connsiteX120" fmla="*/ 579974 w 631391"/>
              <a:gd name="connsiteY120" fmla="*/ 48413 h 107094"/>
              <a:gd name="connsiteX121" fmla="*/ 623610 w 631391"/>
              <a:gd name="connsiteY121" fmla="*/ 48413 h 107094"/>
              <a:gd name="connsiteX122" fmla="*/ 623610 w 631391"/>
              <a:gd name="connsiteY122" fmla="*/ 61108 h 107094"/>
              <a:gd name="connsiteX123" fmla="*/ 579974 w 631391"/>
              <a:gd name="connsiteY123" fmla="*/ 61108 h 107094"/>
              <a:gd name="connsiteX124" fmla="*/ 579974 w 631391"/>
              <a:gd name="connsiteY124" fmla="*/ 107095 h 107094"/>
              <a:gd name="connsiteX125" fmla="*/ 565968 w 631391"/>
              <a:gd name="connsiteY125" fmla="*/ 107095 h 107094"/>
              <a:gd name="connsiteX126" fmla="*/ 565968 w 631391"/>
              <a:gd name="connsiteY126" fmla="*/ 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631391" h="107094">
                <a:moveTo>
                  <a:pt x="22099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70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2" y="65713"/>
                </a:lnTo>
                <a:lnTo>
                  <a:pt x="85282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7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7" y="38519"/>
                </a:lnTo>
                <a:lnTo>
                  <a:pt x="30627" y="65713"/>
                </a:lnTo>
                <a:close/>
                <a:moveTo>
                  <a:pt x="107816" y="0"/>
                </a:moveTo>
                <a:lnTo>
                  <a:pt x="143857" y="0"/>
                </a:lnTo>
                <a:cubicBezTo>
                  <a:pt x="151016" y="0"/>
                  <a:pt x="157677" y="871"/>
                  <a:pt x="163840" y="2551"/>
                </a:cubicBezTo>
                <a:cubicBezTo>
                  <a:pt x="170002" y="4231"/>
                  <a:pt x="175418" y="7032"/>
                  <a:pt x="179962" y="10890"/>
                </a:cubicBezTo>
                <a:cubicBezTo>
                  <a:pt x="184568" y="14686"/>
                  <a:pt x="188178" y="19788"/>
                  <a:pt x="190731" y="26136"/>
                </a:cubicBezTo>
                <a:cubicBezTo>
                  <a:pt x="193346" y="32545"/>
                  <a:pt x="194653" y="40448"/>
                  <a:pt x="194653" y="49907"/>
                </a:cubicBezTo>
                <a:cubicBezTo>
                  <a:pt x="194653" y="62415"/>
                  <a:pt x="192349" y="72994"/>
                  <a:pt x="187743" y="81581"/>
                </a:cubicBezTo>
                <a:cubicBezTo>
                  <a:pt x="183261" y="90044"/>
                  <a:pt x="177099" y="96392"/>
                  <a:pt x="169255" y="100685"/>
                </a:cubicBezTo>
                <a:cubicBezTo>
                  <a:pt x="161350" y="104979"/>
                  <a:pt x="152324" y="107095"/>
                  <a:pt x="142177" y="107095"/>
                </a:cubicBezTo>
                <a:lnTo>
                  <a:pt x="107816" y="107095"/>
                </a:lnTo>
                <a:lnTo>
                  <a:pt x="107816" y="0"/>
                </a:lnTo>
                <a:close/>
                <a:moveTo>
                  <a:pt x="142177" y="94400"/>
                </a:moveTo>
                <a:cubicBezTo>
                  <a:pt x="149584" y="94400"/>
                  <a:pt x="156059" y="92907"/>
                  <a:pt x="161599" y="89920"/>
                </a:cubicBezTo>
                <a:cubicBezTo>
                  <a:pt x="167201" y="86808"/>
                  <a:pt x="171496" y="82079"/>
                  <a:pt x="174609" y="75732"/>
                </a:cubicBezTo>
                <a:cubicBezTo>
                  <a:pt x="177783" y="69260"/>
                  <a:pt x="179402" y="60983"/>
                  <a:pt x="179402" y="50965"/>
                </a:cubicBezTo>
                <a:cubicBezTo>
                  <a:pt x="179402" y="40884"/>
                  <a:pt x="177846" y="33105"/>
                  <a:pt x="174733" y="27629"/>
                </a:cubicBezTo>
                <a:cubicBezTo>
                  <a:pt x="171683" y="22153"/>
                  <a:pt x="167450" y="18357"/>
                  <a:pt x="162034" y="16117"/>
                </a:cubicBezTo>
                <a:cubicBezTo>
                  <a:pt x="156806" y="13939"/>
                  <a:pt x="150705" y="12881"/>
                  <a:pt x="143857" y="12881"/>
                </a:cubicBezTo>
                <a:lnTo>
                  <a:pt x="121884" y="12881"/>
                </a:lnTo>
                <a:lnTo>
                  <a:pt x="121884" y="94400"/>
                </a:lnTo>
                <a:lnTo>
                  <a:pt x="142177" y="94400"/>
                </a:lnTo>
                <a:close/>
                <a:moveTo>
                  <a:pt x="276323" y="12134"/>
                </a:moveTo>
                <a:lnTo>
                  <a:pt x="230944" y="107095"/>
                </a:lnTo>
                <a:lnTo>
                  <a:pt x="216315" y="107095"/>
                </a:lnTo>
                <a:lnTo>
                  <a:pt x="262006" y="12881"/>
                </a:lnTo>
                <a:lnTo>
                  <a:pt x="207476" y="12881"/>
                </a:lnTo>
                <a:lnTo>
                  <a:pt x="207476" y="0"/>
                </a:lnTo>
                <a:lnTo>
                  <a:pt x="276323" y="0"/>
                </a:lnTo>
                <a:lnTo>
                  <a:pt x="276323" y="12134"/>
                </a:lnTo>
                <a:close/>
                <a:moveTo>
                  <a:pt x="295434" y="0"/>
                </a:moveTo>
                <a:lnTo>
                  <a:pt x="331725" y="0"/>
                </a:lnTo>
                <a:cubicBezTo>
                  <a:pt x="343490" y="0"/>
                  <a:pt x="352391" y="1991"/>
                  <a:pt x="358492" y="5974"/>
                </a:cubicBezTo>
                <a:cubicBezTo>
                  <a:pt x="364655" y="9956"/>
                  <a:pt x="367767" y="16677"/>
                  <a:pt x="367767" y="26136"/>
                </a:cubicBezTo>
                <a:cubicBezTo>
                  <a:pt x="367767" y="33790"/>
                  <a:pt x="365837" y="39639"/>
                  <a:pt x="361915" y="43622"/>
                </a:cubicBezTo>
                <a:cubicBezTo>
                  <a:pt x="358056" y="47480"/>
                  <a:pt x="352890" y="50156"/>
                  <a:pt x="346416" y="51525"/>
                </a:cubicBezTo>
                <a:cubicBezTo>
                  <a:pt x="354633" y="52520"/>
                  <a:pt x="360919" y="54947"/>
                  <a:pt x="365215" y="58868"/>
                </a:cubicBezTo>
                <a:cubicBezTo>
                  <a:pt x="369510" y="62664"/>
                  <a:pt x="371627" y="68389"/>
                  <a:pt x="371627" y="76168"/>
                </a:cubicBezTo>
                <a:cubicBezTo>
                  <a:pt x="371627" y="83572"/>
                  <a:pt x="369884" y="89547"/>
                  <a:pt x="366397" y="94089"/>
                </a:cubicBezTo>
                <a:cubicBezTo>
                  <a:pt x="362912" y="98694"/>
                  <a:pt x="358118" y="101992"/>
                  <a:pt x="352080" y="104108"/>
                </a:cubicBezTo>
                <a:cubicBezTo>
                  <a:pt x="345980" y="106099"/>
                  <a:pt x="339132" y="107095"/>
                  <a:pt x="331476" y="107095"/>
                </a:cubicBezTo>
                <a:lnTo>
                  <a:pt x="295434" y="107095"/>
                </a:lnTo>
                <a:lnTo>
                  <a:pt x="295434" y="0"/>
                </a:lnTo>
                <a:close/>
                <a:moveTo>
                  <a:pt x="330729" y="45738"/>
                </a:moveTo>
                <a:cubicBezTo>
                  <a:pt x="337452" y="45738"/>
                  <a:pt x="342930" y="44244"/>
                  <a:pt x="347163" y="41257"/>
                </a:cubicBezTo>
                <a:cubicBezTo>
                  <a:pt x="351396" y="38146"/>
                  <a:pt x="353574" y="33354"/>
                  <a:pt x="353574" y="26882"/>
                </a:cubicBezTo>
                <a:cubicBezTo>
                  <a:pt x="353574" y="21406"/>
                  <a:pt x="351644" y="17735"/>
                  <a:pt x="347909" y="15868"/>
                </a:cubicBezTo>
                <a:cubicBezTo>
                  <a:pt x="344112" y="13877"/>
                  <a:pt x="338697" y="12881"/>
                  <a:pt x="331725" y="12881"/>
                </a:cubicBezTo>
                <a:lnTo>
                  <a:pt x="309502" y="12881"/>
                </a:lnTo>
                <a:lnTo>
                  <a:pt x="309502" y="45738"/>
                </a:lnTo>
                <a:lnTo>
                  <a:pt x="330729" y="45738"/>
                </a:lnTo>
                <a:close/>
                <a:moveTo>
                  <a:pt x="331476" y="94400"/>
                </a:moveTo>
                <a:cubicBezTo>
                  <a:pt x="339008" y="94400"/>
                  <a:pt x="345171" y="93093"/>
                  <a:pt x="349840" y="90542"/>
                </a:cubicBezTo>
                <a:cubicBezTo>
                  <a:pt x="354508" y="87929"/>
                  <a:pt x="356874" y="83262"/>
                  <a:pt x="356874" y="76478"/>
                </a:cubicBezTo>
                <a:cubicBezTo>
                  <a:pt x="356874" y="69696"/>
                  <a:pt x="354633" y="65028"/>
                  <a:pt x="350275" y="62415"/>
                </a:cubicBezTo>
                <a:cubicBezTo>
                  <a:pt x="345980" y="59739"/>
                  <a:pt x="339194" y="58433"/>
                  <a:pt x="329795" y="58433"/>
                </a:cubicBezTo>
                <a:lnTo>
                  <a:pt x="309502" y="58433"/>
                </a:lnTo>
                <a:lnTo>
                  <a:pt x="309502" y="94400"/>
                </a:lnTo>
                <a:lnTo>
                  <a:pt x="331476" y="94400"/>
                </a:lnTo>
                <a:close/>
                <a:moveTo>
                  <a:pt x="391733" y="0"/>
                </a:moveTo>
                <a:lnTo>
                  <a:pt x="458091" y="0"/>
                </a:lnTo>
                <a:lnTo>
                  <a:pt x="458091" y="12881"/>
                </a:lnTo>
                <a:lnTo>
                  <a:pt x="405801" y="12881"/>
                </a:lnTo>
                <a:lnTo>
                  <a:pt x="405801" y="45240"/>
                </a:lnTo>
                <a:lnTo>
                  <a:pt x="450185" y="45240"/>
                </a:lnTo>
                <a:lnTo>
                  <a:pt x="450185" y="57934"/>
                </a:lnTo>
                <a:lnTo>
                  <a:pt x="405801" y="57934"/>
                </a:lnTo>
                <a:lnTo>
                  <a:pt x="405801" y="94400"/>
                </a:lnTo>
                <a:lnTo>
                  <a:pt x="458838" y="94400"/>
                </a:lnTo>
                <a:lnTo>
                  <a:pt x="458838" y="107095"/>
                </a:lnTo>
                <a:lnTo>
                  <a:pt x="391733" y="107095"/>
                </a:lnTo>
                <a:lnTo>
                  <a:pt x="391733" y="0"/>
                </a:lnTo>
                <a:close/>
                <a:moveTo>
                  <a:pt x="480998" y="0"/>
                </a:moveTo>
                <a:lnTo>
                  <a:pt x="546484" y="0"/>
                </a:lnTo>
                <a:lnTo>
                  <a:pt x="546484" y="12881"/>
                </a:lnTo>
                <a:lnTo>
                  <a:pt x="495066" y="12881"/>
                </a:lnTo>
                <a:lnTo>
                  <a:pt x="495066" y="48413"/>
                </a:lnTo>
                <a:lnTo>
                  <a:pt x="538703" y="48413"/>
                </a:lnTo>
                <a:lnTo>
                  <a:pt x="538703" y="61108"/>
                </a:lnTo>
                <a:lnTo>
                  <a:pt x="495066" y="61108"/>
                </a:lnTo>
                <a:lnTo>
                  <a:pt x="495066" y="107095"/>
                </a:lnTo>
                <a:lnTo>
                  <a:pt x="480998" y="107095"/>
                </a:lnTo>
                <a:lnTo>
                  <a:pt x="480998" y="0"/>
                </a:lnTo>
                <a:close/>
                <a:moveTo>
                  <a:pt x="565968" y="0"/>
                </a:moveTo>
                <a:lnTo>
                  <a:pt x="631391" y="0"/>
                </a:lnTo>
                <a:lnTo>
                  <a:pt x="631391" y="12881"/>
                </a:lnTo>
                <a:lnTo>
                  <a:pt x="579974" y="12881"/>
                </a:lnTo>
                <a:lnTo>
                  <a:pt x="579974" y="48413"/>
                </a:lnTo>
                <a:lnTo>
                  <a:pt x="623610" y="48413"/>
                </a:lnTo>
                <a:lnTo>
                  <a:pt x="623610" y="61108"/>
                </a:lnTo>
                <a:lnTo>
                  <a:pt x="579974" y="61108"/>
                </a:lnTo>
                <a:lnTo>
                  <a:pt x="579974" y="107095"/>
                </a:lnTo>
                <a:lnTo>
                  <a:pt x="565968" y="107095"/>
                </a:lnTo>
                <a:lnTo>
                  <a:pt x="565968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4" name="Полилиния 923">
            <a:extLst>
              <a:ext uri="{FF2B5EF4-FFF2-40B4-BE49-F238E27FC236}">
                <a16:creationId xmlns:a16="http://schemas.microsoft.com/office/drawing/2014/main" id="{A062C3DB-2016-648B-4129-38469D917A19}"/>
              </a:ext>
            </a:extLst>
          </p:cNvPr>
          <p:cNvSpPr/>
          <p:nvPr userDrawn="1"/>
        </p:nvSpPr>
        <p:spPr>
          <a:xfrm>
            <a:off x="4142452" y="10323656"/>
            <a:ext cx="255715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0E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5" name="Полилиния 924">
            <a:extLst>
              <a:ext uri="{FF2B5EF4-FFF2-40B4-BE49-F238E27FC236}">
                <a16:creationId xmlns:a16="http://schemas.microsoft.com/office/drawing/2014/main" id="{B8DB3981-E3B6-51E5-E5AA-73DC75362C93}"/>
              </a:ext>
            </a:extLst>
          </p:cNvPr>
          <p:cNvSpPr/>
          <p:nvPr userDrawn="1"/>
        </p:nvSpPr>
        <p:spPr>
          <a:xfrm>
            <a:off x="4265660" y="10625622"/>
            <a:ext cx="810735" cy="128252"/>
          </a:xfrm>
          <a:custGeom>
            <a:avLst/>
            <a:gdLst>
              <a:gd name="connsiteX0" fmla="*/ 22099 w 694698"/>
              <a:gd name="connsiteY0" fmla="*/ 108402 h 109895"/>
              <a:gd name="connsiteX1" fmla="*/ 10147 w 694698"/>
              <a:gd name="connsiteY1" fmla="*/ 108402 h 109895"/>
              <a:gd name="connsiteX2" fmla="*/ 16434 w 694698"/>
              <a:gd name="connsiteY2" fmla="*/ 77475 h 109895"/>
              <a:gd name="connsiteX3" fmla="*/ 0 w 694698"/>
              <a:gd name="connsiteY3" fmla="*/ 77475 h 109895"/>
              <a:gd name="connsiteX4" fmla="*/ 0 w 694698"/>
              <a:gd name="connsiteY4" fmla="*/ 67020 h 109895"/>
              <a:gd name="connsiteX5" fmla="*/ 18675 w 694698"/>
              <a:gd name="connsiteY5" fmla="*/ 67020 h 109895"/>
              <a:gd name="connsiteX6" fmla="*/ 24215 w 694698"/>
              <a:gd name="connsiteY6" fmla="*/ 39826 h 109895"/>
              <a:gd name="connsiteX7" fmla="*/ 4046 w 694698"/>
              <a:gd name="connsiteY7" fmla="*/ 39826 h 109895"/>
              <a:gd name="connsiteX8" fmla="*/ 4046 w 694698"/>
              <a:gd name="connsiteY8" fmla="*/ 29372 h 109895"/>
              <a:gd name="connsiteX9" fmla="*/ 26270 w 694698"/>
              <a:gd name="connsiteY9" fmla="*/ 29372 h 109895"/>
              <a:gd name="connsiteX10" fmla="*/ 32121 w 694698"/>
              <a:gd name="connsiteY10" fmla="*/ 1307 h 109895"/>
              <a:gd name="connsiteX11" fmla="*/ 44073 w 694698"/>
              <a:gd name="connsiteY11" fmla="*/ 1307 h 109895"/>
              <a:gd name="connsiteX12" fmla="*/ 38221 w 694698"/>
              <a:gd name="connsiteY12" fmla="*/ 29372 h 109895"/>
              <a:gd name="connsiteX13" fmla="*/ 60630 w 694698"/>
              <a:gd name="connsiteY13" fmla="*/ 29372 h 109895"/>
              <a:gd name="connsiteX14" fmla="*/ 66482 w 694698"/>
              <a:gd name="connsiteY14" fmla="*/ 1307 h 109895"/>
              <a:gd name="connsiteX15" fmla="*/ 78434 w 694698"/>
              <a:gd name="connsiteY15" fmla="*/ 1307 h 109895"/>
              <a:gd name="connsiteX16" fmla="*/ 72582 w 694698"/>
              <a:gd name="connsiteY16" fmla="*/ 29372 h 109895"/>
              <a:gd name="connsiteX17" fmla="*/ 89328 w 694698"/>
              <a:gd name="connsiteY17" fmla="*/ 29372 h 109895"/>
              <a:gd name="connsiteX18" fmla="*/ 89328 w 694698"/>
              <a:gd name="connsiteY18" fmla="*/ 39826 h 109895"/>
              <a:gd name="connsiteX19" fmla="*/ 70529 w 694698"/>
              <a:gd name="connsiteY19" fmla="*/ 39826 h 109895"/>
              <a:gd name="connsiteX20" fmla="*/ 64988 w 694698"/>
              <a:gd name="connsiteY20" fmla="*/ 67020 h 109895"/>
              <a:gd name="connsiteX21" fmla="*/ 85282 w 694698"/>
              <a:gd name="connsiteY21" fmla="*/ 67020 h 109895"/>
              <a:gd name="connsiteX22" fmla="*/ 85282 w 694698"/>
              <a:gd name="connsiteY22" fmla="*/ 77475 h 109895"/>
              <a:gd name="connsiteX23" fmla="*/ 62747 w 694698"/>
              <a:gd name="connsiteY23" fmla="*/ 77475 h 109895"/>
              <a:gd name="connsiteX24" fmla="*/ 56460 w 694698"/>
              <a:gd name="connsiteY24" fmla="*/ 108402 h 109895"/>
              <a:gd name="connsiteX25" fmla="*/ 44508 w 694698"/>
              <a:gd name="connsiteY25" fmla="*/ 108402 h 109895"/>
              <a:gd name="connsiteX26" fmla="*/ 50795 w 694698"/>
              <a:gd name="connsiteY26" fmla="*/ 77475 h 109895"/>
              <a:gd name="connsiteX27" fmla="*/ 28386 w 694698"/>
              <a:gd name="connsiteY27" fmla="*/ 77475 h 109895"/>
              <a:gd name="connsiteX28" fmla="*/ 22099 w 694698"/>
              <a:gd name="connsiteY28" fmla="*/ 108402 h 109895"/>
              <a:gd name="connsiteX29" fmla="*/ 30627 w 694698"/>
              <a:gd name="connsiteY29" fmla="*/ 67020 h 109895"/>
              <a:gd name="connsiteX30" fmla="*/ 53036 w 694698"/>
              <a:gd name="connsiteY30" fmla="*/ 67020 h 109895"/>
              <a:gd name="connsiteX31" fmla="*/ 58576 w 694698"/>
              <a:gd name="connsiteY31" fmla="*/ 39826 h 109895"/>
              <a:gd name="connsiteX32" fmla="*/ 36167 w 694698"/>
              <a:gd name="connsiteY32" fmla="*/ 39826 h 109895"/>
              <a:gd name="connsiteX33" fmla="*/ 30627 w 694698"/>
              <a:gd name="connsiteY33" fmla="*/ 67020 h 109895"/>
              <a:gd name="connsiteX34" fmla="*/ 107816 w 694698"/>
              <a:gd name="connsiteY34" fmla="*/ 1307 h 109895"/>
              <a:gd name="connsiteX35" fmla="*/ 173239 w 694698"/>
              <a:gd name="connsiteY35" fmla="*/ 1307 h 109895"/>
              <a:gd name="connsiteX36" fmla="*/ 173239 w 694698"/>
              <a:gd name="connsiteY36" fmla="*/ 14188 h 109895"/>
              <a:gd name="connsiteX37" fmla="*/ 121884 w 694698"/>
              <a:gd name="connsiteY37" fmla="*/ 14188 h 109895"/>
              <a:gd name="connsiteX38" fmla="*/ 121884 w 694698"/>
              <a:gd name="connsiteY38" fmla="*/ 49720 h 109895"/>
              <a:gd name="connsiteX39" fmla="*/ 165521 w 694698"/>
              <a:gd name="connsiteY39" fmla="*/ 49720 h 109895"/>
              <a:gd name="connsiteX40" fmla="*/ 165521 w 694698"/>
              <a:gd name="connsiteY40" fmla="*/ 62415 h 109895"/>
              <a:gd name="connsiteX41" fmla="*/ 121884 w 694698"/>
              <a:gd name="connsiteY41" fmla="*/ 62415 h 109895"/>
              <a:gd name="connsiteX42" fmla="*/ 121884 w 694698"/>
              <a:gd name="connsiteY42" fmla="*/ 108402 h 109895"/>
              <a:gd name="connsiteX43" fmla="*/ 107816 w 694698"/>
              <a:gd name="connsiteY43" fmla="*/ 108402 h 109895"/>
              <a:gd name="connsiteX44" fmla="*/ 107816 w 694698"/>
              <a:gd name="connsiteY44" fmla="*/ 1307 h 109895"/>
              <a:gd name="connsiteX45" fmla="*/ 221545 w 694698"/>
              <a:gd name="connsiteY45" fmla="*/ 109896 h 109895"/>
              <a:gd name="connsiteX46" fmla="*/ 203368 w 694698"/>
              <a:gd name="connsiteY46" fmla="*/ 104047 h 109895"/>
              <a:gd name="connsiteX47" fmla="*/ 190669 w 694698"/>
              <a:gd name="connsiteY47" fmla="*/ 86125 h 109895"/>
              <a:gd name="connsiteX48" fmla="*/ 186187 w 694698"/>
              <a:gd name="connsiteY48" fmla="*/ 54761 h 109895"/>
              <a:gd name="connsiteX49" fmla="*/ 190669 w 694698"/>
              <a:gd name="connsiteY49" fmla="*/ 23398 h 109895"/>
              <a:gd name="connsiteX50" fmla="*/ 203368 w 694698"/>
              <a:gd name="connsiteY50" fmla="*/ 5663 h 109895"/>
              <a:gd name="connsiteX51" fmla="*/ 221545 w 694698"/>
              <a:gd name="connsiteY51" fmla="*/ 0 h 109895"/>
              <a:gd name="connsiteX52" fmla="*/ 239658 w 694698"/>
              <a:gd name="connsiteY52" fmla="*/ 5663 h 109895"/>
              <a:gd name="connsiteX53" fmla="*/ 252046 w 694698"/>
              <a:gd name="connsiteY53" fmla="*/ 23398 h 109895"/>
              <a:gd name="connsiteX54" fmla="*/ 256528 w 694698"/>
              <a:gd name="connsiteY54" fmla="*/ 54512 h 109895"/>
              <a:gd name="connsiteX55" fmla="*/ 252046 w 694698"/>
              <a:gd name="connsiteY55" fmla="*/ 85876 h 109895"/>
              <a:gd name="connsiteX56" fmla="*/ 239658 w 694698"/>
              <a:gd name="connsiteY56" fmla="*/ 104047 h 109895"/>
              <a:gd name="connsiteX57" fmla="*/ 221545 w 694698"/>
              <a:gd name="connsiteY57" fmla="*/ 109896 h 109895"/>
              <a:gd name="connsiteX58" fmla="*/ 221420 w 694698"/>
              <a:gd name="connsiteY58" fmla="*/ 98072 h 109895"/>
              <a:gd name="connsiteX59" fmla="*/ 232749 w 694698"/>
              <a:gd name="connsiteY59" fmla="*/ 94089 h 109895"/>
              <a:gd name="connsiteX60" fmla="*/ 239970 w 694698"/>
              <a:gd name="connsiteY60" fmla="*/ 80462 h 109895"/>
              <a:gd name="connsiteX61" fmla="*/ 242460 w 694698"/>
              <a:gd name="connsiteY61" fmla="*/ 54948 h 109895"/>
              <a:gd name="connsiteX62" fmla="*/ 240095 w 694698"/>
              <a:gd name="connsiteY62" fmla="*/ 29559 h 109895"/>
              <a:gd name="connsiteX63" fmla="*/ 232936 w 694698"/>
              <a:gd name="connsiteY63" fmla="*/ 15931 h 109895"/>
              <a:gd name="connsiteX64" fmla="*/ 221545 w 694698"/>
              <a:gd name="connsiteY64" fmla="*/ 11761 h 109895"/>
              <a:gd name="connsiteX65" fmla="*/ 210090 w 694698"/>
              <a:gd name="connsiteY65" fmla="*/ 15931 h 109895"/>
              <a:gd name="connsiteX66" fmla="*/ 202745 w 694698"/>
              <a:gd name="connsiteY66" fmla="*/ 29559 h 109895"/>
              <a:gd name="connsiteX67" fmla="*/ 200193 w 694698"/>
              <a:gd name="connsiteY67" fmla="*/ 54948 h 109895"/>
              <a:gd name="connsiteX68" fmla="*/ 202621 w 694698"/>
              <a:gd name="connsiteY68" fmla="*/ 80462 h 109895"/>
              <a:gd name="connsiteX69" fmla="*/ 209904 w 694698"/>
              <a:gd name="connsiteY69" fmla="*/ 94089 h 109895"/>
              <a:gd name="connsiteX70" fmla="*/ 221420 w 694698"/>
              <a:gd name="connsiteY70" fmla="*/ 98072 h 109895"/>
              <a:gd name="connsiteX71" fmla="*/ 274892 w 694698"/>
              <a:gd name="connsiteY71" fmla="*/ 1307 h 109895"/>
              <a:gd name="connsiteX72" fmla="*/ 341187 w 694698"/>
              <a:gd name="connsiteY72" fmla="*/ 1307 h 109895"/>
              <a:gd name="connsiteX73" fmla="*/ 341187 w 694698"/>
              <a:gd name="connsiteY73" fmla="*/ 14188 h 109895"/>
              <a:gd name="connsiteX74" fmla="*/ 288898 w 694698"/>
              <a:gd name="connsiteY74" fmla="*/ 14188 h 109895"/>
              <a:gd name="connsiteX75" fmla="*/ 288898 w 694698"/>
              <a:gd name="connsiteY75" fmla="*/ 46547 h 109895"/>
              <a:gd name="connsiteX76" fmla="*/ 333281 w 694698"/>
              <a:gd name="connsiteY76" fmla="*/ 46547 h 109895"/>
              <a:gd name="connsiteX77" fmla="*/ 333281 w 694698"/>
              <a:gd name="connsiteY77" fmla="*/ 59242 h 109895"/>
              <a:gd name="connsiteX78" fmla="*/ 288898 w 694698"/>
              <a:gd name="connsiteY78" fmla="*/ 59242 h 109895"/>
              <a:gd name="connsiteX79" fmla="*/ 288898 w 694698"/>
              <a:gd name="connsiteY79" fmla="*/ 95707 h 109895"/>
              <a:gd name="connsiteX80" fmla="*/ 341934 w 694698"/>
              <a:gd name="connsiteY80" fmla="*/ 95707 h 109895"/>
              <a:gd name="connsiteX81" fmla="*/ 341934 w 694698"/>
              <a:gd name="connsiteY81" fmla="*/ 108402 h 109895"/>
              <a:gd name="connsiteX82" fmla="*/ 274892 w 694698"/>
              <a:gd name="connsiteY82" fmla="*/ 108402 h 109895"/>
              <a:gd name="connsiteX83" fmla="*/ 274892 w 694698"/>
              <a:gd name="connsiteY83" fmla="*/ 1307 h 109895"/>
              <a:gd name="connsiteX84" fmla="*/ 364156 w 694698"/>
              <a:gd name="connsiteY84" fmla="*/ 1307 h 109895"/>
              <a:gd name="connsiteX85" fmla="*/ 400448 w 694698"/>
              <a:gd name="connsiteY85" fmla="*/ 1307 h 109895"/>
              <a:gd name="connsiteX86" fmla="*/ 427215 w 694698"/>
              <a:gd name="connsiteY86" fmla="*/ 7281 h 109895"/>
              <a:gd name="connsiteX87" fmla="*/ 436490 w 694698"/>
              <a:gd name="connsiteY87" fmla="*/ 27443 h 109895"/>
              <a:gd name="connsiteX88" fmla="*/ 430639 w 694698"/>
              <a:gd name="connsiteY88" fmla="*/ 44930 h 109895"/>
              <a:gd name="connsiteX89" fmla="*/ 415139 w 694698"/>
              <a:gd name="connsiteY89" fmla="*/ 52832 h 109895"/>
              <a:gd name="connsiteX90" fmla="*/ 433938 w 694698"/>
              <a:gd name="connsiteY90" fmla="*/ 60175 h 109895"/>
              <a:gd name="connsiteX91" fmla="*/ 440349 w 694698"/>
              <a:gd name="connsiteY91" fmla="*/ 77475 h 109895"/>
              <a:gd name="connsiteX92" fmla="*/ 435120 w 694698"/>
              <a:gd name="connsiteY92" fmla="*/ 95397 h 109895"/>
              <a:gd name="connsiteX93" fmla="*/ 420804 w 694698"/>
              <a:gd name="connsiteY93" fmla="*/ 105415 h 109895"/>
              <a:gd name="connsiteX94" fmla="*/ 400199 w 694698"/>
              <a:gd name="connsiteY94" fmla="*/ 108402 h 109895"/>
              <a:gd name="connsiteX95" fmla="*/ 364156 w 694698"/>
              <a:gd name="connsiteY95" fmla="*/ 108402 h 109895"/>
              <a:gd name="connsiteX96" fmla="*/ 364156 w 694698"/>
              <a:gd name="connsiteY96" fmla="*/ 1307 h 109895"/>
              <a:gd name="connsiteX97" fmla="*/ 399452 w 694698"/>
              <a:gd name="connsiteY97" fmla="*/ 47045 h 109895"/>
              <a:gd name="connsiteX98" fmla="*/ 415886 w 694698"/>
              <a:gd name="connsiteY98" fmla="*/ 42565 h 109895"/>
              <a:gd name="connsiteX99" fmla="*/ 422297 w 694698"/>
              <a:gd name="connsiteY99" fmla="*/ 28190 h 109895"/>
              <a:gd name="connsiteX100" fmla="*/ 416633 w 694698"/>
              <a:gd name="connsiteY100" fmla="*/ 17175 h 109895"/>
              <a:gd name="connsiteX101" fmla="*/ 400448 w 694698"/>
              <a:gd name="connsiteY101" fmla="*/ 14188 h 109895"/>
              <a:gd name="connsiteX102" fmla="*/ 378225 w 694698"/>
              <a:gd name="connsiteY102" fmla="*/ 14188 h 109895"/>
              <a:gd name="connsiteX103" fmla="*/ 378225 w 694698"/>
              <a:gd name="connsiteY103" fmla="*/ 47045 h 109895"/>
              <a:gd name="connsiteX104" fmla="*/ 399452 w 694698"/>
              <a:gd name="connsiteY104" fmla="*/ 47045 h 109895"/>
              <a:gd name="connsiteX105" fmla="*/ 400199 w 694698"/>
              <a:gd name="connsiteY105" fmla="*/ 95707 h 109895"/>
              <a:gd name="connsiteX106" fmla="*/ 418562 w 694698"/>
              <a:gd name="connsiteY106" fmla="*/ 91849 h 109895"/>
              <a:gd name="connsiteX107" fmla="*/ 425596 w 694698"/>
              <a:gd name="connsiteY107" fmla="*/ 77786 h 109895"/>
              <a:gd name="connsiteX108" fmla="*/ 418998 w 694698"/>
              <a:gd name="connsiteY108" fmla="*/ 63722 h 109895"/>
              <a:gd name="connsiteX109" fmla="*/ 398518 w 694698"/>
              <a:gd name="connsiteY109" fmla="*/ 59740 h 109895"/>
              <a:gd name="connsiteX110" fmla="*/ 378225 w 694698"/>
              <a:gd name="connsiteY110" fmla="*/ 59740 h 109895"/>
              <a:gd name="connsiteX111" fmla="*/ 378225 w 694698"/>
              <a:gd name="connsiteY111" fmla="*/ 95707 h 109895"/>
              <a:gd name="connsiteX112" fmla="*/ 400199 w 694698"/>
              <a:gd name="connsiteY112" fmla="*/ 95707 h 109895"/>
              <a:gd name="connsiteX113" fmla="*/ 460456 w 694698"/>
              <a:gd name="connsiteY113" fmla="*/ 1307 h 109895"/>
              <a:gd name="connsiteX114" fmla="*/ 525879 w 694698"/>
              <a:gd name="connsiteY114" fmla="*/ 1307 h 109895"/>
              <a:gd name="connsiteX115" fmla="*/ 525879 w 694698"/>
              <a:gd name="connsiteY115" fmla="*/ 14188 h 109895"/>
              <a:gd name="connsiteX116" fmla="*/ 474524 w 694698"/>
              <a:gd name="connsiteY116" fmla="*/ 14188 h 109895"/>
              <a:gd name="connsiteX117" fmla="*/ 474524 w 694698"/>
              <a:gd name="connsiteY117" fmla="*/ 49720 h 109895"/>
              <a:gd name="connsiteX118" fmla="*/ 518098 w 694698"/>
              <a:gd name="connsiteY118" fmla="*/ 49720 h 109895"/>
              <a:gd name="connsiteX119" fmla="*/ 518098 w 694698"/>
              <a:gd name="connsiteY119" fmla="*/ 62415 h 109895"/>
              <a:gd name="connsiteX120" fmla="*/ 474524 w 694698"/>
              <a:gd name="connsiteY120" fmla="*/ 62415 h 109895"/>
              <a:gd name="connsiteX121" fmla="*/ 474524 w 694698"/>
              <a:gd name="connsiteY121" fmla="*/ 108402 h 109895"/>
              <a:gd name="connsiteX122" fmla="*/ 460456 w 694698"/>
              <a:gd name="connsiteY122" fmla="*/ 108402 h 109895"/>
              <a:gd name="connsiteX123" fmla="*/ 460456 w 694698"/>
              <a:gd name="connsiteY123" fmla="*/ 1307 h 109895"/>
              <a:gd name="connsiteX124" fmla="*/ 545363 w 694698"/>
              <a:gd name="connsiteY124" fmla="*/ 1307 h 109895"/>
              <a:gd name="connsiteX125" fmla="*/ 610787 w 694698"/>
              <a:gd name="connsiteY125" fmla="*/ 1307 h 109895"/>
              <a:gd name="connsiteX126" fmla="*/ 610787 w 694698"/>
              <a:gd name="connsiteY126" fmla="*/ 14188 h 109895"/>
              <a:gd name="connsiteX127" fmla="*/ 559431 w 694698"/>
              <a:gd name="connsiteY127" fmla="*/ 14188 h 109895"/>
              <a:gd name="connsiteX128" fmla="*/ 559431 w 694698"/>
              <a:gd name="connsiteY128" fmla="*/ 49720 h 109895"/>
              <a:gd name="connsiteX129" fmla="*/ 603006 w 694698"/>
              <a:gd name="connsiteY129" fmla="*/ 49720 h 109895"/>
              <a:gd name="connsiteX130" fmla="*/ 603006 w 694698"/>
              <a:gd name="connsiteY130" fmla="*/ 62415 h 109895"/>
              <a:gd name="connsiteX131" fmla="*/ 559431 w 694698"/>
              <a:gd name="connsiteY131" fmla="*/ 62415 h 109895"/>
              <a:gd name="connsiteX132" fmla="*/ 559431 w 694698"/>
              <a:gd name="connsiteY132" fmla="*/ 108402 h 109895"/>
              <a:gd name="connsiteX133" fmla="*/ 545363 w 694698"/>
              <a:gd name="connsiteY133" fmla="*/ 108402 h 109895"/>
              <a:gd name="connsiteX134" fmla="*/ 545363 w 694698"/>
              <a:gd name="connsiteY134" fmla="*/ 1307 h 109895"/>
              <a:gd name="connsiteX135" fmla="*/ 659279 w 694698"/>
              <a:gd name="connsiteY135" fmla="*/ 109896 h 109895"/>
              <a:gd name="connsiteX136" fmla="*/ 640604 w 694698"/>
              <a:gd name="connsiteY136" fmla="*/ 106287 h 109895"/>
              <a:gd name="connsiteX137" fmla="*/ 627905 w 694698"/>
              <a:gd name="connsiteY137" fmla="*/ 96019 h 109895"/>
              <a:gd name="connsiteX138" fmla="*/ 623236 w 694698"/>
              <a:gd name="connsiteY138" fmla="*/ 79590 h 109895"/>
              <a:gd name="connsiteX139" fmla="*/ 628652 w 694698"/>
              <a:gd name="connsiteY139" fmla="*/ 62105 h 109895"/>
              <a:gd name="connsiteX140" fmla="*/ 643405 w 694698"/>
              <a:gd name="connsiteY140" fmla="*/ 51525 h 109895"/>
              <a:gd name="connsiteX141" fmla="*/ 631454 w 694698"/>
              <a:gd name="connsiteY141" fmla="*/ 42378 h 109895"/>
              <a:gd name="connsiteX142" fmla="*/ 627158 w 694698"/>
              <a:gd name="connsiteY142" fmla="*/ 27318 h 109895"/>
              <a:gd name="connsiteX143" fmla="*/ 631329 w 694698"/>
              <a:gd name="connsiteY143" fmla="*/ 12383 h 109895"/>
              <a:gd name="connsiteX144" fmla="*/ 642845 w 694698"/>
              <a:gd name="connsiteY144" fmla="*/ 3111 h 109895"/>
              <a:gd name="connsiteX145" fmla="*/ 659279 w 694698"/>
              <a:gd name="connsiteY145" fmla="*/ 0 h 109895"/>
              <a:gd name="connsiteX146" fmla="*/ 675401 w 694698"/>
              <a:gd name="connsiteY146" fmla="*/ 3111 h 109895"/>
              <a:gd name="connsiteX147" fmla="*/ 686731 w 694698"/>
              <a:gd name="connsiteY147" fmla="*/ 12073 h 109895"/>
              <a:gd name="connsiteX148" fmla="*/ 691088 w 694698"/>
              <a:gd name="connsiteY148" fmla="*/ 27008 h 109895"/>
              <a:gd name="connsiteX149" fmla="*/ 686606 w 694698"/>
              <a:gd name="connsiteY149" fmla="*/ 42253 h 109895"/>
              <a:gd name="connsiteX150" fmla="*/ 674779 w 694698"/>
              <a:gd name="connsiteY150" fmla="*/ 51525 h 109895"/>
              <a:gd name="connsiteX151" fmla="*/ 689159 w 694698"/>
              <a:gd name="connsiteY151" fmla="*/ 61669 h 109895"/>
              <a:gd name="connsiteX152" fmla="*/ 694699 w 694698"/>
              <a:gd name="connsiteY152" fmla="*/ 79155 h 109895"/>
              <a:gd name="connsiteX153" fmla="*/ 690030 w 694698"/>
              <a:gd name="connsiteY153" fmla="*/ 95707 h 109895"/>
              <a:gd name="connsiteX154" fmla="*/ 677331 w 694698"/>
              <a:gd name="connsiteY154" fmla="*/ 106287 h 109895"/>
              <a:gd name="connsiteX155" fmla="*/ 659279 w 694698"/>
              <a:gd name="connsiteY155" fmla="*/ 109896 h 109895"/>
              <a:gd name="connsiteX156" fmla="*/ 659279 w 694698"/>
              <a:gd name="connsiteY156" fmla="*/ 46111 h 109895"/>
              <a:gd name="connsiteX157" fmla="*/ 672289 w 694698"/>
              <a:gd name="connsiteY157" fmla="*/ 41631 h 109895"/>
              <a:gd name="connsiteX158" fmla="*/ 677518 w 694698"/>
              <a:gd name="connsiteY158" fmla="*/ 28936 h 109895"/>
              <a:gd name="connsiteX159" fmla="*/ 672289 w 694698"/>
              <a:gd name="connsiteY159" fmla="*/ 16428 h 109895"/>
              <a:gd name="connsiteX160" fmla="*/ 659279 w 694698"/>
              <a:gd name="connsiteY160" fmla="*/ 11761 h 109895"/>
              <a:gd name="connsiteX161" fmla="*/ 645957 w 694698"/>
              <a:gd name="connsiteY161" fmla="*/ 16428 h 109895"/>
              <a:gd name="connsiteX162" fmla="*/ 640729 w 694698"/>
              <a:gd name="connsiteY162" fmla="*/ 28936 h 109895"/>
              <a:gd name="connsiteX163" fmla="*/ 645957 w 694698"/>
              <a:gd name="connsiteY163" fmla="*/ 41631 h 109895"/>
              <a:gd name="connsiteX164" fmla="*/ 659279 w 694698"/>
              <a:gd name="connsiteY164" fmla="*/ 46111 h 109895"/>
              <a:gd name="connsiteX165" fmla="*/ 659279 w 694698"/>
              <a:gd name="connsiteY165" fmla="*/ 98072 h 109895"/>
              <a:gd name="connsiteX166" fmla="*/ 674654 w 694698"/>
              <a:gd name="connsiteY166" fmla="*/ 92721 h 109895"/>
              <a:gd name="connsiteX167" fmla="*/ 680941 w 694698"/>
              <a:gd name="connsiteY167" fmla="*/ 77350 h 109895"/>
              <a:gd name="connsiteX168" fmla="*/ 674654 w 694698"/>
              <a:gd name="connsiteY168" fmla="*/ 62105 h 109895"/>
              <a:gd name="connsiteX169" fmla="*/ 659279 w 694698"/>
              <a:gd name="connsiteY169" fmla="*/ 56566 h 109895"/>
              <a:gd name="connsiteX170" fmla="*/ 643281 w 694698"/>
              <a:gd name="connsiteY170" fmla="*/ 62105 h 109895"/>
              <a:gd name="connsiteX171" fmla="*/ 636994 w 694698"/>
              <a:gd name="connsiteY171" fmla="*/ 77350 h 109895"/>
              <a:gd name="connsiteX172" fmla="*/ 643281 w 694698"/>
              <a:gd name="connsiteY172" fmla="*/ 92721 h 109895"/>
              <a:gd name="connsiteX173" fmla="*/ 659279 w 694698"/>
              <a:gd name="connsiteY173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</a:cxnLst>
            <a:rect l="l" t="t" r="r" b="b"/>
            <a:pathLst>
              <a:path w="69469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1" y="49720"/>
                </a:lnTo>
                <a:lnTo>
                  <a:pt x="165521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221545" y="109896"/>
                </a:moveTo>
                <a:cubicBezTo>
                  <a:pt x="214821" y="109896"/>
                  <a:pt x="208721" y="107967"/>
                  <a:pt x="203368" y="104047"/>
                </a:cubicBezTo>
                <a:cubicBezTo>
                  <a:pt x="197952" y="100188"/>
                  <a:pt x="193719" y="94214"/>
                  <a:pt x="190669" y="86125"/>
                </a:cubicBezTo>
                <a:cubicBezTo>
                  <a:pt x="187681" y="77972"/>
                  <a:pt x="186187" y="67518"/>
                  <a:pt x="186187" y="54761"/>
                </a:cubicBezTo>
                <a:cubicBezTo>
                  <a:pt x="186187" y="41942"/>
                  <a:pt x="187681" y="31488"/>
                  <a:pt x="190669" y="23398"/>
                </a:cubicBezTo>
                <a:cubicBezTo>
                  <a:pt x="193719" y="15371"/>
                  <a:pt x="197952" y="9459"/>
                  <a:pt x="203368" y="5663"/>
                </a:cubicBezTo>
                <a:cubicBezTo>
                  <a:pt x="208721" y="1867"/>
                  <a:pt x="214821" y="0"/>
                  <a:pt x="221545" y="0"/>
                </a:cubicBezTo>
                <a:cubicBezTo>
                  <a:pt x="228329" y="0"/>
                  <a:pt x="234367" y="1867"/>
                  <a:pt x="239658" y="5663"/>
                </a:cubicBezTo>
                <a:cubicBezTo>
                  <a:pt x="244950" y="9459"/>
                  <a:pt x="249058" y="15371"/>
                  <a:pt x="252046" y="23398"/>
                </a:cubicBezTo>
                <a:cubicBezTo>
                  <a:pt x="255035" y="31363"/>
                  <a:pt x="256528" y="41756"/>
                  <a:pt x="256528" y="54512"/>
                </a:cubicBezTo>
                <a:cubicBezTo>
                  <a:pt x="256528" y="67145"/>
                  <a:pt x="255035" y="77599"/>
                  <a:pt x="252046" y="85876"/>
                </a:cubicBezTo>
                <a:cubicBezTo>
                  <a:pt x="249058" y="94027"/>
                  <a:pt x="244950" y="100064"/>
                  <a:pt x="239658" y="104047"/>
                </a:cubicBezTo>
                <a:cubicBezTo>
                  <a:pt x="234367" y="107967"/>
                  <a:pt x="228329" y="109896"/>
                  <a:pt x="221545" y="109896"/>
                </a:cubicBezTo>
                <a:close/>
                <a:moveTo>
                  <a:pt x="221420" y="98072"/>
                </a:moveTo>
                <a:cubicBezTo>
                  <a:pt x="225902" y="98072"/>
                  <a:pt x="229699" y="96766"/>
                  <a:pt x="232749" y="94089"/>
                </a:cubicBezTo>
                <a:cubicBezTo>
                  <a:pt x="235986" y="91289"/>
                  <a:pt x="238351" y="86747"/>
                  <a:pt x="239970" y="80462"/>
                </a:cubicBezTo>
                <a:cubicBezTo>
                  <a:pt x="241651" y="74114"/>
                  <a:pt x="242460" y="65589"/>
                  <a:pt x="242460" y="54948"/>
                </a:cubicBezTo>
                <a:cubicBezTo>
                  <a:pt x="242460" y="44307"/>
                  <a:pt x="241713" y="35844"/>
                  <a:pt x="240095" y="29559"/>
                </a:cubicBezTo>
                <a:cubicBezTo>
                  <a:pt x="238476" y="23150"/>
                  <a:pt x="236111" y="18669"/>
                  <a:pt x="232936" y="15931"/>
                </a:cubicBezTo>
                <a:cubicBezTo>
                  <a:pt x="229823" y="13192"/>
                  <a:pt x="226026" y="11761"/>
                  <a:pt x="221545" y="11761"/>
                </a:cubicBezTo>
                <a:cubicBezTo>
                  <a:pt x="217062" y="11761"/>
                  <a:pt x="213265" y="13192"/>
                  <a:pt x="210090" y="15931"/>
                </a:cubicBezTo>
                <a:cubicBezTo>
                  <a:pt x="206853" y="18669"/>
                  <a:pt x="204426" y="23150"/>
                  <a:pt x="202745" y="29559"/>
                </a:cubicBezTo>
                <a:cubicBezTo>
                  <a:pt x="201064" y="35844"/>
                  <a:pt x="200193" y="44307"/>
                  <a:pt x="200193" y="54948"/>
                </a:cubicBezTo>
                <a:cubicBezTo>
                  <a:pt x="200193" y="65589"/>
                  <a:pt x="201002" y="74114"/>
                  <a:pt x="202621" y="80462"/>
                </a:cubicBezTo>
                <a:cubicBezTo>
                  <a:pt x="204301" y="86747"/>
                  <a:pt x="206729" y="91289"/>
                  <a:pt x="209904" y="94089"/>
                </a:cubicBezTo>
                <a:cubicBezTo>
                  <a:pt x="213078" y="96766"/>
                  <a:pt x="216938" y="98072"/>
                  <a:pt x="221420" y="98072"/>
                </a:cubicBezTo>
                <a:close/>
                <a:moveTo>
                  <a:pt x="274892" y="1307"/>
                </a:moveTo>
                <a:lnTo>
                  <a:pt x="341187" y="1307"/>
                </a:lnTo>
                <a:lnTo>
                  <a:pt x="341187" y="14188"/>
                </a:lnTo>
                <a:lnTo>
                  <a:pt x="288898" y="14188"/>
                </a:lnTo>
                <a:lnTo>
                  <a:pt x="288898" y="46547"/>
                </a:lnTo>
                <a:lnTo>
                  <a:pt x="333281" y="46547"/>
                </a:lnTo>
                <a:lnTo>
                  <a:pt x="333281" y="59242"/>
                </a:lnTo>
                <a:lnTo>
                  <a:pt x="288898" y="59242"/>
                </a:lnTo>
                <a:lnTo>
                  <a:pt x="288898" y="95707"/>
                </a:lnTo>
                <a:lnTo>
                  <a:pt x="341934" y="95707"/>
                </a:lnTo>
                <a:lnTo>
                  <a:pt x="341934" y="108402"/>
                </a:lnTo>
                <a:lnTo>
                  <a:pt x="274892" y="108402"/>
                </a:lnTo>
                <a:lnTo>
                  <a:pt x="274892" y="1307"/>
                </a:lnTo>
                <a:close/>
                <a:moveTo>
                  <a:pt x="364156" y="1307"/>
                </a:moveTo>
                <a:lnTo>
                  <a:pt x="400448" y="1307"/>
                </a:lnTo>
                <a:cubicBezTo>
                  <a:pt x="412213" y="1307"/>
                  <a:pt x="421114" y="3298"/>
                  <a:pt x="427215" y="7281"/>
                </a:cubicBezTo>
                <a:cubicBezTo>
                  <a:pt x="433377" y="11264"/>
                  <a:pt x="436490" y="17984"/>
                  <a:pt x="436490" y="27443"/>
                </a:cubicBezTo>
                <a:cubicBezTo>
                  <a:pt x="436490" y="35097"/>
                  <a:pt x="434560" y="40947"/>
                  <a:pt x="430639" y="44930"/>
                </a:cubicBezTo>
                <a:cubicBezTo>
                  <a:pt x="426779" y="48788"/>
                  <a:pt x="421612" y="51463"/>
                  <a:pt x="415139" y="52832"/>
                </a:cubicBezTo>
                <a:cubicBezTo>
                  <a:pt x="423355" y="53828"/>
                  <a:pt x="429642" y="56255"/>
                  <a:pt x="433938" y="60175"/>
                </a:cubicBezTo>
                <a:cubicBezTo>
                  <a:pt x="438233" y="63971"/>
                  <a:pt x="440349" y="69696"/>
                  <a:pt x="440349" y="77475"/>
                </a:cubicBezTo>
                <a:cubicBezTo>
                  <a:pt x="440349" y="84880"/>
                  <a:pt x="438607" y="90854"/>
                  <a:pt x="435120" y="95397"/>
                </a:cubicBezTo>
                <a:cubicBezTo>
                  <a:pt x="431635" y="100002"/>
                  <a:pt x="426841" y="103300"/>
                  <a:pt x="420804" y="105415"/>
                </a:cubicBezTo>
                <a:cubicBezTo>
                  <a:pt x="414702" y="107406"/>
                  <a:pt x="407855" y="108402"/>
                  <a:pt x="400199" y="108402"/>
                </a:cubicBezTo>
                <a:lnTo>
                  <a:pt x="364156" y="108402"/>
                </a:lnTo>
                <a:lnTo>
                  <a:pt x="364156" y="1307"/>
                </a:lnTo>
                <a:close/>
                <a:moveTo>
                  <a:pt x="399452" y="47045"/>
                </a:moveTo>
                <a:cubicBezTo>
                  <a:pt x="406174" y="47045"/>
                  <a:pt x="411652" y="45552"/>
                  <a:pt x="415886" y="42565"/>
                </a:cubicBezTo>
                <a:cubicBezTo>
                  <a:pt x="420118" y="39453"/>
                  <a:pt x="422297" y="34662"/>
                  <a:pt x="422297" y="28190"/>
                </a:cubicBezTo>
                <a:cubicBezTo>
                  <a:pt x="422297" y="22714"/>
                  <a:pt x="420367" y="19042"/>
                  <a:pt x="416633" y="17175"/>
                </a:cubicBezTo>
                <a:cubicBezTo>
                  <a:pt x="412835" y="15184"/>
                  <a:pt x="407420" y="14188"/>
                  <a:pt x="400448" y="14188"/>
                </a:cubicBezTo>
                <a:lnTo>
                  <a:pt x="378225" y="14188"/>
                </a:lnTo>
                <a:lnTo>
                  <a:pt x="378225" y="47045"/>
                </a:lnTo>
                <a:lnTo>
                  <a:pt x="399452" y="47045"/>
                </a:lnTo>
                <a:close/>
                <a:moveTo>
                  <a:pt x="400199" y="95707"/>
                </a:moveTo>
                <a:cubicBezTo>
                  <a:pt x="407731" y="95707"/>
                  <a:pt x="413893" y="94401"/>
                  <a:pt x="418562" y="91849"/>
                </a:cubicBezTo>
                <a:cubicBezTo>
                  <a:pt x="423231" y="89236"/>
                  <a:pt x="425596" y="84569"/>
                  <a:pt x="425596" y="77786"/>
                </a:cubicBezTo>
                <a:cubicBezTo>
                  <a:pt x="425596" y="71003"/>
                  <a:pt x="423355" y="66336"/>
                  <a:pt x="418998" y="63722"/>
                </a:cubicBezTo>
                <a:cubicBezTo>
                  <a:pt x="414702" y="61046"/>
                  <a:pt x="407918" y="59740"/>
                  <a:pt x="398518" y="59740"/>
                </a:cubicBezTo>
                <a:lnTo>
                  <a:pt x="378225" y="59740"/>
                </a:lnTo>
                <a:lnTo>
                  <a:pt x="378225" y="95707"/>
                </a:lnTo>
                <a:lnTo>
                  <a:pt x="400199" y="95707"/>
                </a:lnTo>
                <a:close/>
                <a:moveTo>
                  <a:pt x="460456" y="1307"/>
                </a:moveTo>
                <a:lnTo>
                  <a:pt x="525879" y="1307"/>
                </a:lnTo>
                <a:lnTo>
                  <a:pt x="525879" y="14188"/>
                </a:lnTo>
                <a:lnTo>
                  <a:pt x="474524" y="14188"/>
                </a:lnTo>
                <a:lnTo>
                  <a:pt x="474524" y="49720"/>
                </a:lnTo>
                <a:lnTo>
                  <a:pt x="518098" y="49720"/>
                </a:lnTo>
                <a:lnTo>
                  <a:pt x="518098" y="62415"/>
                </a:lnTo>
                <a:lnTo>
                  <a:pt x="474524" y="62415"/>
                </a:lnTo>
                <a:lnTo>
                  <a:pt x="474524" y="108402"/>
                </a:lnTo>
                <a:lnTo>
                  <a:pt x="460456" y="108402"/>
                </a:lnTo>
                <a:lnTo>
                  <a:pt x="460456" y="1307"/>
                </a:lnTo>
                <a:close/>
                <a:moveTo>
                  <a:pt x="545363" y="1307"/>
                </a:moveTo>
                <a:lnTo>
                  <a:pt x="610787" y="1307"/>
                </a:lnTo>
                <a:lnTo>
                  <a:pt x="610787" y="14188"/>
                </a:lnTo>
                <a:lnTo>
                  <a:pt x="559431" y="14188"/>
                </a:lnTo>
                <a:lnTo>
                  <a:pt x="559431" y="49720"/>
                </a:lnTo>
                <a:lnTo>
                  <a:pt x="603006" y="49720"/>
                </a:lnTo>
                <a:lnTo>
                  <a:pt x="603006" y="62415"/>
                </a:lnTo>
                <a:lnTo>
                  <a:pt x="559431" y="62415"/>
                </a:lnTo>
                <a:lnTo>
                  <a:pt x="559431" y="108402"/>
                </a:lnTo>
                <a:lnTo>
                  <a:pt x="545363" y="108402"/>
                </a:lnTo>
                <a:lnTo>
                  <a:pt x="545363" y="1307"/>
                </a:lnTo>
                <a:close/>
                <a:moveTo>
                  <a:pt x="659279" y="109896"/>
                </a:moveTo>
                <a:cubicBezTo>
                  <a:pt x="652307" y="109896"/>
                  <a:pt x="646082" y="108714"/>
                  <a:pt x="640604" y="106287"/>
                </a:cubicBezTo>
                <a:cubicBezTo>
                  <a:pt x="635189" y="103922"/>
                  <a:pt x="630955" y="100499"/>
                  <a:pt x="627905" y="96019"/>
                </a:cubicBezTo>
                <a:cubicBezTo>
                  <a:pt x="624793" y="91414"/>
                  <a:pt x="623236" y="85938"/>
                  <a:pt x="623236" y="79590"/>
                </a:cubicBezTo>
                <a:cubicBezTo>
                  <a:pt x="623236" y="72683"/>
                  <a:pt x="625042" y="66896"/>
                  <a:pt x="628652" y="62105"/>
                </a:cubicBezTo>
                <a:cubicBezTo>
                  <a:pt x="632325" y="57251"/>
                  <a:pt x="637242" y="53703"/>
                  <a:pt x="643405" y="51525"/>
                </a:cubicBezTo>
                <a:cubicBezTo>
                  <a:pt x="638426" y="49534"/>
                  <a:pt x="634442" y="46485"/>
                  <a:pt x="631454" y="42378"/>
                </a:cubicBezTo>
                <a:cubicBezTo>
                  <a:pt x="628590" y="38333"/>
                  <a:pt x="627158" y="33293"/>
                  <a:pt x="627158" y="27318"/>
                </a:cubicBezTo>
                <a:cubicBezTo>
                  <a:pt x="627158" y="21407"/>
                  <a:pt x="628528" y="16428"/>
                  <a:pt x="631329" y="12383"/>
                </a:cubicBezTo>
                <a:cubicBezTo>
                  <a:pt x="634130" y="8277"/>
                  <a:pt x="637927" y="5228"/>
                  <a:pt x="642845" y="3111"/>
                </a:cubicBezTo>
                <a:cubicBezTo>
                  <a:pt x="647701" y="996"/>
                  <a:pt x="653179" y="0"/>
                  <a:pt x="659279" y="0"/>
                </a:cubicBezTo>
                <a:cubicBezTo>
                  <a:pt x="665255" y="0"/>
                  <a:pt x="670608" y="996"/>
                  <a:pt x="675401" y="3111"/>
                </a:cubicBezTo>
                <a:cubicBezTo>
                  <a:pt x="680194" y="5103"/>
                  <a:pt x="683992" y="8090"/>
                  <a:pt x="686731" y="12073"/>
                </a:cubicBezTo>
                <a:cubicBezTo>
                  <a:pt x="689656" y="16055"/>
                  <a:pt x="691088" y="21033"/>
                  <a:pt x="691088" y="27008"/>
                </a:cubicBezTo>
                <a:cubicBezTo>
                  <a:pt x="691088" y="33106"/>
                  <a:pt x="689594" y="38146"/>
                  <a:pt x="686606" y="42253"/>
                </a:cubicBezTo>
                <a:cubicBezTo>
                  <a:pt x="683618" y="46298"/>
                  <a:pt x="679697" y="49410"/>
                  <a:pt x="674779" y="51525"/>
                </a:cubicBezTo>
                <a:cubicBezTo>
                  <a:pt x="680754" y="53579"/>
                  <a:pt x="685548" y="57001"/>
                  <a:pt x="689159" y="61669"/>
                </a:cubicBezTo>
                <a:cubicBezTo>
                  <a:pt x="692831" y="66336"/>
                  <a:pt x="694699" y="72186"/>
                  <a:pt x="694699" y="79155"/>
                </a:cubicBezTo>
                <a:cubicBezTo>
                  <a:pt x="694699" y="85502"/>
                  <a:pt x="693143" y="91040"/>
                  <a:pt x="690030" y="95707"/>
                </a:cubicBezTo>
                <a:cubicBezTo>
                  <a:pt x="686979" y="100312"/>
                  <a:pt x="682747" y="103797"/>
                  <a:pt x="677331" y="106287"/>
                </a:cubicBezTo>
                <a:cubicBezTo>
                  <a:pt x="672040" y="108714"/>
                  <a:pt x="666064" y="109896"/>
                  <a:pt x="659279" y="109896"/>
                </a:cubicBezTo>
                <a:close/>
                <a:moveTo>
                  <a:pt x="659279" y="46111"/>
                </a:moveTo>
                <a:cubicBezTo>
                  <a:pt x="664570" y="46111"/>
                  <a:pt x="668865" y="44618"/>
                  <a:pt x="672289" y="41631"/>
                </a:cubicBezTo>
                <a:cubicBezTo>
                  <a:pt x="675775" y="38582"/>
                  <a:pt x="677518" y="34350"/>
                  <a:pt x="677518" y="28936"/>
                </a:cubicBezTo>
                <a:cubicBezTo>
                  <a:pt x="677518" y="23585"/>
                  <a:pt x="675775" y="19415"/>
                  <a:pt x="672289" y="16428"/>
                </a:cubicBezTo>
                <a:cubicBezTo>
                  <a:pt x="668865" y="13317"/>
                  <a:pt x="664570" y="11761"/>
                  <a:pt x="659279" y="11761"/>
                </a:cubicBezTo>
                <a:cubicBezTo>
                  <a:pt x="653988" y="11761"/>
                  <a:pt x="649568" y="13317"/>
                  <a:pt x="645957" y="16428"/>
                </a:cubicBezTo>
                <a:cubicBezTo>
                  <a:pt x="642472" y="19415"/>
                  <a:pt x="640729" y="23585"/>
                  <a:pt x="640729" y="28936"/>
                </a:cubicBezTo>
                <a:cubicBezTo>
                  <a:pt x="640729" y="34350"/>
                  <a:pt x="642472" y="38582"/>
                  <a:pt x="645957" y="41631"/>
                </a:cubicBezTo>
                <a:cubicBezTo>
                  <a:pt x="649568" y="44618"/>
                  <a:pt x="653988" y="46111"/>
                  <a:pt x="659279" y="46111"/>
                </a:cubicBezTo>
                <a:close/>
                <a:moveTo>
                  <a:pt x="659279" y="98072"/>
                </a:moveTo>
                <a:cubicBezTo>
                  <a:pt x="665441" y="98072"/>
                  <a:pt x="670546" y="96330"/>
                  <a:pt x="674654" y="92721"/>
                </a:cubicBezTo>
                <a:cubicBezTo>
                  <a:pt x="678825" y="89049"/>
                  <a:pt x="680941" y="83885"/>
                  <a:pt x="680941" y="77350"/>
                </a:cubicBezTo>
                <a:cubicBezTo>
                  <a:pt x="680941" y="70754"/>
                  <a:pt x="678825" y="65714"/>
                  <a:pt x="674654" y="62105"/>
                </a:cubicBezTo>
                <a:cubicBezTo>
                  <a:pt x="670546" y="58433"/>
                  <a:pt x="665441" y="56566"/>
                  <a:pt x="659279" y="56566"/>
                </a:cubicBezTo>
                <a:cubicBezTo>
                  <a:pt x="652867" y="56566"/>
                  <a:pt x="647576" y="58433"/>
                  <a:pt x="643281" y="62105"/>
                </a:cubicBezTo>
                <a:cubicBezTo>
                  <a:pt x="639110" y="65714"/>
                  <a:pt x="636994" y="70754"/>
                  <a:pt x="636994" y="77350"/>
                </a:cubicBezTo>
                <a:cubicBezTo>
                  <a:pt x="636994" y="83885"/>
                  <a:pt x="639110" y="89049"/>
                  <a:pt x="643281" y="92721"/>
                </a:cubicBezTo>
                <a:cubicBezTo>
                  <a:pt x="647576" y="96330"/>
                  <a:pt x="652867" y="98072"/>
                  <a:pt x="659279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6" name="Полилиния 925">
            <a:extLst>
              <a:ext uri="{FF2B5EF4-FFF2-40B4-BE49-F238E27FC236}">
                <a16:creationId xmlns:a16="http://schemas.microsoft.com/office/drawing/2014/main" id="{D9F6BDE0-BD4B-5066-5BE2-ED97A897D465}"/>
              </a:ext>
            </a:extLst>
          </p:cNvPr>
          <p:cNvSpPr/>
          <p:nvPr userDrawn="1"/>
        </p:nvSpPr>
        <p:spPr>
          <a:xfrm>
            <a:off x="6844904" y="3787620"/>
            <a:ext cx="2557159" cy="726227"/>
          </a:xfrm>
          <a:custGeom>
            <a:avLst/>
            <a:gdLst>
              <a:gd name="connsiteX0" fmla="*/ 2232 w 2191162"/>
              <a:gd name="connsiteY0" fmla="*/ 1022 h 622284"/>
              <a:gd name="connsiteX1" fmla="*/ 2193395 w 2191162"/>
              <a:gd name="connsiteY1" fmla="*/ 1022 h 622284"/>
              <a:gd name="connsiteX2" fmla="*/ 2193395 w 2191162"/>
              <a:gd name="connsiteY2" fmla="*/ 623306 h 622284"/>
              <a:gd name="connsiteX3" fmla="*/ 2232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022"/>
                </a:moveTo>
                <a:lnTo>
                  <a:pt x="2193395" y="1022"/>
                </a:lnTo>
                <a:lnTo>
                  <a:pt x="2193395" y="623306"/>
                </a:lnTo>
                <a:lnTo>
                  <a:pt x="2232" y="623306"/>
                </a:lnTo>
                <a:close/>
              </a:path>
            </a:pathLst>
          </a:custGeom>
          <a:solidFill>
            <a:srgbClr val="0F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7" name="Полилиния 926">
            <a:extLst>
              <a:ext uri="{FF2B5EF4-FFF2-40B4-BE49-F238E27FC236}">
                <a16:creationId xmlns:a16="http://schemas.microsoft.com/office/drawing/2014/main" id="{6C9B65F3-E595-84F3-5134-D8F51FC0F5BC}"/>
              </a:ext>
            </a:extLst>
          </p:cNvPr>
          <p:cNvSpPr/>
          <p:nvPr userDrawn="1"/>
        </p:nvSpPr>
        <p:spPr>
          <a:xfrm>
            <a:off x="6968113" y="4089586"/>
            <a:ext cx="679828" cy="128252"/>
          </a:xfrm>
          <a:custGeom>
            <a:avLst/>
            <a:gdLst>
              <a:gd name="connsiteX0" fmla="*/ 22099 w 582526"/>
              <a:gd name="connsiteY0" fmla="*/ 108402 h 109895"/>
              <a:gd name="connsiteX1" fmla="*/ 10147 w 582526"/>
              <a:gd name="connsiteY1" fmla="*/ 108402 h 109895"/>
              <a:gd name="connsiteX2" fmla="*/ 16435 w 582526"/>
              <a:gd name="connsiteY2" fmla="*/ 77475 h 109895"/>
              <a:gd name="connsiteX3" fmla="*/ 0 w 582526"/>
              <a:gd name="connsiteY3" fmla="*/ 77475 h 109895"/>
              <a:gd name="connsiteX4" fmla="*/ 0 w 582526"/>
              <a:gd name="connsiteY4" fmla="*/ 67020 h 109895"/>
              <a:gd name="connsiteX5" fmla="*/ 18675 w 582526"/>
              <a:gd name="connsiteY5" fmla="*/ 67020 h 109895"/>
              <a:gd name="connsiteX6" fmla="*/ 24216 w 582526"/>
              <a:gd name="connsiteY6" fmla="*/ 39826 h 109895"/>
              <a:gd name="connsiteX7" fmla="*/ 4047 w 582526"/>
              <a:gd name="connsiteY7" fmla="*/ 39826 h 109895"/>
              <a:gd name="connsiteX8" fmla="*/ 4047 w 582526"/>
              <a:gd name="connsiteY8" fmla="*/ 29372 h 109895"/>
              <a:gd name="connsiteX9" fmla="*/ 26269 w 582526"/>
              <a:gd name="connsiteY9" fmla="*/ 29372 h 109895"/>
              <a:gd name="connsiteX10" fmla="*/ 32121 w 582526"/>
              <a:gd name="connsiteY10" fmla="*/ 1307 h 109895"/>
              <a:gd name="connsiteX11" fmla="*/ 44073 w 582526"/>
              <a:gd name="connsiteY11" fmla="*/ 1307 h 109895"/>
              <a:gd name="connsiteX12" fmla="*/ 38222 w 582526"/>
              <a:gd name="connsiteY12" fmla="*/ 29372 h 109895"/>
              <a:gd name="connsiteX13" fmla="*/ 60630 w 582526"/>
              <a:gd name="connsiteY13" fmla="*/ 29372 h 109895"/>
              <a:gd name="connsiteX14" fmla="*/ 66481 w 582526"/>
              <a:gd name="connsiteY14" fmla="*/ 1307 h 109895"/>
              <a:gd name="connsiteX15" fmla="*/ 78434 w 582526"/>
              <a:gd name="connsiteY15" fmla="*/ 1307 h 109895"/>
              <a:gd name="connsiteX16" fmla="*/ 72583 w 582526"/>
              <a:gd name="connsiteY16" fmla="*/ 29372 h 109895"/>
              <a:gd name="connsiteX17" fmla="*/ 89328 w 582526"/>
              <a:gd name="connsiteY17" fmla="*/ 29372 h 109895"/>
              <a:gd name="connsiteX18" fmla="*/ 89328 w 582526"/>
              <a:gd name="connsiteY18" fmla="*/ 39826 h 109895"/>
              <a:gd name="connsiteX19" fmla="*/ 70529 w 582526"/>
              <a:gd name="connsiteY19" fmla="*/ 39826 h 109895"/>
              <a:gd name="connsiteX20" fmla="*/ 64988 w 582526"/>
              <a:gd name="connsiteY20" fmla="*/ 67020 h 109895"/>
              <a:gd name="connsiteX21" fmla="*/ 85281 w 582526"/>
              <a:gd name="connsiteY21" fmla="*/ 67020 h 109895"/>
              <a:gd name="connsiteX22" fmla="*/ 85281 w 582526"/>
              <a:gd name="connsiteY22" fmla="*/ 77475 h 109895"/>
              <a:gd name="connsiteX23" fmla="*/ 62747 w 582526"/>
              <a:gd name="connsiteY23" fmla="*/ 77475 h 109895"/>
              <a:gd name="connsiteX24" fmla="*/ 56460 w 582526"/>
              <a:gd name="connsiteY24" fmla="*/ 108402 h 109895"/>
              <a:gd name="connsiteX25" fmla="*/ 44509 w 582526"/>
              <a:gd name="connsiteY25" fmla="*/ 108402 h 109895"/>
              <a:gd name="connsiteX26" fmla="*/ 50796 w 582526"/>
              <a:gd name="connsiteY26" fmla="*/ 77475 h 109895"/>
              <a:gd name="connsiteX27" fmla="*/ 28386 w 582526"/>
              <a:gd name="connsiteY27" fmla="*/ 77475 h 109895"/>
              <a:gd name="connsiteX28" fmla="*/ 22099 w 582526"/>
              <a:gd name="connsiteY28" fmla="*/ 108402 h 109895"/>
              <a:gd name="connsiteX29" fmla="*/ 30626 w 582526"/>
              <a:gd name="connsiteY29" fmla="*/ 67020 h 109895"/>
              <a:gd name="connsiteX30" fmla="*/ 53036 w 582526"/>
              <a:gd name="connsiteY30" fmla="*/ 67020 h 109895"/>
              <a:gd name="connsiteX31" fmla="*/ 58577 w 582526"/>
              <a:gd name="connsiteY31" fmla="*/ 39826 h 109895"/>
              <a:gd name="connsiteX32" fmla="*/ 36167 w 582526"/>
              <a:gd name="connsiteY32" fmla="*/ 39826 h 109895"/>
              <a:gd name="connsiteX33" fmla="*/ 30626 w 582526"/>
              <a:gd name="connsiteY33" fmla="*/ 67020 h 109895"/>
              <a:gd name="connsiteX34" fmla="*/ 136636 w 582526"/>
              <a:gd name="connsiteY34" fmla="*/ 109896 h 109895"/>
              <a:gd name="connsiteX35" fmla="*/ 118460 w 582526"/>
              <a:gd name="connsiteY35" fmla="*/ 104047 h 109895"/>
              <a:gd name="connsiteX36" fmla="*/ 105761 w 582526"/>
              <a:gd name="connsiteY36" fmla="*/ 86125 h 109895"/>
              <a:gd name="connsiteX37" fmla="*/ 101279 w 582526"/>
              <a:gd name="connsiteY37" fmla="*/ 54761 h 109895"/>
              <a:gd name="connsiteX38" fmla="*/ 105761 w 582526"/>
              <a:gd name="connsiteY38" fmla="*/ 23398 h 109895"/>
              <a:gd name="connsiteX39" fmla="*/ 118460 w 582526"/>
              <a:gd name="connsiteY39" fmla="*/ 5663 h 109895"/>
              <a:gd name="connsiteX40" fmla="*/ 136636 w 582526"/>
              <a:gd name="connsiteY40" fmla="*/ 0 h 109895"/>
              <a:gd name="connsiteX41" fmla="*/ 154752 w 582526"/>
              <a:gd name="connsiteY41" fmla="*/ 5663 h 109895"/>
              <a:gd name="connsiteX42" fmla="*/ 167139 w 582526"/>
              <a:gd name="connsiteY42" fmla="*/ 23398 h 109895"/>
              <a:gd name="connsiteX43" fmla="*/ 171621 w 582526"/>
              <a:gd name="connsiteY43" fmla="*/ 54512 h 109895"/>
              <a:gd name="connsiteX44" fmla="*/ 167139 w 582526"/>
              <a:gd name="connsiteY44" fmla="*/ 85876 h 109895"/>
              <a:gd name="connsiteX45" fmla="*/ 154752 w 582526"/>
              <a:gd name="connsiteY45" fmla="*/ 104047 h 109895"/>
              <a:gd name="connsiteX46" fmla="*/ 136636 w 582526"/>
              <a:gd name="connsiteY46" fmla="*/ 109896 h 109895"/>
              <a:gd name="connsiteX47" fmla="*/ 136512 w 582526"/>
              <a:gd name="connsiteY47" fmla="*/ 98072 h 109895"/>
              <a:gd name="connsiteX48" fmla="*/ 147841 w 582526"/>
              <a:gd name="connsiteY48" fmla="*/ 94089 h 109895"/>
              <a:gd name="connsiteX49" fmla="*/ 155063 w 582526"/>
              <a:gd name="connsiteY49" fmla="*/ 80462 h 109895"/>
              <a:gd name="connsiteX50" fmla="*/ 157552 w 582526"/>
              <a:gd name="connsiteY50" fmla="*/ 54948 h 109895"/>
              <a:gd name="connsiteX51" fmla="*/ 155186 w 582526"/>
              <a:gd name="connsiteY51" fmla="*/ 29559 h 109895"/>
              <a:gd name="connsiteX52" fmla="*/ 148028 w 582526"/>
              <a:gd name="connsiteY52" fmla="*/ 15931 h 109895"/>
              <a:gd name="connsiteX53" fmla="*/ 136636 w 582526"/>
              <a:gd name="connsiteY53" fmla="*/ 11761 h 109895"/>
              <a:gd name="connsiteX54" fmla="*/ 125183 w 582526"/>
              <a:gd name="connsiteY54" fmla="*/ 15931 h 109895"/>
              <a:gd name="connsiteX55" fmla="*/ 117837 w 582526"/>
              <a:gd name="connsiteY55" fmla="*/ 29559 h 109895"/>
              <a:gd name="connsiteX56" fmla="*/ 115285 w 582526"/>
              <a:gd name="connsiteY56" fmla="*/ 54948 h 109895"/>
              <a:gd name="connsiteX57" fmla="*/ 117714 w 582526"/>
              <a:gd name="connsiteY57" fmla="*/ 80462 h 109895"/>
              <a:gd name="connsiteX58" fmla="*/ 124996 w 582526"/>
              <a:gd name="connsiteY58" fmla="*/ 94089 h 109895"/>
              <a:gd name="connsiteX59" fmla="*/ 136512 w 582526"/>
              <a:gd name="connsiteY59" fmla="*/ 98072 h 109895"/>
              <a:gd name="connsiteX60" fmla="*/ 189984 w 582526"/>
              <a:gd name="connsiteY60" fmla="*/ 1307 h 109895"/>
              <a:gd name="connsiteX61" fmla="*/ 255408 w 582526"/>
              <a:gd name="connsiteY61" fmla="*/ 1307 h 109895"/>
              <a:gd name="connsiteX62" fmla="*/ 255408 w 582526"/>
              <a:gd name="connsiteY62" fmla="*/ 14188 h 109895"/>
              <a:gd name="connsiteX63" fmla="*/ 203990 w 582526"/>
              <a:gd name="connsiteY63" fmla="*/ 14188 h 109895"/>
              <a:gd name="connsiteX64" fmla="*/ 203990 w 582526"/>
              <a:gd name="connsiteY64" fmla="*/ 49720 h 109895"/>
              <a:gd name="connsiteX65" fmla="*/ 247627 w 582526"/>
              <a:gd name="connsiteY65" fmla="*/ 49720 h 109895"/>
              <a:gd name="connsiteX66" fmla="*/ 247627 w 582526"/>
              <a:gd name="connsiteY66" fmla="*/ 62415 h 109895"/>
              <a:gd name="connsiteX67" fmla="*/ 203990 w 582526"/>
              <a:gd name="connsiteY67" fmla="*/ 62415 h 109895"/>
              <a:gd name="connsiteX68" fmla="*/ 203990 w 582526"/>
              <a:gd name="connsiteY68" fmla="*/ 108402 h 109895"/>
              <a:gd name="connsiteX69" fmla="*/ 189984 w 582526"/>
              <a:gd name="connsiteY69" fmla="*/ 108402 h 109895"/>
              <a:gd name="connsiteX70" fmla="*/ 189984 w 582526"/>
              <a:gd name="connsiteY70" fmla="*/ 1307 h 109895"/>
              <a:gd name="connsiteX71" fmla="*/ 303713 w 582526"/>
              <a:gd name="connsiteY71" fmla="*/ 109896 h 109895"/>
              <a:gd name="connsiteX72" fmla="*/ 285474 w 582526"/>
              <a:gd name="connsiteY72" fmla="*/ 104047 h 109895"/>
              <a:gd name="connsiteX73" fmla="*/ 272775 w 582526"/>
              <a:gd name="connsiteY73" fmla="*/ 86125 h 109895"/>
              <a:gd name="connsiteX74" fmla="*/ 268294 w 582526"/>
              <a:gd name="connsiteY74" fmla="*/ 54761 h 109895"/>
              <a:gd name="connsiteX75" fmla="*/ 272775 w 582526"/>
              <a:gd name="connsiteY75" fmla="*/ 23398 h 109895"/>
              <a:gd name="connsiteX76" fmla="*/ 285474 w 582526"/>
              <a:gd name="connsiteY76" fmla="*/ 5663 h 109895"/>
              <a:gd name="connsiteX77" fmla="*/ 303713 w 582526"/>
              <a:gd name="connsiteY77" fmla="*/ 0 h 109895"/>
              <a:gd name="connsiteX78" fmla="*/ 321764 w 582526"/>
              <a:gd name="connsiteY78" fmla="*/ 5663 h 109895"/>
              <a:gd name="connsiteX79" fmla="*/ 334214 w 582526"/>
              <a:gd name="connsiteY79" fmla="*/ 23398 h 109895"/>
              <a:gd name="connsiteX80" fmla="*/ 338698 w 582526"/>
              <a:gd name="connsiteY80" fmla="*/ 54512 h 109895"/>
              <a:gd name="connsiteX81" fmla="*/ 334214 w 582526"/>
              <a:gd name="connsiteY81" fmla="*/ 85876 h 109895"/>
              <a:gd name="connsiteX82" fmla="*/ 321764 w 582526"/>
              <a:gd name="connsiteY82" fmla="*/ 104047 h 109895"/>
              <a:gd name="connsiteX83" fmla="*/ 303713 w 582526"/>
              <a:gd name="connsiteY83" fmla="*/ 109896 h 109895"/>
              <a:gd name="connsiteX84" fmla="*/ 303588 w 582526"/>
              <a:gd name="connsiteY84" fmla="*/ 98072 h 109895"/>
              <a:gd name="connsiteX85" fmla="*/ 314918 w 582526"/>
              <a:gd name="connsiteY85" fmla="*/ 94089 h 109895"/>
              <a:gd name="connsiteX86" fmla="*/ 322076 w 582526"/>
              <a:gd name="connsiteY86" fmla="*/ 80462 h 109895"/>
              <a:gd name="connsiteX87" fmla="*/ 324629 w 582526"/>
              <a:gd name="connsiteY87" fmla="*/ 54948 h 109895"/>
              <a:gd name="connsiteX88" fmla="*/ 322263 w 582526"/>
              <a:gd name="connsiteY88" fmla="*/ 29559 h 109895"/>
              <a:gd name="connsiteX89" fmla="*/ 315043 w 582526"/>
              <a:gd name="connsiteY89" fmla="*/ 15931 h 109895"/>
              <a:gd name="connsiteX90" fmla="*/ 303713 w 582526"/>
              <a:gd name="connsiteY90" fmla="*/ 11761 h 109895"/>
              <a:gd name="connsiteX91" fmla="*/ 292196 w 582526"/>
              <a:gd name="connsiteY91" fmla="*/ 15931 h 109895"/>
              <a:gd name="connsiteX92" fmla="*/ 284914 w 582526"/>
              <a:gd name="connsiteY92" fmla="*/ 29559 h 109895"/>
              <a:gd name="connsiteX93" fmla="*/ 282362 w 582526"/>
              <a:gd name="connsiteY93" fmla="*/ 54948 h 109895"/>
              <a:gd name="connsiteX94" fmla="*/ 284727 w 582526"/>
              <a:gd name="connsiteY94" fmla="*/ 80462 h 109895"/>
              <a:gd name="connsiteX95" fmla="*/ 292072 w 582526"/>
              <a:gd name="connsiteY95" fmla="*/ 94089 h 109895"/>
              <a:gd name="connsiteX96" fmla="*/ 303588 w 582526"/>
              <a:gd name="connsiteY96" fmla="*/ 98072 h 109895"/>
              <a:gd name="connsiteX97" fmla="*/ 385819 w 582526"/>
              <a:gd name="connsiteY97" fmla="*/ 109896 h 109895"/>
              <a:gd name="connsiteX98" fmla="*/ 367643 w 582526"/>
              <a:gd name="connsiteY98" fmla="*/ 104047 h 109895"/>
              <a:gd name="connsiteX99" fmla="*/ 354944 w 582526"/>
              <a:gd name="connsiteY99" fmla="*/ 86125 h 109895"/>
              <a:gd name="connsiteX100" fmla="*/ 350462 w 582526"/>
              <a:gd name="connsiteY100" fmla="*/ 54761 h 109895"/>
              <a:gd name="connsiteX101" fmla="*/ 354944 w 582526"/>
              <a:gd name="connsiteY101" fmla="*/ 23398 h 109895"/>
              <a:gd name="connsiteX102" fmla="*/ 367643 w 582526"/>
              <a:gd name="connsiteY102" fmla="*/ 5663 h 109895"/>
              <a:gd name="connsiteX103" fmla="*/ 385819 w 582526"/>
              <a:gd name="connsiteY103" fmla="*/ 0 h 109895"/>
              <a:gd name="connsiteX104" fmla="*/ 403934 w 582526"/>
              <a:gd name="connsiteY104" fmla="*/ 5663 h 109895"/>
              <a:gd name="connsiteX105" fmla="*/ 416322 w 582526"/>
              <a:gd name="connsiteY105" fmla="*/ 23398 h 109895"/>
              <a:gd name="connsiteX106" fmla="*/ 420804 w 582526"/>
              <a:gd name="connsiteY106" fmla="*/ 54512 h 109895"/>
              <a:gd name="connsiteX107" fmla="*/ 416322 w 582526"/>
              <a:gd name="connsiteY107" fmla="*/ 85876 h 109895"/>
              <a:gd name="connsiteX108" fmla="*/ 403934 w 582526"/>
              <a:gd name="connsiteY108" fmla="*/ 104047 h 109895"/>
              <a:gd name="connsiteX109" fmla="*/ 385819 w 582526"/>
              <a:gd name="connsiteY109" fmla="*/ 109896 h 109895"/>
              <a:gd name="connsiteX110" fmla="*/ 385694 w 582526"/>
              <a:gd name="connsiteY110" fmla="*/ 98072 h 109895"/>
              <a:gd name="connsiteX111" fmla="*/ 397024 w 582526"/>
              <a:gd name="connsiteY111" fmla="*/ 94089 h 109895"/>
              <a:gd name="connsiteX112" fmla="*/ 404244 w 582526"/>
              <a:gd name="connsiteY112" fmla="*/ 80462 h 109895"/>
              <a:gd name="connsiteX113" fmla="*/ 406735 w 582526"/>
              <a:gd name="connsiteY113" fmla="*/ 54948 h 109895"/>
              <a:gd name="connsiteX114" fmla="*/ 404369 w 582526"/>
              <a:gd name="connsiteY114" fmla="*/ 29559 h 109895"/>
              <a:gd name="connsiteX115" fmla="*/ 397211 w 582526"/>
              <a:gd name="connsiteY115" fmla="*/ 15931 h 109895"/>
              <a:gd name="connsiteX116" fmla="*/ 385819 w 582526"/>
              <a:gd name="connsiteY116" fmla="*/ 11761 h 109895"/>
              <a:gd name="connsiteX117" fmla="*/ 374366 w 582526"/>
              <a:gd name="connsiteY117" fmla="*/ 15931 h 109895"/>
              <a:gd name="connsiteX118" fmla="*/ 367020 w 582526"/>
              <a:gd name="connsiteY118" fmla="*/ 29559 h 109895"/>
              <a:gd name="connsiteX119" fmla="*/ 364468 w 582526"/>
              <a:gd name="connsiteY119" fmla="*/ 54948 h 109895"/>
              <a:gd name="connsiteX120" fmla="*/ 366895 w 582526"/>
              <a:gd name="connsiteY120" fmla="*/ 80462 h 109895"/>
              <a:gd name="connsiteX121" fmla="*/ 374179 w 582526"/>
              <a:gd name="connsiteY121" fmla="*/ 94089 h 109895"/>
              <a:gd name="connsiteX122" fmla="*/ 385694 w 582526"/>
              <a:gd name="connsiteY122" fmla="*/ 98072 h 109895"/>
              <a:gd name="connsiteX123" fmla="*/ 463071 w 582526"/>
              <a:gd name="connsiteY123" fmla="*/ 109896 h 109895"/>
              <a:gd name="connsiteX124" fmla="*/ 434498 w 582526"/>
              <a:gd name="connsiteY124" fmla="*/ 102304 h 109895"/>
              <a:gd name="connsiteX125" fmla="*/ 434498 w 582526"/>
              <a:gd name="connsiteY125" fmla="*/ 87618 h 109895"/>
              <a:gd name="connsiteX126" fmla="*/ 447694 w 582526"/>
              <a:gd name="connsiteY126" fmla="*/ 95272 h 109895"/>
              <a:gd name="connsiteX127" fmla="*/ 463071 w 582526"/>
              <a:gd name="connsiteY127" fmla="*/ 97637 h 109895"/>
              <a:gd name="connsiteX128" fmla="*/ 480065 w 582526"/>
              <a:gd name="connsiteY128" fmla="*/ 90916 h 109895"/>
              <a:gd name="connsiteX129" fmla="*/ 486227 w 582526"/>
              <a:gd name="connsiteY129" fmla="*/ 73305 h 109895"/>
              <a:gd name="connsiteX130" fmla="*/ 480252 w 582526"/>
              <a:gd name="connsiteY130" fmla="*/ 56255 h 109895"/>
              <a:gd name="connsiteX131" fmla="*/ 465124 w 582526"/>
              <a:gd name="connsiteY131" fmla="*/ 50903 h 109895"/>
              <a:gd name="connsiteX132" fmla="*/ 454542 w 582526"/>
              <a:gd name="connsiteY132" fmla="*/ 53143 h 109895"/>
              <a:gd name="connsiteX133" fmla="*/ 448442 w 582526"/>
              <a:gd name="connsiteY133" fmla="*/ 57624 h 109895"/>
              <a:gd name="connsiteX134" fmla="*/ 437486 w 582526"/>
              <a:gd name="connsiteY134" fmla="*/ 57624 h 109895"/>
              <a:gd name="connsiteX135" fmla="*/ 437486 w 582526"/>
              <a:gd name="connsiteY135" fmla="*/ 1307 h 109895"/>
              <a:gd name="connsiteX136" fmla="*/ 495502 w 582526"/>
              <a:gd name="connsiteY136" fmla="*/ 1307 h 109895"/>
              <a:gd name="connsiteX137" fmla="*/ 495502 w 582526"/>
              <a:gd name="connsiteY137" fmla="*/ 14188 h 109895"/>
              <a:gd name="connsiteX138" fmla="*/ 449749 w 582526"/>
              <a:gd name="connsiteY138" fmla="*/ 14188 h 109895"/>
              <a:gd name="connsiteX139" fmla="*/ 449749 w 582526"/>
              <a:gd name="connsiteY139" fmla="*/ 44805 h 109895"/>
              <a:gd name="connsiteX140" fmla="*/ 457094 w 582526"/>
              <a:gd name="connsiteY140" fmla="*/ 40885 h 109895"/>
              <a:gd name="connsiteX141" fmla="*/ 467366 w 582526"/>
              <a:gd name="connsiteY141" fmla="*/ 39080 h 109895"/>
              <a:gd name="connsiteX142" fmla="*/ 484110 w 582526"/>
              <a:gd name="connsiteY142" fmla="*/ 43000 h 109895"/>
              <a:gd name="connsiteX143" fmla="*/ 495937 w 582526"/>
              <a:gd name="connsiteY143" fmla="*/ 54326 h 109895"/>
              <a:gd name="connsiteX144" fmla="*/ 500420 w 582526"/>
              <a:gd name="connsiteY144" fmla="*/ 72995 h 109895"/>
              <a:gd name="connsiteX145" fmla="*/ 495751 w 582526"/>
              <a:gd name="connsiteY145" fmla="*/ 92410 h 109895"/>
              <a:gd name="connsiteX146" fmla="*/ 482928 w 582526"/>
              <a:gd name="connsiteY146" fmla="*/ 105415 h 109895"/>
              <a:gd name="connsiteX147" fmla="*/ 463071 w 582526"/>
              <a:gd name="connsiteY147" fmla="*/ 109896 h 109895"/>
              <a:gd name="connsiteX148" fmla="*/ 545177 w 582526"/>
              <a:gd name="connsiteY148" fmla="*/ 109896 h 109895"/>
              <a:gd name="connsiteX149" fmla="*/ 516666 w 582526"/>
              <a:gd name="connsiteY149" fmla="*/ 102304 h 109895"/>
              <a:gd name="connsiteX150" fmla="*/ 516666 w 582526"/>
              <a:gd name="connsiteY150" fmla="*/ 87618 h 109895"/>
              <a:gd name="connsiteX151" fmla="*/ 529801 w 582526"/>
              <a:gd name="connsiteY151" fmla="*/ 95272 h 109895"/>
              <a:gd name="connsiteX152" fmla="*/ 545177 w 582526"/>
              <a:gd name="connsiteY152" fmla="*/ 97637 h 109895"/>
              <a:gd name="connsiteX153" fmla="*/ 562233 w 582526"/>
              <a:gd name="connsiteY153" fmla="*/ 90916 h 109895"/>
              <a:gd name="connsiteX154" fmla="*/ 568333 w 582526"/>
              <a:gd name="connsiteY154" fmla="*/ 73305 h 109895"/>
              <a:gd name="connsiteX155" fmla="*/ 562358 w 582526"/>
              <a:gd name="connsiteY155" fmla="*/ 56255 h 109895"/>
              <a:gd name="connsiteX156" fmla="*/ 547292 w 582526"/>
              <a:gd name="connsiteY156" fmla="*/ 50903 h 109895"/>
              <a:gd name="connsiteX157" fmla="*/ 536710 w 582526"/>
              <a:gd name="connsiteY157" fmla="*/ 53143 h 109895"/>
              <a:gd name="connsiteX158" fmla="*/ 530548 w 582526"/>
              <a:gd name="connsiteY158" fmla="*/ 57624 h 109895"/>
              <a:gd name="connsiteX159" fmla="*/ 519654 w 582526"/>
              <a:gd name="connsiteY159" fmla="*/ 57624 h 109895"/>
              <a:gd name="connsiteX160" fmla="*/ 519654 w 582526"/>
              <a:gd name="connsiteY160" fmla="*/ 1307 h 109895"/>
              <a:gd name="connsiteX161" fmla="*/ 577608 w 582526"/>
              <a:gd name="connsiteY161" fmla="*/ 1307 h 109895"/>
              <a:gd name="connsiteX162" fmla="*/ 577608 w 582526"/>
              <a:gd name="connsiteY162" fmla="*/ 14188 h 109895"/>
              <a:gd name="connsiteX163" fmla="*/ 531917 w 582526"/>
              <a:gd name="connsiteY163" fmla="*/ 14188 h 109895"/>
              <a:gd name="connsiteX164" fmla="*/ 531917 w 582526"/>
              <a:gd name="connsiteY164" fmla="*/ 44805 h 109895"/>
              <a:gd name="connsiteX165" fmla="*/ 539201 w 582526"/>
              <a:gd name="connsiteY165" fmla="*/ 40885 h 109895"/>
              <a:gd name="connsiteX166" fmla="*/ 549534 w 582526"/>
              <a:gd name="connsiteY166" fmla="*/ 39080 h 109895"/>
              <a:gd name="connsiteX167" fmla="*/ 566279 w 582526"/>
              <a:gd name="connsiteY167" fmla="*/ 43000 h 109895"/>
              <a:gd name="connsiteX168" fmla="*/ 578044 w 582526"/>
              <a:gd name="connsiteY168" fmla="*/ 54326 h 109895"/>
              <a:gd name="connsiteX169" fmla="*/ 582526 w 582526"/>
              <a:gd name="connsiteY169" fmla="*/ 72995 h 109895"/>
              <a:gd name="connsiteX170" fmla="*/ 577920 w 582526"/>
              <a:gd name="connsiteY170" fmla="*/ 92410 h 109895"/>
              <a:gd name="connsiteX171" fmla="*/ 565096 w 582526"/>
              <a:gd name="connsiteY171" fmla="*/ 105415 h 109895"/>
              <a:gd name="connsiteX172" fmla="*/ 545177 w 582526"/>
              <a:gd name="connsiteY172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</a:cxnLst>
            <a:rect l="l" t="t" r="r" b="b"/>
            <a:pathLst>
              <a:path w="582526" h="109895">
                <a:moveTo>
                  <a:pt x="22099" y="108402"/>
                </a:moveTo>
                <a:lnTo>
                  <a:pt x="10147" y="108402"/>
                </a:lnTo>
                <a:lnTo>
                  <a:pt x="16435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6" y="39826"/>
                </a:lnTo>
                <a:lnTo>
                  <a:pt x="4047" y="39826"/>
                </a:lnTo>
                <a:lnTo>
                  <a:pt x="4047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2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3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9" y="108402"/>
                </a:lnTo>
                <a:lnTo>
                  <a:pt x="50796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7" y="39826"/>
                </a:lnTo>
                <a:lnTo>
                  <a:pt x="36167" y="39826"/>
                </a:lnTo>
                <a:lnTo>
                  <a:pt x="30626" y="67020"/>
                </a:lnTo>
                <a:close/>
                <a:moveTo>
                  <a:pt x="136636" y="109896"/>
                </a:moveTo>
                <a:cubicBezTo>
                  <a:pt x="129914" y="109896"/>
                  <a:pt x="123814" y="107967"/>
                  <a:pt x="118460" y="104047"/>
                </a:cubicBezTo>
                <a:cubicBezTo>
                  <a:pt x="113045" y="100188"/>
                  <a:pt x="108811" y="94214"/>
                  <a:pt x="105761" y="86125"/>
                </a:cubicBezTo>
                <a:cubicBezTo>
                  <a:pt x="102773" y="77972"/>
                  <a:pt x="101279" y="67518"/>
                  <a:pt x="101279" y="54761"/>
                </a:cubicBezTo>
                <a:cubicBezTo>
                  <a:pt x="101279" y="41942"/>
                  <a:pt x="102773" y="31488"/>
                  <a:pt x="105761" y="23398"/>
                </a:cubicBezTo>
                <a:cubicBezTo>
                  <a:pt x="108811" y="15371"/>
                  <a:pt x="113045" y="9459"/>
                  <a:pt x="118460" y="5663"/>
                </a:cubicBezTo>
                <a:cubicBezTo>
                  <a:pt x="123814" y="1867"/>
                  <a:pt x="129914" y="0"/>
                  <a:pt x="136636" y="0"/>
                </a:cubicBezTo>
                <a:cubicBezTo>
                  <a:pt x="143422" y="0"/>
                  <a:pt x="149460" y="1867"/>
                  <a:pt x="154752" y="5663"/>
                </a:cubicBezTo>
                <a:cubicBezTo>
                  <a:pt x="160042" y="9459"/>
                  <a:pt x="164151" y="15371"/>
                  <a:pt x="167139" y="23398"/>
                </a:cubicBezTo>
                <a:cubicBezTo>
                  <a:pt x="170127" y="31363"/>
                  <a:pt x="171621" y="41756"/>
                  <a:pt x="171621" y="54512"/>
                </a:cubicBezTo>
                <a:cubicBezTo>
                  <a:pt x="171621" y="67145"/>
                  <a:pt x="170127" y="77599"/>
                  <a:pt x="167139" y="85876"/>
                </a:cubicBezTo>
                <a:cubicBezTo>
                  <a:pt x="164151" y="94027"/>
                  <a:pt x="160042" y="100064"/>
                  <a:pt x="154752" y="104047"/>
                </a:cubicBezTo>
                <a:cubicBezTo>
                  <a:pt x="149460" y="107967"/>
                  <a:pt x="143422" y="109896"/>
                  <a:pt x="136636" y="109896"/>
                </a:cubicBezTo>
                <a:close/>
                <a:moveTo>
                  <a:pt x="136512" y="98072"/>
                </a:moveTo>
                <a:cubicBezTo>
                  <a:pt x="140995" y="98072"/>
                  <a:pt x="144791" y="96766"/>
                  <a:pt x="147841" y="94089"/>
                </a:cubicBezTo>
                <a:cubicBezTo>
                  <a:pt x="151078" y="91289"/>
                  <a:pt x="153445" y="86747"/>
                  <a:pt x="155063" y="80462"/>
                </a:cubicBezTo>
                <a:cubicBezTo>
                  <a:pt x="156742" y="74114"/>
                  <a:pt x="157552" y="65589"/>
                  <a:pt x="157552" y="54948"/>
                </a:cubicBezTo>
                <a:cubicBezTo>
                  <a:pt x="157552" y="44307"/>
                  <a:pt x="156805" y="35844"/>
                  <a:pt x="155186" y="29559"/>
                </a:cubicBezTo>
                <a:cubicBezTo>
                  <a:pt x="153568" y="23150"/>
                  <a:pt x="151203" y="18669"/>
                  <a:pt x="148028" y="15931"/>
                </a:cubicBezTo>
                <a:cubicBezTo>
                  <a:pt x="144916" y="13192"/>
                  <a:pt x="141118" y="11761"/>
                  <a:pt x="136636" y="11761"/>
                </a:cubicBezTo>
                <a:cubicBezTo>
                  <a:pt x="132154" y="11761"/>
                  <a:pt x="128358" y="13192"/>
                  <a:pt x="125183" y="15931"/>
                </a:cubicBezTo>
                <a:cubicBezTo>
                  <a:pt x="121946" y="18669"/>
                  <a:pt x="119518" y="23150"/>
                  <a:pt x="117837" y="29559"/>
                </a:cubicBezTo>
                <a:cubicBezTo>
                  <a:pt x="116158" y="35844"/>
                  <a:pt x="115285" y="44307"/>
                  <a:pt x="115285" y="54948"/>
                </a:cubicBezTo>
                <a:cubicBezTo>
                  <a:pt x="115285" y="65589"/>
                  <a:pt x="116095" y="74114"/>
                  <a:pt x="117714" y="80462"/>
                </a:cubicBezTo>
                <a:cubicBezTo>
                  <a:pt x="119393" y="86747"/>
                  <a:pt x="121822" y="91289"/>
                  <a:pt x="124996" y="94089"/>
                </a:cubicBezTo>
                <a:cubicBezTo>
                  <a:pt x="128171" y="96766"/>
                  <a:pt x="132030" y="98072"/>
                  <a:pt x="136512" y="98072"/>
                </a:cubicBezTo>
                <a:close/>
                <a:moveTo>
                  <a:pt x="189984" y="1307"/>
                </a:moveTo>
                <a:lnTo>
                  <a:pt x="255408" y="1307"/>
                </a:lnTo>
                <a:lnTo>
                  <a:pt x="255408" y="14188"/>
                </a:lnTo>
                <a:lnTo>
                  <a:pt x="203990" y="14188"/>
                </a:lnTo>
                <a:lnTo>
                  <a:pt x="203990" y="49720"/>
                </a:lnTo>
                <a:lnTo>
                  <a:pt x="247627" y="49720"/>
                </a:lnTo>
                <a:lnTo>
                  <a:pt x="247627" y="62415"/>
                </a:lnTo>
                <a:lnTo>
                  <a:pt x="203990" y="62415"/>
                </a:lnTo>
                <a:lnTo>
                  <a:pt x="203990" y="108402"/>
                </a:lnTo>
                <a:lnTo>
                  <a:pt x="189984" y="108402"/>
                </a:lnTo>
                <a:lnTo>
                  <a:pt x="189984" y="1307"/>
                </a:lnTo>
                <a:close/>
                <a:moveTo>
                  <a:pt x="303713" y="109896"/>
                </a:moveTo>
                <a:cubicBezTo>
                  <a:pt x="296927" y="109896"/>
                  <a:pt x="290889" y="107967"/>
                  <a:pt x="285474" y="104047"/>
                </a:cubicBezTo>
                <a:cubicBezTo>
                  <a:pt x="280120" y="100188"/>
                  <a:pt x="275888" y="94214"/>
                  <a:pt x="272775" y="86125"/>
                </a:cubicBezTo>
                <a:cubicBezTo>
                  <a:pt x="269788" y="77972"/>
                  <a:pt x="268294" y="67518"/>
                  <a:pt x="268294" y="54761"/>
                </a:cubicBezTo>
                <a:cubicBezTo>
                  <a:pt x="268294" y="41942"/>
                  <a:pt x="269788" y="31488"/>
                  <a:pt x="272775" y="23398"/>
                </a:cubicBezTo>
                <a:cubicBezTo>
                  <a:pt x="275888" y="15371"/>
                  <a:pt x="280120" y="9459"/>
                  <a:pt x="285474" y="5663"/>
                </a:cubicBezTo>
                <a:cubicBezTo>
                  <a:pt x="290889" y="1867"/>
                  <a:pt x="296927" y="0"/>
                  <a:pt x="303713" y="0"/>
                </a:cubicBezTo>
                <a:cubicBezTo>
                  <a:pt x="310499" y="0"/>
                  <a:pt x="316537" y="1867"/>
                  <a:pt x="321764" y="5663"/>
                </a:cubicBezTo>
                <a:cubicBezTo>
                  <a:pt x="327056" y="9459"/>
                  <a:pt x="331226" y="15371"/>
                  <a:pt x="334214" y="23398"/>
                </a:cubicBezTo>
                <a:cubicBezTo>
                  <a:pt x="337202" y="31363"/>
                  <a:pt x="338698" y="41756"/>
                  <a:pt x="338698" y="54512"/>
                </a:cubicBezTo>
                <a:cubicBezTo>
                  <a:pt x="338698" y="67145"/>
                  <a:pt x="337202" y="77599"/>
                  <a:pt x="334214" y="85876"/>
                </a:cubicBezTo>
                <a:cubicBezTo>
                  <a:pt x="331226" y="94027"/>
                  <a:pt x="327056" y="100064"/>
                  <a:pt x="321764" y="104047"/>
                </a:cubicBezTo>
                <a:cubicBezTo>
                  <a:pt x="316537" y="107967"/>
                  <a:pt x="310499" y="109896"/>
                  <a:pt x="303713" y="109896"/>
                </a:cubicBezTo>
                <a:close/>
                <a:moveTo>
                  <a:pt x="303588" y="98072"/>
                </a:moveTo>
                <a:cubicBezTo>
                  <a:pt x="308070" y="98072"/>
                  <a:pt x="311806" y="96766"/>
                  <a:pt x="314918" y="94089"/>
                </a:cubicBezTo>
                <a:cubicBezTo>
                  <a:pt x="318093" y="91289"/>
                  <a:pt x="320520" y="86747"/>
                  <a:pt x="322076" y="80462"/>
                </a:cubicBezTo>
                <a:cubicBezTo>
                  <a:pt x="323757" y="74114"/>
                  <a:pt x="324629" y="65589"/>
                  <a:pt x="324629" y="54948"/>
                </a:cubicBezTo>
                <a:cubicBezTo>
                  <a:pt x="324629" y="44307"/>
                  <a:pt x="323819" y="35844"/>
                  <a:pt x="322263" y="29559"/>
                </a:cubicBezTo>
                <a:cubicBezTo>
                  <a:pt x="320644" y="23150"/>
                  <a:pt x="318280" y="18669"/>
                  <a:pt x="315043" y="15931"/>
                </a:cubicBezTo>
                <a:cubicBezTo>
                  <a:pt x="311992" y="13192"/>
                  <a:pt x="308195" y="11761"/>
                  <a:pt x="303713" y="11761"/>
                </a:cubicBezTo>
                <a:cubicBezTo>
                  <a:pt x="299231" y="11761"/>
                  <a:pt x="295371" y="13192"/>
                  <a:pt x="292196" y="15931"/>
                </a:cubicBezTo>
                <a:cubicBezTo>
                  <a:pt x="289021" y="18669"/>
                  <a:pt x="286594" y="23150"/>
                  <a:pt x="284914" y="29559"/>
                </a:cubicBezTo>
                <a:cubicBezTo>
                  <a:pt x="283170" y="35844"/>
                  <a:pt x="282362" y="44307"/>
                  <a:pt x="282362" y="54948"/>
                </a:cubicBezTo>
                <a:cubicBezTo>
                  <a:pt x="282362" y="65589"/>
                  <a:pt x="283170" y="74114"/>
                  <a:pt x="284727" y="80462"/>
                </a:cubicBezTo>
                <a:cubicBezTo>
                  <a:pt x="286407" y="86747"/>
                  <a:pt x="288898" y="91289"/>
                  <a:pt x="292072" y="94089"/>
                </a:cubicBezTo>
                <a:cubicBezTo>
                  <a:pt x="295246" y="96766"/>
                  <a:pt x="299107" y="98072"/>
                  <a:pt x="303588" y="98072"/>
                </a:cubicBezTo>
                <a:close/>
                <a:moveTo>
                  <a:pt x="385819" y="109896"/>
                </a:moveTo>
                <a:cubicBezTo>
                  <a:pt x="379097" y="109896"/>
                  <a:pt x="372995" y="107967"/>
                  <a:pt x="367643" y="104047"/>
                </a:cubicBezTo>
                <a:cubicBezTo>
                  <a:pt x="362226" y="100188"/>
                  <a:pt x="357994" y="94214"/>
                  <a:pt x="354944" y="86125"/>
                </a:cubicBezTo>
                <a:cubicBezTo>
                  <a:pt x="351956" y="77972"/>
                  <a:pt x="350462" y="67518"/>
                  <a:pt x="350462" y="54761"/>
                </a:cubicBezTo>
                <a:cubicBezTo>
                  <a:pt x="350462" y="41942"/>
                  <a:pt x="351956" y="31488"/>
                  <a:pt x="354944" y="23398"/>
                </a:cubicBezTo>
                <a:cubicBezTo>
                  <a:pt x="357994" y="15371"/>
                  <a:pt x="362226" y="9459"/>
                  <a:pt x="367643" y="5663"/>
                </a:cubicBezTo>
                <a:cubicBezTo>
                  <a:pt x="372995" y="1867"/>
                  <a:pt x="379097" y="0"/>
                  <a:pt x="385819" y="0"/>
                </a:cubicBezTo>
                <a:cubicBezTo>
                  <a:pt x="392605" y="0"/>
                  <a:pt x="398643" y="1867"/>
                  <a:pt x="403934" y="5663"/>
                </a:cubicBezTo>
                <a:cubicBezTo>
                  <a:pt x="409225" y="9459"/>
                  <a:pt x="413334" y="15371"/>
                  <a:pt x="416322" y="23398"/>
                </a:cubicBezTo>
                <a:cubicBezTo>
                  <a:pt x="419310" y="31363"/>
                  <a:pt x="420804" y="41756"/>
                  <a:pt x="420804" y="54512"/>
                </a:cubicBezTo>
                <a:cubicBezTo>
                  <a:pt x="420804" y="67145"/>
                  <a:pt x="419310" y="77599"/>
                  <a:pt x="416322" y="85876"/>
                </a:cubicBezTo>
                <a:cubicBezTo>
                  <a:pt x="413334" y="94027"/>
                  <a:pt x="409225" y="100064"/>
                  <a:pt x="403934" y="104047"/>
                </a:cubicBezTo>
                <a:cubicBezTo>
                  <a:pt x="398643" y="107967"/>
                  <a:pt x="392605" y="109896"/>
                  <a:pt x="385819" y="109896"/>
                </a:cubicBezTo>
                <a:close/>
                <a:moveTo>
                  <a:pt x="385694" y="98072"/>
                </a:moveTo>
                <a:cubicBezTo>
                  <a:pt x="390176" y="98072"/>
                  <a:pt x="393974" y="96766"/>
                  <a:pt x="397024" y="94089"/>
                </a:cubicBezTo>
                <a:cubicBezTo>
                  <a:pt x="400261" y="91289"/>
                  <a:pt x="402626" y="86747"/>
                  <a:pt x="404244" y="80462"/>
                </a:cubicBezTo>
                <a:cubicBezTo>
                  <a:pt x="405925" y="74114"/>
                  <a:pt x="406735" y="65589"/>
                  <a:pt x="406735" y="54948"/>
                </a:cubicBezTo>
                <a:cubicBezTo>
                  <a:pt x="406735" y="44307"/>
                  <a:pt x="405987" y="35844"/>
                  <a:pt x="404369" y="29559"/>
                </a:cubicBezTo>
                <a:cubicBezTo>
                  <a:pt x="402750" y="23150"/>
                  <a:pt x="400386" y="18669"/>
                  <a:pt x="397211" y="15931"/>
                </a:cubicBezTo>
                <a:cubicBezTo>
                  <a:pt x="394098" y="13192"/>
                  <a:pt x="390301" y="11761"/>
                  <a:pt x="385819" y="11761"/>
                </a:cubicBezTo>
                <a:cubicBezTo>
                  <a:pt x="381337" y="11761"/>
                  <a:pt x="377541" y="13192"/>
                  <a:pt x="374366" y="15931"/>
                </a:cubicBezTo>
                <a:cubicBezTo>
                  <a:pt x="371129" y="18669"/>
                  <a:pt x="368700" y="23150"/>
                  <a:pt x="367020" y="29559"/>
                </a:cubicBezTo>
                <a:cubicBezTo>
                  <a:pt x="365339" y="35844"/>
                  <a:pt x="364468" y="44307"/>
                  <a:pt x="364468" y="54948"/>
                </a:cubicBezTo>
                <a:cubicBezTo>
                  <a:pt x="364468" y="65589"/>
                  <a:pt x="365276" y="74114"/>
                  <a:pt x="366895" y="80462"/>
                </a:cubicBezTo>
                <a:cubicBezTo>
                  <a:pt x="368576" y="86747"/>
                  <a:pt x="371004" y="91289"/>
                  <a:pt x="374179" y="94089"/>
                </a:cubicBezTo>
                <a:cubicBezTo>
                  <a:pt x="377354" y="96766"/>
                  <a:pt x="381213" y="98072"/>
                  <a:pt x="385694" y="98072"/>
                </a:cubicBezTo>
                <a:close/>
                <a:moveTo>
                  <a:pt x="463071" y="109896"/>
                </a:moveTo>
                <a:cubicBezTo>
                  <a:pt x="451118" y="109896"/>
                  <a:pt x="441594" y="107344"/>
                  <a:pt x="434498" y="102304"/>
                </a:cubicBezTo>
                <a:lnTo>
                  <a:pt x="434498" y="87618"/>
                </a:lnTo>
                <a:cubicBezTo>
                  <a:pt x="438730" y="91040"/>
                  <a:pt x="443088" y="93592"/>
                  <a:pt x="447694" y="95272"/>
                </a:cubicBezTo>
                <a:cubicBezTo>
                  <a:pt x="452240" y="96828"/>
                  <a:pt x="457405" y="97637"/>
                  <a:pt x="463071" y="97637"/>
                </a:cubicBezTo>
                <a:cubicBezTo>
                  <a:pt x="470416" y="97637"/>
                  <a:pt x="476080" y="95397"/>
                  <a:pt x="480065" y="90916"/>
                </a:cubicBezTo>
                <a:cubicBezTo>
                  <a:pt x="484173" y="86435"/>
                  <a:pt x="486227" y="80586"/>
                  <a:pt x="486227" y="73305"/>
                </a:cubicBezTo>
                <a:cubicBezTo>
                  <a:pt x="486227" y="65527"/>
                  <a:pt x="484235" y="59864"/>
                  <a:pt x="480252" y="56255"/>
                </a:cubicBezTo>
                <a:cubicBezTo>
                  <a:pt x="476267" y="52708"/>
                  <a:pt x="471224" y="50903"/>
                  <a:pt x="465124" y="50903"/>
                </a:cubicBezTo>
                <a:cubicBezTo>
                  <a:pt x="460767" y="50903"/>
                  <a:pt x="457218" y="51650"/>
                  <a:pt x="454542" y="53143"/>
                </a:cubicBezTo>
                <a:cubicBezTo>
                  <a:pt x="451866" y="54512"/>
                  <a:pt x="449811" y="56006"/>
                  <a:pt x="448442" y="57624"/>
                </a:cubicBezTo>
                <a:lnTo>
                  <a:pt x="437486" y="57624"/>
                </a:lnTo>
                <a:lnTo>
                  <a:pt x="437486" y="1307"/>
                </a:lnTo>
                <a:lnTo>
                  <a:pt x="495502" y="1307"/>
                </a:lnTo>
                <a:lnTo>
                  <a:pt x="495502" y="14188"/>
                </a:lnTo>
                <a:lnTo>
                  <a:pt x="449749" y="14188"/>
                </a:lnTo>
                <a:lnTo>
                  <a:pt x="449749" y="44805"/>
                </a:lnTo>
                <a:cubicBezTo>
                  <a:pt x="451741" y="43312"/>
                  <a:pt x="454168" y="42004"/>
                  <a:pt x="457094" y="40885"/>
                </a:cubicBezTo>
                <a:cubicBezTo>
                  <a:pt x="459958" y="39702"/>
                  <a:pt x="463381" y="39080"/>
                  <a:pt x="467366" y="39080"/>
                </a:cubicBezTo>
                <a:cubicBezTo>
                  <a:pt x="473590" y="39080"/>
                  <a:pt x="479130" y="40386"/>
                  <a:pt x="484110" y="43000"/>
                </a:cubicBezTo>
                <a:cubicBezTo>
                  <a:pt x="489090" y="45489"/>
                  <a:pt x="493011" y="49285"/>
                  <a:pt x="495937" y="54326"/>
                </a:cubicBezTo>
                <a:cubicBezTo>
                  <a:pt x="498926" y="59304"/>
                  <a:pt x="500420" y="65527"/>
                  <a:pt x="500420" y="72995"/>
                </a:cubicBezTo>
                <a:cubicBezTo>
                  <a:pt x="500420" y="80399"/>
                  <a:pt x="498864" y="86871"/>
                  <a:pt x="495751" y="92410"/>
                </a:cubicBezTo>
                <a:cubicBezTo>
                  <a:pt x="492764" y="98010"/>
                  <a:pt x="488530" y="102304"/>
                  <a:pt x="482928" y="105415"/>
                </a:cubicBezTo>
                <a:cubicBezTo>
                  <a:pt x="477325" y="108402"/>
                  <a:pt x="470727" y="109896"/>
                  <a:pt x="463071" y="109896"/>
                </a:cubicBezTo>
                <a:close/>
                <a:moveTo>
                  <a:pt x="545177" y="109896"/>
                </a:moveTo>
                <a:cubicBezTo>
                  <a:pt x="533225" y="109896"/>
                  <a:pt x="523764" y="107344"/>
                  <a:pt x="516666" y="102304"/>
                </a:cubicBezTo>
                <a:lnTo>
                  <a:pt x="516666" y="87618"/>
                </a:lnTo>
                <a:cubicBezTo>
                  <a:pt x="520836" y="91040"/>
                  <a:pt x="525257" y="93592"/>
                  <a:pt x="529801" y="95272"/>
                </a:cubicBezTo>
                <a:cubicBezTo>
                  <a:pt x="534408" y="96828"/>
                  <a:pt x="539511" y="97637"/>
                  <a:pt x="545177" y="97637"/>
                </a:cubicBezTo>
                <a:cubicBezTo>
                  <a:pt x="552584" y="97637"/>
                  <a:pt x="558248" y="95397"/>
                  <a:pt x="562233" y="90916"/>
                </a:cubicBezTo>
                <a:cubicBezTo>
                  <a:pt x="566341" y="86435"/>
                  <a:pt x="568333" y="80586"/>
                  <a:pt x="568333" y="73305"/>
                </a:cubicBezTo>
                <a:cubicBezTo>
                  <a:pt x="568333" y="65527"/>
                  <a:pt x="566341" y="59864"/>
                  <a:pt x="562358" y="56255"/>
                </a:cubicBezTo>
                <a:cubicBezTo>
                  <a:pt x="558373" y="52708"/>
                  <a:pt x="553394" y="50903"/>
                  <a:pt x="547292" y="50903"/>
                </a:cubicBezTo>
                <a:cubicBezTo>
                  <a:pt x="542935" y="50903"/>
                  <a:pt x="539388" y="51650"/>
                  <a:pt x="536710" y="53143"/>
                </a:cubicBezTo>
                <a:cubicBezTo>
                  <a:pt x="533972" y="54512"/>
                  <a:pt x="531979" y="56006"/>
                  <a:pt x="530548" y="57624"/>
                </a:cubicBezTo>
                <a:lnTo>
                  <a:pt x="519654" y="57624"/>
                </a:lnTo>
                <a:lnTo>
                  <a:pt x="519654" y="1307"/>
                </a:lnTo>
                <a:lnTo>
                  <a:pt x="577608" y="1307"/>
                </a:lnTo>
                <a:lnTo>
                  <a:pt x="577608" y="14188"/>
                </a:lnTo>
                <a:lnTo>
                  <a:pt x="531917" y="14188"/>
                </a:lnTo>
                <a:lnTo>
                  <a:pt x="531917" y="44805"/>
                </a:lnTo>
                <a:cubicBezTo>
                  <a:pt x="533909" y="43312"/>
                  <a:pt x="536338" y="42004"/>
                  <a:pt x="539201" y="40885"/>
                </a:cubicBezTo>
                <a:cubicBezTo>
                  <a:pt x="542127" y="39702"/>
                  <a:pt x="545551" y="39080"/>
                  <a:pt x="549534" y="39080"/>
                </a:cubicBezTo>
                <a:cubicBezTo>
                  <a:pt x="555697" y="39080"/>
                  <a:pt x="561298" y="40386"/>
                  <a:pt x="566279" y="43000"/>
                </a:cubicBezTo>
                <a:cubicBezTo>
                  <a:pt x="571259" y="45489"/>
                  <a:pt x="575181" y="49285"/>
                  <a:pt x="578044" y="54326"/>
                </a:cubicBezTo>
                <a:cubicBezTo>
                  <a:pt x="581032" y="59304"/>
                  <a:pt x="582526" y="65527"/>
                  <a:pt x="582526" y="72995"/>
                </a:cubicBezTo>
                <a:cubicBezTo>
                  <a:pt x="582526" y="80399"/>
                  <a:pt x="581032" y="86871"/>
                  <a:pt x="577920" y="92410"/>
                </a:cubicBezTo>
                <a:cubicBezTo>
                  <a:pt x="574932" y="98010"/>
                  <a:pt x="570636" y="102304"/>
                  <a:pt x="565096" y="105415"/>
                </a:cubicBezTo>
                <a:cubicBezTo>
                  <a:pt x="559494" y="108402"/>
                  <a:pt x="552896" y="109896"/>
                  <a:pt x="545177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8" name="Полилиния 927">
            <a:extLst>
              <a:ext uri="{FF2B5EF4-FFF2-40B4-BE49-F238E27FC236}">
                <a16:creationId xmlns:a16="http://schemas.microsoft.com/office/drawing/2014/main" id="{8292D00B-CE24-1BCB-39D2-212465445A06}"/>
              </a:ext>
            </a:extLst>
          </p:cNvPr>
          <p:cNvSpPr/>
          <p:nvPr userDrawn="1"/>
        </p:nvSpPr>
        <p:spPr>
          <a:xfrm>
            <a:off x="6844904" y="4513847"/>
            <a:ext cx="2557159" cy="726227"/>
          </a:xfrm>
          <a:custGeom>
            <a:avLst/>
            <a:gdLst>
              <a:gd name="connsiteX0" fmla="*/ 2232 w 2191162"/>
              <a:gd name="connsiteY0" fmla="*/ 1122 h 622284"/>
              <a:gd name="connsiteX1" fmla="*/ 2193395 w 2191162"/>
              <a:gd name="connsiteY1" fmla="*/ 1122 h 622284"/>
              <a:gd name="connsiteX2" fmla="*/ 2193395 w 2191162"/>
              <a:gd name="connsiteY2" fmla="*/ 623406 h 622284"/>
              <a:gd name="connsiteX3" fmla="*/ 2232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122"/>
                </a:moveTo>
                <a:lnTo>
                  <a:pt x="2193395" y="1122"/>
                </a:lnTo>
                <a:lnTo>
                  <a:pt x="2193395" y="623406"/>
                </a:lnTo>
                <a:lnTo>
                  <a:pt x="2232" y="623406"/>
                </a:lnTo>
                <a:close/>
              </a:path>
            </a:pathLst>
          </a:custGeom>
          <a:solidFill>
            <a:srgbClr val="0F007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9" name="Полилиния 928">
            <a:extLst>
              <a:ext uri="{FF2B5EF4-FFF2-40B4-BE49-F238E27FC236}">
                <a16:creationId xmlns:a16="http://schemas.microsoft.com/office/drawing/2014/main" id="{59B02449-0832-49D6-8293-D88CDBD54FD5}"/>
              </a:ext>
            </a:extLst>
          </p:cNvPr>
          <p:cNvSpPr/>
          <p:nvPr userDrawn="1"/>
        </p:nvSpPr>
        <p:spPr>
          <a:xfrm>
            <a:off x="6968113" y="4815595"/>
            <a:ext cx="683022" cy="128468"/>
          </a:xfrm>
          <a:custGeom>
            <a:avLst/>
            <a:gdLst>
              <a:gd name="connsiteX0" fmla="*/ 22099 w 585264"/>
              <a:gd name="connsiteY0" fmla="*/ 108588 h 110081"/>
              <a:gd name="connsiteX1" fmla="*/ 10147 w 585264"/>
              <a:gd name="connsiteY1" fmla="*/ 108588 h 110081"/>
              <a:gd name="connsiteX2" fmla="*/ 16435 w 585264"/>
              <a:gd name="connsiteY2" fmla="*/ 77661 h 110081"/>
              <a:gd name="connsiteX3" fmla="*/ 0 w 585264"/>
              <a:gd name="connsiteY3" fmla="*/ 77661 h 110081"/>
              <a:gd name="connsiteX4" fmla="*/ 0 w 585264"/>
              <a:gd name="connsiteY4" fmla="*/ 67206 h 110081"/>
              <a:gd name="connsiteX5" fmla="*/ 18675 w 585264"/>
              <a:gd name="connsiteY5" fmla="*/ 67206 h 110081"/>
              <a:gd name="connsiteX6" fmla="*/ 24216 w 585264"/>
              <a:gd name="connsiteY6" fmla="*/ 40012 h 110081"/>
              <a:gd name="connsiteX7" fmla="*/ 4047 w 585264"/>
              <a:gd name="connsiteY7" fmla="*/ 40012 h 110081"/>
              <a:gd name="connsiteX8" fmla="*/ 4047 w 585264"/>
              <a:gd name="connsiteY8" fmla="*/ 29559 h 110081"/>
              <a:gd name="connsiteX9" fmla="*/ 26269 w 585264"/>
              <a:gd name="connsiteY9" fmla="*/ 29559 h 110081"/>
              <a:gd name="connsiteX10" fmla="*/ 32121 w 585264"/>
              <a:gd name="connsiteY10" fmla="*/ 1493 h 110081"/>
              <a:gd name="connsiteX11" fmla="*/ 44073 w 585264"/>
              <a:gd name="connsiteY11" fmla="*/ 1493 h 110081"/>
              <a:gd name="connsiteX12" fmla="*/ 38222 w 585264"/>
              <a:gd name="connsiteY12" fmla="*/ 29559 h 110081"/>
              <a:gd name="connsiteX13" fmla="*/ 60630 w 585264"/>
              <a:gd name="connsiteY13" fmla="*/ 29559 h 110081"/>
              <a:gd name="connsiteX14" fmla="*/ 66481 w 585264"/>
              <a:gd name="connsiteY14" fmla="*/ 1493 h 110081"/>
              <a:gd name="connsiteX15" fmla="*/ 78434 w 585264"/>
              <a:gd name="connsiteY15" fmla="*/ 1493 h 110081"/>
              <a:gd name="connsiteX16" fmla="*/ 72583 w 585264"/>
              <a:gd name="connsiteY16" fmla="*/ 29559 h 110081"/>
              <a:gd name="connsiteX17" fmla="*/ 89328 w 585264"/>
              <a:gd name="connsiteY17" fmla="*/ 29559 h 110081"/>
              <a:gd name="connsiteX18" fmla="*/ 89328 w 585264"/>
              <a:gd name="connsiteY18" fmla="*/ 40012 h 110081"/>
              <a:gd name="connsiteX19" fmla="*/ 70529 w 585264"/>
              <a:gd name="connsiteY19" fmla="*/ 40012 h 110081"/>
              <a:gd name="connsiteX20" fmla="*/ 64988 w 585264"/>
              <a:gd name="connsiteY20" fmla="*/ 67206 h 110081"/>
              <a:gd name="connsiteX21" fmla="*/ 85281 w 585264"/>
              <a:gd name="connsiteY21" fmla="*/ 67206 h 110081"/>
              <a:gd name="connsiteX22" fmla="*/ 85281 w 585264"/>
              <a:gd name="connsiteY22" fmla="*/ 77661 h 110081"/>
              <a:gd name="connsiteX23" fmla="*/ 62747 w 585264"/>
              <a:gd name="connsiteY23" fmla="*/ 77661 h 110081"/>
              <a:gd name="connsiteX24" fmla="*/ 56460 w 585264"/>
              <a:gd name="connsiteY24" fmla="*/ 108588 h 110081"/>
              <a:gd name="connsiteX25" fmla="*/ 44509 w 585264"/>
              <a:gd name="connsiteY25" fmla="*/ 108588 h 110081"/>
              <a:gd name="connsiteX26" fmla="*/ 50796 w 585264"/>
              <a:gd name="connsiteY26" fmla="*/ 77661 h 110081"/>
              <a:gd name="connsiteX27" fmla="*/ 28386 w 585264"/>
              <a:gd name="connsiteY27" fmla="*/ 77661 h 110081"/>
              <a:gd name="connsiteX28" fmla="*/ 22099 w 585264"/>
              <a:gd name="connsiteY28" fmla="*/ 108588 h 110081"/>
              <a:gd name="connsiteX29" fmla="*/ 30626 w 585264"/>
              <a:gd name="connsiteY29" fmla="*/ 67206 h 110081"/>
              <a:gd name="connsiteX30" fmla="*/ 53036 w 585264"/>
              <a:gd name="connsiteY30" fmla="*/ 67206 h 110081"/>
              <a:gd name="connsiteX31" fmla="*/ 58577 w 585264"/>
              <a:gd name="connsiteY31" fmla="*/ 40012 h 110081"/>
              <a:gd name="connsiteX32" fmla="*/ 36167 w 585264"/>
              <a:gd name="connsiteY32" fmla="*/ 40012 h 110081"/>
              <a:gd name="connsiteX33" fmla="*/ 30626 w 585264"/>
              <a:gd name="connsiteY33" fmla="*/ 67206 h 110081"/>
              <a:gd name="connsiteX34" fmla="*/ 136636 w 585264"/>
              <a:gd name="connsiteY34" fmla="*/ 110082 h 110081"/>
              <a:gd name="connsiteX35" fmla="*/ 118460 w 585264"/>
              <a:gd name="connsiteY35" fmla="*/ 104233 h 110081"/>
              <a:gd name="connsiteX36" fmla="*/ 105761 w 585264"/>
              <a:gd name="connsiteY36" fmla="*/ 86311 h 110081"/>
              <a:gd name="connsiteX37" fmla="*/ 101279 w 585264"/>
              <a:gd name="connsiteY37" fmla="*/ 54947 h 110081"/>
              <a:gd name="connsiteX38" fmla="*/ 105761 w 585264"/>
              <a:gd name="connsiteY38" fmla="*/ 23584 h 110081"/>
              <a:gd name="connsiteX39" fmla="*/ 118460 w 585264"/>
              <a:gd name="connsiteY39" fmla="*/ 5849 h 110081"/>
              <a:gd name="connsiteX40" fmla="*/ 136636 w 585264"/>
              <a:gd name="connsiteY40" fmla="*/ 186 h 110081"/>
              <a:gd name="connsiteX41" fmla="*/ 154752 w 585264"/>
              <a:gd name="connsiteY41" fmla="*/ 5849 h 110081"/>
              <a:gd name="connsiteX42" fmla="*/ 167139 w 585264"/>
              <a:gd name="connsiteY42" fmla="*/ 23584 h 110081"/>
              <a:gd name="connsiteX43" fmla="*/ 171621 w 585264"/>
              <a:gd name="connsiteY43" fmla="*/ 54698 h 110081"/>
              <a:gd name="connsiteX44" fmla="*/ 167139 w 585264"/>
              <a:gd name="connsiteY44" fmla="*/ 86062 h 110081"/>
              <a:gd name="connsiteX45" fmla="*/ 154752 w 585264"/>
              <a:gd name="connsiteY45" fmla="*/ 104233 h 110081"/>
              <a:gd name="connsiteX46" fmla="*/ 136636 w 585264"/>
              <a:gd name="connsiteY46" fmla="*/ 110082 h 110081"/>
              <a:gd name="connsiteX47" fmla="*/ 136512 w 585264"/>
              <a:gd name="connsiteY47" fmla="*/ 98258 h 110081"/>
              <a:gd name="connsiteX48" fmla="*/ 147841 w 585264"/>
              <a:gd name="connsiteY48" fmla="*/ 94275 h 110081"/>
              <a:gd name="connsiteX49" fmla="*/ 155063 w 585264"/>
              <a:gd name="connsiteY49" fmla="*/ 80648 h 110081"/>
              <a:gd name="connsiteX50" fmla="*/ 157552 w 585264"/>
              <a:gd name="connsiteY50" fmla="*/ 55134 h 110081"/>
              <a:gd name="connsiteX51" fmla="*/ 155186 w 585264"/>
              <a:gd name="connsiteY51" fmla="*/ 29745 h 110081"/>
              <a:gd name="connsiteX52" fmla="*/ 148028 w 585264"/>
              <a:gd name="connsiteY52" fmla="*/ 16117 h 110081"/>
              <a:gd name="connsiteX53" fmla="*/ 136636 w 585264"/>
              <a:gd name="connsiteY53" fmla="*/ 11947 h 110081"/>
              <a:gd name="connsiteX54" fmla="*/ 125183 w 585264"/>
              <a:gd name="connsiteY54" fmla="*/ 16117 h 110081"/>
              <a:gd name="connsiteX55" fmla="*/ 117837 w 585264"/>
              <a:gd name="connsiteY55" fmla="*/ 29745 h 110081"/>
              <a:gd name="connsiteX56" fmla="*/ 115285 w 585264"/>
              <a:gd name="connsiteY56" fmla="*/ 55134 h 110081"/>
              <a:gd name="connsiteX57" fmla="*/ 117714 w 585264"/>
              <a:gd name="connsiteY57" fmla="*/ 80648 h 110081"/>
              <a:gd name="connsiteX58" fmla="*/ 124996 w 585264"/>
              <a:gd name="connsiteY58" fmla="*/ 94275 h 110081"/>
              <a:gd name="connsiteX59" fmla="*/ 136512 w 585264"/>
              <a:gd name="connsiteY59" fmla="*/ 98258 h 110081"/>
              <a:gd name="connsiteX60" fmla="*/ 189984 w 585264"/>
              <a:gd name="connsiteY60" fmla="*/ 1493 h 110081"/>
              <a:gd name="connsiteX61" fmla="*/ 255408 w 585264"/>
              <a:gd name="connsiteY61" fmla="*/ 1493 h 110081"/>
              <a:gd name="connsiteX62" fmla="*/ 255408 w 585264"/>
              <a:gd name="connsiteY62" fmla="*/ 14374 h 110081"/>
              <a:gd name="connsiteX63" fmla="*/ 203990 w 585264"/>
              <a:gd name="connsiteY63" fmla="*/ 14374 h 110081"/>
              <a:gd name="connsiteX64" fmla="*/ 203990 w 585264"/>
              <a:gd name="connsiteY64" fmla="*/ 49907 h 110081"/>
              <a:gd name="connsiteX65" fmla="*/ 247627 w 585264"/>
              <a:gd name="connsiteY65" fmla="*/ 49907 h 110081"/>
              <a:gd name="connsiteX66" fmla="*/ 247627 w 585264"/>
              <a:gd name="connsiteY66" fmla="*/ 62601 h 110081"/>
              <a:gd name="connsiteX67" fmla="*/ 203990 w 585264"/>
              <a:gd name="connsiteY67" fmla="*/ 62601 h 110081"/>
              <a:gd name="connsiteX68" fmla="*/ 203990 w 585264"/>
              <a:gd name="connsiteY68" fmla="*/ 108588 h 110081"/>
              <a:gd name="connsiteX69" fmla="*/ 189984 w 585264"/>
              <a:gd name="connsiteY69" fmla="*/ 108588 h 110081"/>
              <a:gd name="connsiteX70" fmla="*/ 189984 w 585264"/>
              <a:gd name="connsiteY70" fmla="*/ 1493 h 110081"/>
              <a:gd name="connsiteX71" fmla="*/ 303713 w 585264"/>
              <a:gd name="connsiteY71" fmla="*/ 110082 h 110081"/>
              <a:gd name="connsiteX72" fmla="*/ 285474 w 585264"/>
              <a:gd name="connsiteY72" fmla="*/ 104233 h 110081"/>
              <a:gd name="connsiteX73" fmla="*/ 272775 w 585264"/>
              <a:gd name="connsiteY73" fmla="*/ 86311 h 110081"/>
              <a:gd name="connsiteX74" fmla="*/ 268294 w 585264"/>
              <a:gd name="connsiteY74" fmla="*/ 54947 h 110081"/>
              <a:gd name="connsiteX75" fmla="*/ 272775 w 585264"/>
              <a:gd name="connsiteY75" fmla="*/ 23584 h 110081"/>
              <a:gd name="connsiteX76" fmla="*/ 285474 w 585264"/>
              <a:gd name="connsiteY76" fmla="*/ 5849 h 110081"/>
              <a:gd name="connsiteX77" fmla="*/ 303713 w 585264"/>
              <a:gd name="connsiteY77" fmla="*/ 186 h 110081"/>
              <a:gd name="connsiteX78" fmla="*/ 321764 w 585264"/>
              <a:gd name="connsiteY78" fmla="*/ 5849 h 110081"/>
              <a:gd name="connsiteX79" fmla="*/ 334214 w 585264"/>
              <a:gd name="connsiteY79" fmla="*/ 23584 h 110081"/>
              <a:gd name="connsiteX80" fmla="*/ 338698 w 585264"/>
              <a:gd name="connsiteY80" fmla="*/ 54698 h 110081"/>
              <a:gd name="connsiteX81" fmla="*/ 334214 w 585264"/>
              <a:gd name="connsiteY81" fmla="*/ 86062 h 110081"/>
              <a:gd name="connsiteX82" fmla="*/ 321764 w 585264"/>
              <a:gd name="connsiteY82" fmla="*/ 104233 h 110081"/>
              <a:gd name="connsiteX83" fmla="*/ 303713 w 585264"/>
              <a:gd name="connsiteY83" fmla="*/ 110082 h 110081"/>
              <a:gd name="connsiteX84" fmla="*/ 303588 w 585264"/>
              <a:gd name="connsiteY84" fmla="*/ 98258 h 110081"/>
              <a:gd name="connsiteX85" fmla="*/ 314918 w 585264"/>
              <a:gd name="connsiteY85" fmla="*/ 94275 h 110081"/>
              <a:gd name="connsiteX86" fmla="*/ 322076 w 585264"/>
              <a:gd name="connsiteY86" fmla="*/ 80648 h 110081"/>
              <a:gd name="connsiteX87" fmla="*/ 324629 w 585264"/>
              <a:gd name="connsiteY87" fmla="*/ 55134 h 110081"/>
              <a:gd name="connsiteX88" fmla="*/ 322263 w 585264"/>
              <a:gd name="connsiteY88" fmla="*/ 29745 h 110081"/>
              <a:gd name="connsiteX89" fmla="*/ 315043 w 585264"/>
              <a:gd name="connsiteY89" fmla="*/ 16117 h 110081"/>
              <a:gd name="connsiteX90" fmla="*/ 303713 w 585264"/>
              <a:gd name="connsiteY90" fmla="*/ 11947 h 110081"/>
              <a:gd name="connsiteX91" fmla="*/ 292196 w 585264"/>
              <a:gd name="connsiteY91" fmla="*/ 16117 h 110081"/>
              <a:gd name="connsiteX92" fmla="*/ 284914 w 585264"/>
              <a:gd name="connsiteY92" fmla="*/ 29745 h 110081"/>
              <a:gd name="connsiteX93" fmla="*/ 282362 w 585264"/>
              <a:gd name="connsiteY93" fmla="*/ 55134 h 110081"/>
              <a:gd name="connsiteX94" fmla="*/ 284727 w 585264"/>
              <a:gd name="connsiteY94" fmla="*/ 80648 h 110081"/>
              <a:gd name="connsiteX95" fmla="*/ 292072 w 585264"/>
              <a:gd name="connsiteY95" fmla="*/ 94275 h 110081"/>
              <a:gd name="connsiteX96" fmla="*/ 303588 w 585264"/>
              <a:gd name="connsiteY96" fmla="*/ 98258 h 110081"/>
              <a:gd name="connsiteX97" fmla="*/ 385819 w 585264"/>
              <a:gd name="connsiteY97" fmla="*/ 110082 h 110081"/>
              <a:gd name="connsiteX98" fmla="*/ 367643 w 585264"/>
              <a:gd name="connsiteY98" fmla="*/ 104233 h 110081"/>
              <a:gd name="connsiteX99" fmla="*/ 354944 w 585264"/>
              <a:gd name="connsiteY99" fmla="*/ 86311 h 110081"/>
              <a:gd name="connsiteX100" fmla="*/ 350462 w 585264"/>
              <a:gd name="connsiteY100" fmla="*/ 54947 h 110081"/>
              <a:gd name="connsiteX101" fmla="*/ 354944 w 585264"/>
              <a:gd name="connsiteY101" fmla="*/ 23584 h 110081"/>
              <a:gd name="connsiteX102" fmla="*/ 367643 w 585264"/>
              <a:gd name="connsiteY102" fmla="*/ 5849 h 110081"/>
              <a:gd name="connsiteX103" fmla="*/ 385819 w 585264"/>
              <a:gd name="connsiteY103" fmla="*/ 186 h 110081"/>
              <a:gd name="connsiteX104" fmla="*/ 403934 w 585264"/>
              <a:gd name="connsiteY104" fmla="*/ 5849 h 110081"/>
              <a:gd name="connsiteX105" fmla="*/ 416322 w 585264"/>
              <a:gd name="connsiteY105" fmla="*/ 23584 h 110081"/>
              <a:gd name="connsiteX106" fmla="*/ 420804 w 585264"/>
              <a:gd name="connsiteY106" fmla="*/ 54698 h 110081"/>
              <a:gd name="connsiteX107" fmla="*/ 416322 w 585264"/>
              <a:gd name="connsiteY107" fmla="*/ 86062 h 110081"/>
              <a:gd name="connsiteX108" fmla="*/ 403934 w 585264"/>
              <a:gd name="connsiteY108" fmla="*/ 104233 h 110081"/>
              <a:gd name="connsiteX109" fmla="*/ 385819 w 585264"/>
              <a:gd name="connsiteY109" fmla="*/ 110082 h 110081"/>
              <a:gd name="connsiteX110" fmla="*/ 385694 w 585264"/>
              <a:gd name="connsiteY110" fmla="*/ 98258 h 110081"/>
              <a:gd name="connsiteX111" fmla="*/ 397024 w 585264"/>
              <a:gd name="connsiteY111" fmla="*/ 94275 h 110081"/>
              <a:gd name="connsiteX112" fmla="*/ 404244 w 585264"/>
              <a:gd name="connsiteY112" fmla="*/ 80648 h 110081"/>
              <a:gd name="connsiteX113" fmla="*/ 406735 w 585264"/>
              <a:gd name="connsiteY113" fmla="*/ 55134 h 110081"/>
              <a:gd name="connsiteX114" fmla="*/ 404369 w 585264"/>
              <a:gd name="connsiteY114" fmla="*/ 29745 h 110081"/>
              <a:gd name="connsiteX115" fmla="*/ 397211 w 585264"/>
              <a:gd name="connsiteY115" fmla="*/ 16117 h 110081"/>
              <a:gd name="connsiteX116" fmla="*/ 385819 w 585264"/>
              <a:gd name="connsiteY116" fmla="*/ 11947 h 110081"/>
              <a:gd name="connsiteX117" fmla="*/ 374366 w 585264"/>
              <a:gd name="connsiteY117" fmla="*/ 16117 h 110081"/>
              <a:gd name="connsiteX118" fmla="*/ 367020 w 585264"/>
              <a:gd name="connsiteY118" fmla="*/ 29745 h 110081"/>
              <a:gd name="connsiteX119" fmla="*/ 364468 w 585264"/>
              <a:gd name="connsiteY119" fmla="*/ 55134 h 110081"/>
              <a:gd name="connsiteX120" fmla="*/ 366895 w 585264"/>
              <a:gd name="connsiteY120" fmla="*/ 80648 h 110081"/>
              <a:gd name="connsiteX121" fmla="*/ 374179 w 585264"/>
              <a:gd name="connsiteY121" fmla="*/ 94275 h 110081"/>
              <a:gd name="connsiteX122" fmla="*/ 385694 w 585264"/>
              <a:gd name="connsiteY122" fmla="*/ 98258 h 110081"/>
              <a:gd name="connsiteX123" fmla="*/ 502224 w 585264"/>
              <a:gd name="connsiteY123" fmla="*/ 13628 h 110081"/>
              <a:gd name="connsiteX124" fmla="*/ 456784 w 585264"/>
              <a:gd name="connsiteY124" fmla="*/ 108588 h 110081"/>
              <a:gd name="connsiteX125" fmla="*/ 442154 w 585264"/>
              <a:gd name="connsiteY125" fmla="*/ 108588 h 110081"/>
              <a:gd name="connsiteX126" fmla="*/ 487846 w 585264"/>
              <a:gd name="connsiteY126" fmla="*/ 14374 h 110081"/>
              <a:gd name="connsiteX127" fmla="*/ 433316 w 585264"/>
              <a:gd name="connsiteY127" fmla="*/ 14374 h 110081"/>
              <a:gd name="connsiteX128" fmla="*/ 433316 w 585264"/>
              <a:gd name="connsiteY128" fmla="*/ 1493 h 110081"/>
              <a:gd name="connsiteX129" fmla="*/ 502224 w 585264"/>
              <a:gd name="connsiteY129" fmla="*/ 1493 h 110081"/>
              <a:gd name="connsiteX130" fmla="*/ 502224 w 585264"/>
              <a:gd name="connsiteY130" fmla="*/ 13628 h 110081"/>
              <a:gd name="connsiteX131" fmla="*/ 533536 w 585264"/>
              <a:gd name="connsiteY131" fmla="*/ 58992 h 110081"/>
              <a:gd name="connsiteX132" fmla="*/ 533536 w 585264"/>
              <a:gd name="connsiteY132" fmla="*/ 46298 h 110081"/>
              <a:gd name="connsiteX133" fmla="*/ 547915 w 585264"/>
              <a:gd name="connsiteY133" fmla="*/ 46298 h 110081"/>
              <a:gd name="connsiteX134" fmla="*/ 561485 w 585264"/>
              <a:gd name="connsiteY134" fmla="*/ 41817 h 110081"/>
              <a:gd name="connsiteX135" fmla="*/ 566839 w 585264"/>
              <a:gd name="connsiteY135" fmla="*/ 28812 h 110081"/>
              <a:gd name="connsiteX136" fmla="*/ 561921 w 585264"/>
              <a:gd name="connsiteY136" fmla="*/ 16864 h 110081"/>
              <a:gd name="connsiteX137" fmla="*/ 547728 w 585264"/>
              <a:gd name="connsiteY137" fmla="*/ 12383 h 110081"/>
              <a:gd name="connsiteX138" fmla="*/ 533101 w 585264"/>
              <a:gd name="connsiteY138" fmla="*/ 15246 h 110081"/>
              <a:gd name="connsiteX139" fmla="*/ 519033 w 585264"/>
              <a:gd name="connsiteY139" fmla="*/ 24331 h 110081"/>
              <a:gd name="connsiteX140" fmla="*/ 519033 w 585264"/>
              <a:gd name="connsiteY140" fmla="*/ 9707 h 110081"/>
              <a:gd name="connsiteX141" fmla="*/ 547915 w 585264"/>
              <a:gd name="connsiteY141" fmla="*/ 0 h 110081"/>
              <a:gd name="connsiteX142" fmla="*/ 571944 w 585264"/>
              <a:gd name="connsiteY142" fmla="*/ 7779 h 110081"/>
              <a:gd name="connsiteX143" fmla="*/ 580783 w 585264"/>
              <a:gd name="connsiteY143" fmla="*/ 28065 h 110081"/>
              <a:gd name="connsiteX144" fmla="*/ 575057 w 585264"/>
              <a:gd name="connsiteY144" fmla="*/ 44244 h 110081"/>
              <a:gd name="connsiteX145" fmla="*/ 561797 w 585264"/>
              <a:gd name="connsiteY145" fmla="*/ 52147 h 110081"/>
              <a:gd name="connsiteX146" fmla="*/ 573313 w 585264"/>
              <a:gd name="connsiteY146" fmla="*/ 56441 h 110081"/>
              <a:gd name="connsiteX147" fmla="*/ 581965 w 585264"/>
              <a:gd name="connsiteY147" fmla="*/ 65153 h 110081"/>
              <a:gd name="connsiteX148" fmla="*/ 585265 w 585264"/>
              <a:gd name="connsiteY148" fmla="*/ 77661 h 110081"/>
              <a:gd name="connsiteX149" fmla="*/ 580285 w 585264"/>
              <a:gd name="connsiteY149" fmla="*/ 94836 h 110081"/>
              <a:gd name="connsiteX150" fmla="*/ 566715 w 585264"/>
              <a:gd name="connsiteY150" fmla="*/ 106224 h 110081"/>
              <a:gd name="connsiteX151" fmla="*/ 546858 w 585264"/>
              <a:gd name="connsiteY151" fmla="*/ 110082 h 110081"/>
              <a:gd name="connsiteX152" fmla="*/ 516355 w 585264"/>
              <a:gd name="connsiteY152" fmla="*/ 100997 h 110081"/>
              <a:gd name="connsiteX153" fmla="*/ 516355 w 585264"/>
              <a:gd name="connsiteY153" fmla="*/ 86062 h 110081"/>
              <a:gd name="connsiteX154" fmla="*/ 530113 w 585264"/>
              <a:gd name="connsiteY154" fmla="*/ 94711 h 110081"/>
              <a:gd name="connsiteX155" fmla="*/ 546982 w 585264"/>
              <a:gd name="connsiteY155" fmla="*/ 97823 h 110081"/>
              <a:gd name="connsiteX156" fmla="*/ 564350 w 585264"/>
              <a:gd name="connsiteY156" fmla="*/ 92596 h 110081"/>
              <a:gd name="connsiteX157" fmla="*/ 570760 w 585264"/>
              <a:gd name="connsiteY157" fmla="*/ 77972 h 110081"/>
              <a:gd name="connsiteX158" fmla="*/ 564909 w 585264"/>
              <a:gd name="connsiteY158" fmla="*/ 64095 h 110081"/>
              <a:gd name="connsiteX159" fmla="*/ 547292 w 585264"/>
              <a:gd name="connsiteY159" fmla="*/ 58992 h 110081"/>
              <a:gd name="connsiteX160" fmla="*/ 533536 w 585264"/>
              <a:gd name="connsiteY160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585264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189984" y="1493"/>
                </a:moveTo>
                <a:lnTo>
                  <a:pt x="255408" y="1493"/>
                </a:lnTo>
                <a:lnTo>
                  <a:pt x="255408" y="14374"/>
                </a:lnTo>
                <a:lnTo>
                  <a:pt x="203990" y="14374"/>
                </a:lnTo>
                <a:lnTo>
                  <a:pt x="203990" y="49907"/>
                </a:lnTo>
                <a:lnTo>
                  <a:pt x="247627" y="49907"/>
                </a:lnTo>
                <a:lnTo>
                  <a:pt x="247627" y="62601"/>
                </a:lnTo>
                <a:lnTo>
                  <a:pt x="203990" y="62601"/>
                </a:lnTo>
                <a:lnTo>
                  <a:pt x="203990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3713" y="110082"/>
                </a:moveTo>
                <a:cubicBezTo>
                  <a:pt x="296927" y="110082"/>
                  <a:pt x="290889" y="108153"/>
                  <a:pt x="285474" y="104233"/>
                </a:cubicBezTo>
                <a:cubicBezTo>
                  <a:pt x="280120" y="100374"/>
                  <a:pt x="275888" y="94400"/>
                  <a:pt x="272775" y="86311"/>
                </a:cubicBezTo>
                <a:cubicBezTo>
                  <a:pt x="269788" y="78159"/>
                  <a:pt x="268294" y="67705"/>
                  <a:pt x="268294" y="54947"/>
                </a:cubicBezTo>
                <a:cubicBezTo>
                  <a:pt x="268294" y="42128"/>
                  <a:pt x="269788" y="31674"/>
                  <a:pt x="272775" y="23584"/>
                </a:cubicBezTo>
                <a:cubicBezTo>
                  <a:pt x="275888" y="15557"/>
                  <a:pt x="280120" y="9645"/>
                  <a:pt x="285474" y="5849"/>
                </a:cubicBezTo>
                <a:cubicBezTo>
                  <a:pt x="290889" y="2053"/>
                  <a:pt x="296927" y="186"/>
                  <a:pt x="303713" y="186"/>
                </a:cubicBezTo>
                <a:cubicBezTo>
                  <a:pt x="310499" y="186"/>
                  <a:pt x="316537" y="2053"/>
                  <a:pt x="321764" y="5849"/>
                </a:cubicBezTo>
                <a:cubicBezTo>
                  <a:pt x="327056" y="9645"/>
                  <a:pt x="331226" y="15557"/>
                  <a:pt x="334214" y="23584"/>
                </a:cubicBezTo>
                <a:cubicBezTo>
                  <a:pt x="337202" y="31549"/>
                  <a:pt x="338698" y="41942"/>
                  <a:pt x="338698" y="54698"/>
                </a:cubicBezTo>
                <a:cubicBezTo>
                  <a:pt x="338698" y="67331"/>
                  <a:pt x="337202" y="77786"/>
                  <a:pt x="334214" y="86062"/>
                </a:cubicBezTo>
                <a:cubicBezTo>
                  <a:pt x="331226" y="94213"/>
                  <a:pt x="327056" y="100250"/>
                  <a:pt x="321764" y="104233"/>
                </a:cubicBezTo>
                <a:cubicBezTo>
                  <a:pt x="316537" y="108153"/>
                  <a:pt x="310499" y="110082"/>
                  <a:pt x="303713" y="110082"/>
                </a:cubicBezTo>
                <a:close/>
                <a:moveTo>
                  <a:pt x="303588" y="98258"/>
                </a:moveTo>
                <a:cubicBezTo>
                  <a:pt x="308070" y="98258"/>
                  <a:pt x="311806" y="96952"/>
                  <a:pt x="314918" y="94275"/>
                </a:cubicBezTo>
                <a:cubicBezTo>
                  <a:pt x="318093" y="91475"/>
                  <a:pt x="320520" y="86933"/>
                  <a:pt x="322076" y="80648"/>
                </a:cubicBezTo>
                <a:cubicBezTo>
                  <a:pt x="323757" y="74300"/>
                  <a:pt x="324629" y="65775"/>
                  <a:pt x="324629" y="55134"/>
                </a:cubicBezTo>
                <a:cubicBezTo>
                  <a:pt x="324629" y="44493"/>
                  <a:pt x="323819" y="36030"/>
                  <a:pt x="322263" y="29745"/>
                </a:cubicBezTo>
                <a:cubicBezTo>
                  <a:pt x="320644" y="23336"/>
                  <a:pt x="318280" y="18855"/>
                  <a:pt x="315043" y="16117"/>
                </a:cubicBezTo>
                <a:cubicBezTo>
                  <a:pt x="311992" y="13379"/>
                  <a:pt x="308195" y="11947"/>
                  <a:pt x="303713" y="11947"/>
                </a:cubicBezTo>
                <a:cubicBezTo>
                  <a:pt x="299231" y="11947"/>
                  <a:pt x="295371" y="13379"/>
                  <a:pt x="292196" y="16117"/>
                </a:cubicBezTo>
                <a:cubicBezTo>
                  <a:pt x="289021" y="18855"/>
                  <a:pt x="286594" y="23336"/>
                  <a:pt x="284914" y="29745"/>
                </a:cubicBezTo>
                <a:cubicBezTo>
                  <a:pt x="283170" y="36030"/>
                  <a:pt x="282362" y="44493"/>
                  <a:pt x="282362" y="55134"/>
                </a:cubicBezTo>
                <a:cubicBezTo>
                  <a:pt x="282362" y="65775"/>
                  <a:pt x="283170" y="74300"/>
                  <a:pt x="284727" y="80648"/>
                </a:cubicBezTo>
                <a:cubicBezTo>
                  <a:pt x="286407" y="86933"/>
                  <a:pt x="288898" y="91475"/>
                  <a:pt x="292072" y="94275"/>
                </a:cubicBezTo>
                <a:cubicBezTo>
                  <a:pt x="295246" y="96952"/>
                  <a:pt x="299107" y="98258"/>
                  <a:pt x="303588" y="98258"/>
                </a:cubicBezTo>
                <a:close/>
                <a:moveTo>
                  <a:pt x="385819" y="110082"/>
                </a:moveTo>
                <a:cubicBezTo>
                  <a:pt x="379097" y="110082"/>
                  <a:pt x="372995" y="108153"/>
                  <a:pt x="367643" y="104233"/>
                </a:cubicBezTo>
                <a:cubicBezTo>
                  <a:pt x="362226" y="100374"/>
                  <a:pt x="357994" y="94400"/>
                  <a:pt x="354944" y="86311"/>
                </a:cubicBezTo>
                <a:cubicBezTo>
                  <a:pt x="351956" y="78159"/>
                  <a:pt x="350462" y="67705"/>
                  <a:pt x="350462" y="54947"/>
                </a:cubicBezTo>
                <a:cubicBezTo>
                  <a:pt x="350462" y="42128"/>
                  <a:pt x="351956" y="31674"/>
                  <a:pt x="354944" y="23584"/>
                </a:cubicBezTo>
                <a:cubicBezTo>
                  <a:pt x="357994" y="15557"/>
                  <a:pt x="362226" y="9645"/>
                  <a:pt x="367643" y="5849"/>
                </a:cubicBezTo>
                <a:cubicBezTo>
                  <a:pt x="372995" y="2053"/>
                  <a:pt x="379097" y="186"/>
                  <a:pt x="385819" y="186"/>
                </a:cubicBezTo>
                <a:cubicBezTo>
                  <a:pt x="392605" y="186"/>
                  <a:pt x="398643" y="2053"/>
                  <a:pt x="403934" y="5849"/>
                </a:cubicBezTo>
                <a:cubicBezTo>
                  <a:pt x="409225" y="9645"/>
                  <a:pt x="413334" y="15557"/>
                  <a:pt x="416322" y="23584"/>
                </a:cubicBezTo>
                <a:cubicBezTo>
                  <a:pt x="419310" y="31549"/>
                  <a:pt x="420804" y="41942"/>
                  <a:pt x="420804" y="54698"/>
                </a:cubicBezTo>
                <a:cubicBezTo>
                  <a:pt x="420804" y="67331"/>
                  <a:pt x="419310" y="77786"/>
                  <a:pt x="416322" y="86062"/>
                </a:cubicBezTo>
                <a:cubicBezTo>
                  <a:pt x="413334" y="94213"/>
                  <a:pt x="409225" y="100250"/>
                  <a:pt x="403934" y="104233"/>
                </a:cubicBezTo>
                <a:cubicBezTo>
                  <a:pt x="398643" y="108153"/>
                  <a:pt x="392605" y="110082"/>
                  <a:pt x="385819" y="110082"/>
                </a:cubicBezTo>
                <a:close/>
                <a:moveTo>
                  <a:pt x="385694" y="98258"/>
                </a:moveTo>
                <a:cubicBezTo>
                  <a:pt x="390176" y="98258"/>
                  <a:pt x="393974" y="96952"/>
                  <a:pt x="397024" y="94275"/>
                </a:cubicBezTo>
                <a:cubicBezTo>
                  <a:pt x="400261" y="91475"/>
                  <a:pt x="402626" y="86933"/>
                  <a:pt x="404244" y="80648"/>
                </a:cubicBezTo>
                <a:cubicBezTo>
                  <a:pt x="405925" y="74300"/>
                  <a:pt x="406735" y="65775"/>
                  <a:pt x="406735" y="55134"/>
                </a:cubicBezTo>
                <a:cubicBezTo>
                  <a:pt x="406735" y="44493"/>
                  <a:pt x="405987" y="36030"/>
                  <a:pt x="404369" y="29745"/>
                </a:cubicBezTo>
                <a:cubicBezTo>
                  <a:pt x="402750" y="23336"/>
                  <a:pt x="400386" y="18855"/>
                  <a:pt x="397211" y="16117"/>
                </a:cubicBezTo>
                <a:cubicBezTo>
                  <a:pt x="394098" y="13379"/>
                  <a:pt x="390301" y="11947"/>
                  <a:pt x="385819" y="11947"/>
                </a:cubicBezTo>
                <a:cubicBezTo>
                  <a:pt x="381337" y="11947"/>
                  <a:pt x="377541" y="13379"/>
                  <a:pt x="374366" y="16117"/>
                </a:cubicBezTo>
                <a:cubicBezTo>
                  <a:pt x="371129" y="18855"/>
                  <a:pt x="368700" y="23336"/>
                  <a:pt x="367020" y="29745"/>
                </a:cubicBezTo>
                <a:cubicBezTo>
                  <a:pt x="365339" y="36030"/>
                  <a:pt x="364468" y="44493"/>
                  <a:pt x="364468" y="55134"/>
                </a:cubicBezTo>
                <a:cubicBezTo>
                  <a:pt x="364468" y="65775"/>
                  <a:pt x="365276" y="74300"/>
                  <a:pt x="366895" y="80648"/>
                </a:cubicBezTo>
                <a:cubicBezTo>
                  <a:pt x="368576" y="86933"/>
                  <a:pt x="371004" y="91475"/>
                  <a:pt x="374179" y="94275"/>
                </a:cubicBezTo>
                <a:cubicBezTo>
                  <a:pt x="377354" y="96952"/>
                  <a:pt x="381213" y="98258"/>
                  <a:pt x="385694" y="98258"/>
                </a:cubicBezTo>
                <a:close/>
                <a:moveTo>
                  <a:pt x="502224" y="13628"/>
                </a:moveTo>
                <a:lnTo>
                  <a:pt x="456784" y="108588"/>
                </a:lnTo>
                <a:lnTo>
                  <a:pt x="442154" y="108588"/>
                </a:lnTo>
                <a:lnTo>
                  <a:pt x="487846" y="14374"/>
                </a:lnTo>
                <a:lnTo>
                  <a:pt x="433316" y="14374"/>
                </a:lnTo>
                <a:lnTo>
                  <a:pt x="433316" y="1493"/>
                </a:lnTo>
                <a:lnTo>
                  <a:pt x="502224" y="1493"/>
                </a:lnTo>
                <a:lnTo>
                  <a:pt x="502224" y="13628"/>
                </a:lnTo>
                <a:close/>
                <a:moveTo>
                  <a:pt x="533536" y="58992"/>
                </a:moveTo>
                <a:lnTo>
                  <a:pt x="533536" y="46298"/>
                </a:lnTo>
                <a:lnTo>
                  <a:pt x="547915" y="46298"/>
                </a:lnTo>
                <a:cubicBezTo>
                  <a:pt x="553456" y="46298"/>
                  <a:pt x="558000" y="44804"/>
                  <a:pt x="561485" y="41817"/>
                </a:cubicBezTo>
                <a:cubicBezTo>
                  <a:pt x="565096" y="38768"/>
                  <a:pt x="566839" y="34412"/>
                  <a:pt x="566839" y="28812"/>
                </a:cubicBezTo>
                <a:cubicBezTo>
                  <a:pt x="566839" y="23771"/>
                  <a:pt x="565221" y="19788"/>
                  <a:pt x="561921" y="16864"/>
                </a:cubicBezTo>
                <a:cubicBezTo>
                  <a:pt x="558622" y="13877"/>
                  <a:pt x="553891" y="12383"/>
                  <a:pt x="547728" y="12383"/>
                </a:cubicBezTo>
                <a:cubicBezTo>
                  <a:pt x="542563" y="12383"/>
                  <a:pt x="537707" y="13379"/>
                  <a:pt x="533101" y="15246"/>
                </a:cubicBezTo>
                <a:cubicBezTo>
                  <a:pt x="528618" y="17113"/>
                  <a:pt x="523949" y="20162"/>
                  <a:pt x="519033" y="24331"/>
                </a:cubicBezTo>
                <a:lnTo>
                  <a:pt x="519033" y="9707"/>
                </a:lnTo>
                <a:cubicBezTo>
                  <a:pt x="527001" y="3235"/>
                  <a:pt x="536648" y="0"/>
                  <a:pt x="547915" y="0"/>
                </a:cubicBezTo>
                <a:cubicBezTo>
                  <a:pt x="558125" y="0"/>
                  <a:pt x="566154" y="2613"/>
                  <a:pt x="571944" y="7779"/>
                </a:cubicBezTo>
                <a:cubicBezTo>
                  <a:pt x="577795" y="12943"/>
                  <a:pt x="580783" y="19726"/>
                  <a:pt x="580783" y="28065"/>
                </a:cubicBezTo>
                <a:cubicBezTo>
                  <a:pt x="580783" y="34848"/>
                  <a:pt x="578853" y="40262"/>
                  <a:pt x="575057" y="44244"/>
                </a:cubicBezTo>
                <a:cubicBezTo>
                  <a:pt x="571383" y="48227"/>
                  <a:pt x="566964" y="50840"/>
                  <a:pt x="561797" y="52147"/>
                </a:cubicBezTo>
                <a:cubicBezTo>
                  <a:pt x="565967" y="52707"/>
                  <a:pt x="569827" y="54201"/>
                  <a:pt x="573313" y="56441"/>
                </a:cubicBezTo>
                <a:cubicBezTo>
                  <a:pt x="576861" y="58681"/>
                  <a:pt x="579788" y="61543"/>
                  <a:pt x="581965" y="65153"/>
                </a:cubicBezTo>
                <a:cubicBezTo>
                  <a:pt x="584145" y="68700"/>
                  <a:pt x="585265" y="72869"/>
                  <a:pt x="585265" y="77661"/>
                </a:cubicBezTo>
                <a:cubicBezTo>
                  <a:pt x="585265" y="84257"/>
                  <a:pt x="583584" y="89982"/>
                  <a:pt x="580285" y="94836"/>
                </a:cubicBezTo>
                <a:cubicBezTo>
                  <a:pt x="577047" y="99752"/>
                  <a:pt x="572503" y="103486"/>
                  <a:pt x="566715" y="106224"/>
                </a:cubicBezTo>
                <a:cubicBezTo>
                  <a:pt x="561051" y="108775"/>
                  <a:pt x="554390" y="110082"/>
                  <a:pt x="546858" y="110082"/>
                </a:cubicBezTo>
                <a:cubicBezTo>
                  <a:pt x="533722" y="110082"/>
                  <a:pt x="523514" y="107033"/>
                  <a:pt x="516355" y="100997"/>
                </a:cubicBezTo>
                <a:lnTo>
                  <a:pt x="516355" y="86062"/>
                </a:lnTo>
                <a:cubicBezTo>
                  <a:pt x="520153" y="89733"/>
                  <a:pt x="524759" y="92596"/>
                  <a:pt x="530113" y="94711"/>
                </a:cubicBezTo>
                <a:cubicBezTo>
                  <a:pt x="535466" y="96765"/>
                  <a:pt x="541130" y="97823"/>
                  <a:pt x="546982" y="97823"/>
                </a:cubicBezTo>
                <a:cubicBezTo>
                  <a:pt x="554390" y="97823"/>
                  <a:pt x="560116" y="96080"/>
                  <a:pt x="564350" y="92596"/>
                </a:cubicBezTo>
                <a:cubicBezTo>
                  <a:pt x="568582" y="89048"/>
                  <a:pt x="570760" y="84132"/>
                  <a:pt x="570760" y="77972"/>
                </a:cubicBezTo>
                <a:cubicBezTo>
                  <a:pt x="570760" y="71998"/>
                  <a:pt x="568832" y="67393"/>
                  <a:pt x="564909" y="64095"/>
                </a:cubicBezTo>
                <a:cubicBezTo>
                  <a:pt x="561113" y="60673"/>
                  <a:pt x="555260" y="58992"/>
                  <a:pt x="547292" y="58992"/>
                </a:cubicBezTo>
                <a:lnTo>
                  <a:pt x="533536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0" name="Полилиния 929">
            <a:extLst>
              <a:ext uri="{FF2B5EF4-FFF2-40B4-BE49-F238E27FC236}">
                <a16:creationId xmlns:a16="http://schemas.microsoft.com/office/drawing/2014/main" id="{6A5D5B99-ECE6-C76F-6F5C-7E6977FBFD2F}"/>
              </a:ext>
            </a:extLst>
          </p:cNvPr>
          <p:cNvSpPr/>
          <p:nvPr userDrawn="1"/>
        </p:nvSpPr>
        <p:spPr>
          <a:xfrm>
            <a:off x="6844904" y="5240073"/>
            <a:ext cx="2557159" cy="726227"/>
          </a:xfrm>
          <a:custGeom>
            <a:avLst/>
            <a:gdLst>
              <a:gd name="connsiteX0" fmla="*/ 2232 w 2191162"/>
              <a:gd name="connsiteY0" fmla="*/ 1222 h 622284"/>
              <a:gd name="connsiteX1" fmla="*/ 2193395 w 2191162"/>
              <a:gd name="connsiteY1" fmla="*/ 1222 h 622284"/>
              <a:gd name="connsiteX2" fmla="*/ 2193395 w 2191162"/>
              <a:gd name="connsiteY2" fmla="*/ 623506 h 622284"/>
              <a:gd name="connsiteX3" fmla="*/ 2232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222"/>
                </a:moveTo>
                <a:lnTo>
                  <a:pt x="2193395" y="1222"/>
                </a:lnTo>
                <a:lnTo>
                  <a:pt x="2193395" y="623506"/>
                </a:lnTo>
                <a:lnTo>
                  <a:pt x="2232" y="623506"/>
                </a:lnTo>
                <a:close/>
              </a:path>
            </a:pathLst>
          </a:custGeom>
          <a:solidFill>
            <a:srgbClr val="1E00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1" name="Полилиния 930">
            <a:extLst>
              <a:ext uri="{FF2B5EF4-FFF2-40B4-BE49-F238E27FC236}">
                <a16:creationId xmlns:a16="http://schemas.microsoft.com/office/drawing/2014/main" id="{97476D91-0EE6-BB08-78A7-0A8D5AB92DF9}"/>
              </a:ext>
            </a:extLst>
          </p:cNvPr>
          <p:cNvSpPr/>
          <p:nvPr userDrawn="1"/>
        </p:nvSpPr>
        <p:spPr>
          <a:xfrm>
            <a:off x="6968113" y="5541820"/>
            <a:ext cx="689851" cy="128468"/>
          </a:xfrm>
          <a:custGeom>
            <a:avLst/>
            <a:gdLst>
              <a:gd name="connsiteX0" fmla="*/ 22099 w 591115"/>
              <a:gd name="connsiteY0" fmla="*/ 108588 h 110081"/>
              <a:gd name="connsiteX1" fmla="*/ 10147 w 591115"/>
              <a:gd name="connsiteY1" fmla="*/ 108588 h 110081"/>
              <a:gd name="connsiteX2" fmla="*/ 16435 w 591115"/>
              <a:gd name="connsiteY2" fmla="*/ 77661 h 110081"/>
              <a:gd name="connsiteX3" fmla="*/ 0 w 591115"/>
              <a:gd name="connsiteY3" fmla="*/ 77661 h 110081"/>
              <a:gd name="connsiteX4" fmla="*/ 0 w 591115"/>
              <a:gd name="connsiteY4" fmla="*/ 67206 h 110081"/>
              <a:gd name="connsiteX5" fmla="*/ 18675 w 591115"/>
              <a:gd name="connsiteY5" fmla="*/ 67206 h 110081"/>
              <a:gd name="connsiteX6" fmla="*/ 24216 w 591115"/>
              <a:gd name="connsiteY6" fmla="*/ 40012 h 110081"/>
              <a:gd name="connsiteX7" fmla="*/ 4047 w 591115"/>
              <a:gd name="connsiteY7" fmla="*/ 40012 h 110081"/>
              <a:gd name="connsiteX8" fmla="*/ 4047 w 591115"/>
              <a:gd name="connsiteY8" fmla="*/ 29559 h 110081"/>
              <a:gd name="connsiteX9" fmla="*/ 26269 w 591115"/>
              <a:gd name="connsiteY9" fmla="*/ 29559 h 110081"/>
              <a:gd name="connsiteX10" fmla="*/ 32121 w 591115"/>
              <a:gd name="connsiteY10" fmla="*/ 1493 h 110081"/>
              <a:gd name="connsiteX11" fmla="*/ 44073 w 591115"/>
              <a:gd name="connsiteY11" fmla="*/ 1493 h 110081"/>
              <a:gd name="connsiteX12" fmla="*/ 38222 w 591115"/>
              <a:gd name="connsiteY12" fmla="*/ 29559 h 110081"/>
              <a:gd name="connsiteX13" fmla="*/ 60630 w 591115"/>
              <a:gd name="connsiteY13" fmla="*/ 29559 h 110081"/>
              <a:gd name="connsiteX14" fmla="*/ 66481 w 591115"/>
              <a:gd name="connsiteY14" fmla="*/ 1493 h 110081"/>
              <a:gd name="connsiteX15" fmla="*/ 78434 w 591115"/>
              <a:gd name="connsiteY15" fmla="*/ 1493 h 110081"/>
              <a:gd name="connsiteX16" fmla="*/ 72583 w 591115"/>
              <a:gd name="connsiteY16" fmla="*/ 29559 h 110081"/>
              <a:gd name="connsiteX17" fmla="*/ 89328 w 591115"/>
              <a:gd name="connsiteY17" fmla="*/ 29559 h 110081"/>
              <a:gd name="connsiteX18" fmla="*/ 89328 w 591115"/>
              <a:gd name="connsiteY18" fmla="*/ 40012 h 110081"/>
              <a:gd name="connsiteX19" fmla="*/ 70529 w 591115"/>
              <a:gd name="connsiteY19" fmla="*/ 40012 h 110081"/>
              <a:gd name="connsiteX20" fmla="*/ 64988 w 591115"/>
              <a:gd name="connsiteY20" fmla="*/ 67206 h 110081"/>
              <a:gd name="connsiteX21" fmla="*/ 85281 w 591115"/>
              <a:gd name="connsiteY21" fmla="*/ 67206 h 110081"/>
              <a:gd name="connsiteX22" fmla="*/ 85281 w 591115"/>
              <a:gd name="connsiteY22" fmla="*/ 77661 h 110081"/>
              <a:gd name="connsiteX23" fmla="*/ 62747 w 591115"/>
              <a:gd name="connsiteY23" fmla="*/ 77661 h 110081"/>
              <a:gd name="connsiteX24" fmla="*/ 56460 w 591115"/>
              <a:gd name="connsiteY24" fmla="*/ 108588 h 110081"/>
              <a:gd name="connsiteX25" fmla="*/ 44509 w 591115"/>
              <a:gd name="connsiteY25" fmla="*/ 108588 h 110081"/>
              <a:gd name="connsiteX26" fmla="*/ 50796 w 591115"/>
              <a:gd name="connsiteY26" fmla="*/ 77661 h 110081"/>
              <a:gd name="connsiteX27" fmla="*/ 28386 w 591115"/>
              <a:gd name="connsiteY27" fmla="*/ 77661 h 110081"/>
              <a:gd name="connsiteX28" fmla="*/ 22099 w 591115"/>
              <a:gd name="connsiteY28" fmla="*/ 108588 h 110081"/>
              <a:gd name="connsiteX29" fmla="*/ 30626 w 591115"/>
              <a:gd name="connsiteY29" fmla="*/ 67206 h 110081"/>
              <a:gd name="connsiteX30" fmla="*/ 53036 w 591115"/>
              <a:gd name="connsiteY30" fmla="*/ 67206 h 110081"/>
              <a:gd name="connsiteX31" fmla="*/ 58577 w 591115"/>
              <a:gd name="connsiteY31" fmla="*/ 40012 h 110081"/>
              <a:gd name="connsiteX32" fmla="*/ 36167 w 591115"/>
              <a:gd name="connsiteY32" fmla="*/ 40012 h 110081"/>
              <a:gd name="connsiteX33" fmla="*/ 30626 w 591115"/>
              <a:gd name="connsiteY33" fmla="*/ 67206 h 110081"/>
              <a:gd name="connsiteX34" fmla="*/ 150829 w 591115"/>
              <a:gd name="connsiteY34" fmla="*/ 108588 h 110081"/>
              <a:gd name="connsiteX35" fmla="*/ 137259 w 591115"/>
              <a:gd name="connsiteY35" fmla="*/ 108588 h 110081"/>
              <a:gd name="connsiteX36" fmla="*/ 137259 w 591115"/>
              <a:gd name="connsiteY36" fmla="*/ 18357 h 110081"/>
              <a:gd name="connsiteX37" fmla="*/ 107691 w 591115"/>
              <a:gd name="connsiteY37" fmla="*/ 41071 h 110081"/>
              <a:gd name="connsiteX38" fmla="*/ 107691 w 591115"/>
              <a:gd name="connsiteY38" fmla="*/ 26011 h 110081"/>
              <a:gd name="connsiteX39" fmla="*/ 139501 w 591115"/>
              <a:gd name="connsiteY39" fmla="*/ 1493 h 110081"/>
              <a:gd name="connsiteX40" fmla="*/ 150829 w 591115"/>
              <a:gd name="connsiteY40" fmla="*/ 1493 h 110081"/>
              <a:gd name="connsiteX41" fmla="*/ 150829 w 591115"/>
              <a:gd name="connsiteY41" fmla="*/ 108588 h 110081"/>
              <a:gd name="connsiteX42" fmla="*/ 189984 w 591115"/>
              <a:gd name="connsiteY42" fmla="*/ 1493 h 110081"/>
              <a:gd name="connsiteX43" fmla="*/ 256278 w 591115"/>
              <a:gd name="connsiteY43" fmla="*/ 1493 h 110081"/>
              <a:gd name="connsiteX44" fmla="*/ 256278 w 591115"/>
              <a:gd name="connsiteY44" fmla="*/ 14374 h 110081"/>
              <a:gd name="connsiteX45" fmla="*/ 203990 w 591115"/>
              <a:gd name="connsiteY45" fmla="*/ 14374 h 110081"/>
              <a:gd name="connsiteX46" fmla="*/ 203990 w 591115"/>
              <a:gd name="connsiteY46" fmla="*/ 46734 h 110081"/>
              <a:gd name="connsiteX47" fmla="*/ 248374 w 591115"/>
              <a:gd name="connsiteY47" fmla="*/ 46734 h 110081"/>
              <a:gd name="connsiteX48" fmla="*/ 248374 w 591115"/>
              <a:gd name="connsiteY48" fmla="*/ 59428 h 110081"/>
              <a:gd name="connsiteX49" fmla="*/ 203990 w 591115"/>
              <a:gd name="connsiteY49" fmla="*/ 59428 h 110081"/>
              <a:gd name="connsiteX50" fmla="*/ 203990 w 591115"/>
              <a:gd name="connsiteY50" fmla="*/ 95893 h 110081"/>
              <a:gd name="connsiteX51" fmla="*/ 257026 w 591115"/>
              <a:gd name="connsiteY51" fmla="*/ 95893 h 110081"/>
              <a:gd name="connsiteX52" fmla="*/ 257026 w 591115"/>
              <a:gd name="connsiteY52" fmla="*/ 108588 h 110081"/>
              <a:gd name="connsiteX53" fmla="*/ 189984 w 591115"/>
              <a:gd name="connsiteY53" fmla="*/ 108588 h 110081"/>
              <a:gd name="connsiteX54" fmla="*/ 189984 w 591115"/>
              <a:gd name="connsiteY54" fmla="*/ 1493 h 110081"/>
              <a:gd name="connsiteX55" fmla="*/ 308070 w 591115"/>
              <a:gd name="connsiteY55" fmla="*/ 110082 h 110081"/>
              <a:gd name="connsiteX56" fmla="*/ 289831 w 591115"/>
              <a:gd name="connsiteY56" fmla="*/ 104233 h 110081"/>
              <a:gd name="connsiteX57" fmla="*/ 277132 w 591115"/>
              <a:gd name="connsiteY57" fmla="*/ 86311 h 110081"/>
              <a:gd name="connsiteX58" fmla="*/ 272651 w 591115"/>
              <a:gd name="connsiteY58" fmla="*/ 54947 h 110081"/>
              <a:gd name="connsiteX59" fmla="*/ 277132 w 591115"/>
              <a:gd name="connsiteY59" fmla="*/ 23584 h 110081"/>
              <a:gd name="connsiteX60" fmla="*/ 289831 w 591115"/>
              <a:gd name="connsiteY60" fmla="*/ 5849 h 110081"/>
              <a:gd name="connsiteX61" fmla="*/ 308070 w 591115"/>
              <a:gd name="connsiteY61" fmla="*/ 186 h 110081"/>
              <a:gd name="connsiteX62" fmla="*/ 326185 w 591115"/>
              <a:gd name="connsiteY62" fmla="*/ 5849 h 110081"/>
              <a:gd name="connsiteX63" fmla="*/ 338573 w 591115"/>
              <a:gd name="connsiteY63" fmla="*/ 23584 h 110081"/>
              <a:gd name="connsiteX64" fmla="*/ 343055 w 591115"/>
              <a:gd name="connsiteY64" fmla="*/ 54698 h 110081"/>
              <a:gd name="connsiteX65" fmla="*/ 338573 w 591115"/>
              <a:gd name="connsiteY65" fmla="*/ 86062 h 110081"/>
              <a:gd name="connsiteX66" fmla="*/ 326185 w 591115"/>
              <a:gd name="connsiteY66" fmla="*/ 104233 h 110081"/>
              <a:gd name="connsiteX67" fmla="*/ 308070 w 591115"/>
              <a:gd name="connsiteY67" fmla="*/ 110082 h 110081"/>
              <a:gd name="connsiteX68" fmla="*/ 307945 w 591115"/>
              <a:gd name="connsiteY68" fmla="*/ 98258 h 110081"/>
              <a:gd name="connsiteX69" fmla="*/ 319275 w 591115"/>
              <a:gd name="connsiteY69" fmla="*/ 94275 h 110081"/>
              <a:gd name="connsiteX70" fmla="*/ 326433 w 591115"/>
              <a:gd name="connsiteY70" fmla="*/ 80648 h 110081"/>
              <a:gd name="connsiteX71" fmla="*/ 328986 w 591115"/>
              <a:gd name="connsiteY71" fmla="*/ 55134 h 110081"/>
              <a:gd name="connsiteX72" fmla="*/ 326620 w 591115"/>
              <a:gd name="connsiteY72" fmla="*/ 29745 h 110081"/>
              <a:gd name="connsiteX73" fmla="*/ 319462 w 591115"/>
              <a:gd name="connsiteY73" fmla="*/ 16117 h 110081"/>
              <a:gd name="connsiteX74" fmla="*/ 308070 w 591115"/>
              <a:gd name="connsiteY74" fmla="*/ 11947 h 110081"/>
              <a:gd name="connsiteX75" fmla="*/ 296555 w 591115"/>
              <a:gd name="connsiteY75" fmla="*/ 16117 h 110081"/>
              <a:gd name="connsiteX76" fmla="*/ 289271 w 591115"/>
              <a:gd name="connsiteY76" fmla="*/ 29745 h 110081"/>
              <a:gd name="connsiteX77" fmla="*/ 286719 w 591115"/>
              <a:gd name="connsiteY77" fmla="*/ 55134 h 110081"/>
              <a:gd name="connsiteX78" fmla="*/ 289084 w 591115"/>
              <a:gd name="connsiteY78" fmla="*/ 80648 h 110081"/>
              <a:gd name="connsiteX79" fmla="*/ 296430 w 591115"/>
              <a:gd name="connsiteY79" fmla="*/ 94275 h 110081"/>
              <a:gd name="connsiteX80" fmla="*/ 307945 w 591115"/>
              <a:gd name="connsiteY80" fmla="*/ 98258 h 110081"/>
              <a:gd name="connsiteX81" fmla="*/ 390238 w 591115"/>
              <a:gd name="connsiteY81" fmla="*/ 110082 h 110081"/>
              <a:gd name="connsiteX82" fmla="*/ 372000 w 591115"/>
              <a:gd name="connsiteY82" fmla="*/ 104233 h 110081"/>
              <a:gd name="connsiteX83" fmla="*/ 359301 w 591115"/>
              <a:gd name="connsiteY83" fmla="*/ 86311 h 110081"/>
              <a:gd name="connsiteX84" fmla="*/ 354819 w 591115"/>
              <a:gd name="connsiteY84" fmla="*/ 54947 h 110081"/>
              <a:gd name="connsiteX85" fmla="*/ 359301 w 591115"/>
              <a:gd name="connsiteY85" fmla="*/ 23584 h 110081"/>
              <a:gd name="connsiteX86" fmla="*/ 372000 w 591115"/>
              <a:gd name="connsiteY86" fmla="*/ 5849 h 110081"/>
              <a:gd name="connsiteX87" fmla="*/ 390238 w 591115"/>
              <a:gd name="connsiteY87" fmla="*/ 186 h 110081"/>
              <a:gd name="connsiteX88" fmla="*/ 408291 w 591115"/>
              <a:gd name="connsiteY88" fmla="*/ 5849 h 110081"/>
              <a:gd name="connsiteX89" fmla="*/ 420679 w 591115"/>
              <a:gd name="connsiteY89" fmla="*/ 23584 h 110081"/>
              <a:gd name="connsiteX90" fmla="*/ 425161 w 591115"/>
              <a:gd name="connsiteY90" fmla="*/ 54698 h 110081"/>
              <a:gd name="connsiteX91" fmla="*/ 420679 w 591115"/>
              <a:gd name="connsiteY91" fmla="*/ 86062 h 110081"/>
              <a:gd name="connsiteX92" fmla="*/ 408291 w 591115"/>
              <a:gd name="connsiteY92" fmla="*/ 104233 h 110081"/>
              <a:gd name="connsiteX93" fmla="*/ 390238 w 591115"/>
              <a:gd name="connsiteY93" fmla="*/ 110082 h 110081"/>
              <a:gd name="connsiteX94" fmla="*/ 390053 w 591115"/>
              <a:gd name="connsiteY94" fmla="*/ 98258 h 110081"/>
              <a:gd name="connsiteX95" fmla="*/ 401443 w 591115"/>
              <a:gd name="connsiteY95" fmla="*/ 94275 h 110081"/>
              <a:gd name="connsiteX96" fmla="*/ 408603 w 591115"/>
              <a:gd name="connsiteY96" fmla="*/ 80648 h 110081"/>
              <a:gd name="connsiteX97" fmla="*/ 411155 w 591115"/>
              <a:gd name="connsiteY97" fmla="*/ 55134 h 110081"/>
              <a:gd name="connsiteX98" fmla="*/ 408728 w 591115"/>
              <a:gd name="connsiteY98" fmla="*/ 29745 h 110081"/>
              <a:gd name="connsiteX99" fmla="*/ 401568 w 591115"/>
              <a:gd name="connsiteY99" fmla="*/ 16117 h 110081"/>
              <a:gd name="connsiteX100" fmla="*/ 390238 w 591115"/>
              <a:gd name="connsiteY100" fmla="*/ 11947 h 110081"/>
              <a:gd name="connsiteX101" fmla="*/ 378723 w 591115"/>
              <a:gd name="connsiteY101" fmla="*/ 16117 h 110081"/>
              <a:gd name="connsiteX102" fmla="*/ 371378 w 591115"/>
              <a:gd name="connsiteY102" fmla="*/ 29745 h 110081"/>
              <a:gd name="connsiteX103" fmla="*/ 368887 w 591115"/>
              <a:gd name="connsiteY103" fmla="*/ 55134 h 110081"/>
              <a:gd name="connsiteX104" fmla="*/ 371254 w 591115"/>
              <a:gd name="connsiteY104" fmla="*/ 80648 h 110081"/>
              <a:gd name="connsiteX105" fmla="*/ 378599 w 591115"/>
              <a:gd name="connsiteY105" fmla="*/ 94275 h 110081"/>
              <a:gd name="connsiteX106" fmla="*/ 390053 w 591115"/>
              <a:gd name="connsiteY106" fmla="*/ 98258 h 110081"/>
              <a:gd name="connsiteX107" fmla="*/ 435930 w 591115"/>
              <a:gd name="connsiteY107" fmla="*/ 35844 h 110081"/>
              <a:gd name="connsiteX108" fmla="*/ 440536 w 591115"/>
              <a:gd name="connsiteY108" fmla="*/ 17051 h 110081"/>
              <a:gd name="connsiteX109" fmla="*/ 453422 w 591115"/>
              <a:gd name="connsiteY109" fmla="*/ 4480 h 110081"/>
              <a:gd name="connsiteX110" fmla="*/ 471473 w 591115"/>
              <a:gd name="connsiteY110" fmla="*/ 0 h 110081"/>
              <a:gd name="connsiteX111" fmla="*/ 493136 w 591115"/>
              <a:gd name="connsiteY111" fmla="*/ 5849 h 110081"/>
              <a:gd name="connsiteX112" fmla="*/ 505213 w 591115"/>
              <a:gd name="connsiteY112" fmla="*/ 21842 h 110081"/>
              <a:gd name="connsiteX113" fmla="*/ 508947 w 591115"/>
              <a:gd name="connsiteY113" fmla="*/ 45426 h 110081"/>
              <a:gd name="connsiteX114" fmla="*/ 504341 w 591115"/>
              <a:gd name="connsiteY114" fmla="*/ 80088 h 110081"/>
              <a:gd name="connsiteX115" fmla="*/ 490024 w 591115"/>
              <a:gd name="connsiteY115" fmla="*/ 102303 h 110081"/>
              <a:gd name="connsiteX116" fmla="*/ 465498 w 591115"/>
              <a:gd name="connsiteY116" fmla="*/ 110082 h 110081"/>
              <a:gd name="connsiteX117" fmla="*/ 442466 w 591115"/>
              <a:gd name="connsiteY117" fmla="*/ 104543 h 110081"/>
              <a:gd name="connsiteX118" fmla="*/ 442466 w 591115"/>
              <a:gd name="connsiteY118" fmla="*/ 91413 h 110081"/>
              <a:gd name="connsiteX119" fmla="*/ 465498 w 591115"/>
              <a:gd name="connsiteY119" fmla="*/ 98010 h 110081"/>
              <a:gd name="connsiteX120" fmla="*/ 481060 w 591115"/>
              <a:gd name="connsiteY120" fmla="*/ 92907 h 110081"/>
              <a:gd name="connsiteX121" fmla="*/ 490771 w 591115"/>
              <a:gd name="connsiteY121" fmla="*/ 79154 h 110081"/>
              <a:gd name="connsiteX122" fmla="*/ 495066 w 591115"/>
              <a:gd name="connsiteY122" fmla="*/ 59739 h 110081"/>
              <a:gd name="connsiteX123" fmla="*/ 484048 w 591115"/>
              <a:gd name="connsiteY123" fmla="*/ 68389 h 110081"/>
              <a:gd name="connsiteX124" fmla="*/ 470104 w 591115"/>
              <a:gd name="connsiteY124" fmla="*/ 71127 h 110081"/>
              <a:gd name="connsiteX125" fmla="*/ 452799 w 591115"/>
              <a:gd name="connsiteY125" fmla="*/ 67082 h 110081"/>
              <a:gd name="connsiteX126" fmla="*/ 440411 w 591115"/>
              <a:gd name="connsiteY126" fmla="*/ 55134 h 110081"/>
              <a:gd name="connsiteX127" fmla="*/ 435930 w 591115"/>
              <a:gd name="connsiteY127" fmla="*/ 35844 h 110081"/>
              <a:gd name="connsiteX128" fmla="*/ 471910 w 591115"/>
              <a:gd name="connsiteY128" fmla="*/ 12134 h 110081"/>
              <a:gd name="connsiteX129" fmla="*/ 461141 w 591115"/>
              <a:gd name="connsiteY129" fmla="*/ 14810 h 110081"/>
              <a:gd name="connsiteX130" fmla="*/ 453110 w 591115"/>
              <a:gd name="connsiteY130" fmla="*/ 22589 h 110081"/>
              <a:gd name="connsiteX131" fmla="*/ 450123 w 591115"/>
              <a:gd name="connsiteY131" fmla="*/ 35532 h 110081"/>
              <a:gd name="connsiteX132" fmla="*/ 453110 w 591115"/>
              <a:gd name="connsiteY132" fmla="*/ 48725 h 110081"/>
              <a:gd name="connsiteX133" fmla="*/ 460705 w 591115"/>
              <a:gd name="connsiteY133" fmla="*/ 56752 h 110081"/>
              <a:gd name="connsiteX134" fmla="*/ 470416 w 591115"/>
              <a:gd name="connsiteY134" fmla="*/ 59428 h 110081"/>
              <a:gd name="connsiteX135" fmla="*/ 486849 w 591115"/>
              <a:gd name="connsiteY135" fmla="*/ 53329 h 110081"/>
              <a:gd name="connsiteX136" fmla="*/ 493572 w 591115"/>
              <a:gd name="connsiteY136" fmla="*/ 35283 h 110081"/>
              <a:gd name="connsiteX137" fmla="*/ 487783 w 591115"/>
              <a:gd name="connsiteY137" fmla="*/ 18544 h 110081"/>
              <a:gd name="connsiteX138" fmla="*/ 471910 w 591115"/>
              <a:gd name="connsiteY138" fmla="*/ 12134 h 110081"/>
              <a:gd name="connsiteX139" fmla="*/ 591116 w 591115"/>
              <a:gd name="connsiteY139" fmla="*/ 73491 h 110081"/>
              <a:gd name="connsiteX140" fmla="*/ 586323 w 591115"/>
              <a:gd name="connsiteY140" fmla="*/ 92782 h 110081"/>
              <a:gd name="connsiteX141" fmla="*/ 573625 w 591115"/>
              <a:gd name="connsiteY141" fmla="*/ 105601 h 110081"/>
              <a:gd name="connsiteX142" fmla="*/ 555572 w 591115"/>
              <a:gd name="connsiteY142" fmla="*/ 110082 h 110081"/>
              <a:gd name="connsiteX143" fmla="*/ 533909 w 591115"/>
              <a:gd name="connsiteY143" fmla="*/ 104108 h 110081"/>
              <a:gd name="connsiteX144" fmla="*/ 521771 w 591115"/>
              <a:gd name="connsiteY144" fmla="*/ 87555 h 110081"/>
              <a:gd name="connsiteX145" fmla="*/ 518036 w 591115"/>
              <a:gd name="connsiteY145" fmla="*/ 63161 h 110081"/>
              <a:gd name="connsiteX146" fmla="*/ 522517 w 591115"/>
              <a:gd name="connsiteY146" fmla="*/ 30181 h 110081"/>
              <a:gd name="connsiteX147" fmla="*/ 536586 w 591115"/>
              <a:gd name="connsiteY147" fmla="*/ 8089 h 110081"/>
              <a:gd name="connsiteX148" fmla="*/ 561051 w 591115"/>
              <a:gd name="connsiteY148" fmla="*/ 0 h 110081"/>
              <a:gd name="connsiteX149" fmla="*/ 583646 w 591115"/>
              <a:gd name="connsiteY149" fmla="*/ 5538 h 110081"/>
              <a:gd name="connsiteX150" fmla="*/ 583646 w 591115"/>
              <a:gd name="connsiteY150" fmla="*/ 18855 h 110081"/>
              <a:gd name="connsiteX151" fmla="*/ 561051 w 591115"/>
              <a:gd name="connsiteY151" fmla="*/ 12259 h 110081"/>
              <a:gd name="connsiteX152" fmla="*/ 545551 w 591115"/>
              <a:gd name="connsiteY152" fmla="*/ 17361 h 110081"/>
              <a:gd name="connsiteX153" fmla="*/ 535653 w 591115"/>
              <a:gd name="connsiteY153" fmla="*/ 31238 h 110081"/>
              <a:gd name="connsiteX154" fmla="*/ 531482 w 591115"/>
              <a:gd name="connsiteY154" fmla="*/ 50778 h 110081"/>
              <a:gd name="connsiteX155" fmla="*/ 542873 w 591115"/>
              <a:gd name="connsiteY155" fmla="*/ 40759 h 110081"/>
              <a:gd name="connsiteX156" fmla="*/ 556879 w 591115"/>
              <a:gd name="connsiteY156" fmla="*/ 37523 h 110081"/>
              <a:gd name="connsiteX157" fmla="*/ 574247 w 591115"/>
              <a:gd name="connsiteY157" fmla="*/ 41693 h 110081"/>
              <a:gd name="connsiteX158" fmla="*/ 586447 w 591115"/>
              <a:gd name="connsiteY158" fmla="*/ 53952 h 110081"/>
              <a:gd name="connsiteX159" fmla="*/ 591116 w 591115"/>
              <a:gd name="connsiteY159" fmla="*/ 73491 h 110081"/>
              <a:gd name="connsiteX160" fmla="*/ 555073 w 591115"/>
              <a:gd name="connsiteY160" fmla="*/ 98134 h 110081"/>
              <a:gd name="connsiteX161" fmla="*/ 565844 w 591115"/>
              <a:gd name="connsiteY161" fmla="*/ 95458 h 110081"/>
              <a:gd name="connsiteX162" fmla="*/ 573748 w 591115"/>
              <a:gd name="connsiteY162" fmla="*/ 87244 h 110081"/>
              <a:gd name="connsiteX163" fmla="*/ 576923 w 591115"/>
              <a:gd name="connsiteY163" fmla="*/ 73803 h 110081"/>
              <a:gd name="connsiteX164" fmla="*/ 573935 w 591115"/>
              <a:gd name="connsiteY164" fmla="*/ 60174 h 110081"/>
              <a:gd name="connsiteX165" fmla="*/ 566279 w 591115"/>
              <a:gd name="connsiteY165" fmla="*/ 51961 h 110081"/>
              <a:gd name="connsiteX166" fmla="*/ 556569 w 591115"/>
              <a:gd name="connsiteY166" fmla="*/ 49160 h 110081"/>
              <a:gd name="connsiteX167" fmla="*/ 540010 w 591115"/>
              <a:gd name="connsiteY167" fmla="*/ 55570 h 110081"/>
              <a:gd name="connsiteX168" fmla="*/ 533411 w 591115"/>
              <a:gd name="connsiteY168" fmla="*/ 74114 h 110081"/>
              <a:gd name="connsiteX169" fmla="*/ 539263 w 591115"/>
              <a:gd name="connsiteY169" fmla="*/ 91538 h 110081"/>
              <a:gd name="connsiteX170" fmla="*/ 555073 w 591115"/>
              <a:gd name="connsiteY170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</a:cxnLst>
            <a:rect l="l" t="t" r="r" b="b"/>
            <a:pathLst>
              <a:path w="591115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0829" y="108588"/>
                </a:moveTo>
                <a:lnTo>
                  <a:pt x="137259" y="108588"/>
                </a:lnTo>
                <a:lnTo>
                  <a:pt x="137259" y="18357"/>
                </a:lnTo>
                <a:lnTo>
                  <a:pt x="107691" y="41071"/>
                </a:lnTo>
                <a:lnTo>
                  <a:pt x="107691" y="26011"/>
                </a:lnTo>
                <a:lnTo>
                  <a:pt x="139501" y="1493"/>
                </a:lnTo>
                <a:lnTo>
                  <a:pt x="150829" y="1493"/>
                </a:lnTo>
                <a:lnTo>
                  <a:pt x="150829" y="108588"/>
                </a:lnTo>
                <a:close/>
                <a:moveTo>
                  <a:pt x="189984" y="1493"/>
                </a:moveTo>
                <a:lnTo>
                  <a:pt x="256278" y="1493"/>
                </a:lnTo>
                <a:lnTo>
                  <a:pt x="256278" y="14374"/>
                </a:lnTo>
                <a:lnTo>
                  <a:pt x="203990" y="14374"/>
                </a:lnTo>
                <a:lnTo>
                  <a:pt x="203990" y="46734"/>
                </a:lnTo>
                <a:lnTo>
                  <a:pt x="248374" y="46734"/>
                </a:lnTo>
                <a:lnTo>
                  <a:pt x="248374" y="59428"/>
                </a:lnTo>
                <a:lnTo>
                  <a:pt x="203990" y="59428"/>
                </a:lnTo>
                <a:lnTo>
                  <a:pt x="203990" y="95893"/>
                </a:lnTo>
                <a:lnTo>
                  <a:pt x="257026" y="95893"/>
                </a:lnTo>
                <a:lnTo>
                  <a:pt x="257026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8070" y="110082"/>
                </a:moveTo>
                <a:cubicBezTo>
                  <a:pt x="301286" y="110082"/>
                  <a:pt x="295246" y="108153"/>
                  <a:pt x="289831" y="104233"/>
                </a:cubicBezTo>
                <a:cubicBezTo>
                  <a:pt x="284477" y="100374"/>
                  <a:pt x="280245" y="94400"/>
                  <a:pt x="277132" y="86311"/>
                </a:cubicBezTo>
                <a:cubicBezTo>
                  <a:pt x="274145" y="78159"/>
                  <a:pt x="272651" y="67705"/>
                  <a:pt x="272651" y="54947"/>
                </a:cubicBezTo>
                <a:cubicBezTo>
                  <a:pt x="272651" y="42128"/>
                  <a:pt x="274145" y="31674"/>
                  <a:pt x="277132" y="23584"/>
                </a:cubicBezTo>
                <a:cubicBezTo>
                  <a:pt x="280245" y="15557"/>
                  <a:pt x="284477" y="9645"/>
                  <a:pt x="289831" y="5849"/>
                </a:cubicBezTo>
                <a:cubicBezTo>
                  <a:pt x="295246" y="2053"/>
                  <a:pt x="301286" y="186"/>
                  <a:pt x="308070" y="186"/>
                </a:cubicBezTo>
                <a:cubicBezTo>
                  <a:pt x="314856" y="186"/>
                  <a:pt x="320894" y="2053"/>
                  <a:pt x="326185" y="5849"/>
                </a:cubicBezTo>
                <a:cubicBezTo>
                  <a:pt x="331413" y="9645"/>
                  <a:pt x="335585" y="15557"/>
                  <a:pt x="338573" y="23584"/>
                </a:cubicBezTo>
                <a:cubicBezTo>
                  <a:pt x="341561" y="31549"/>
                  <a:pt x="343055" y="41942"/>
                  <a:pt x="343055" y="54698"/>
                </a:cubicBezTo>
                <a:cubicBezTo>
                  <a:pt x="343055" y="67331"/>
                  <a:pt x="341561" y="77786"/>
                  <a:pt x="338573" y="86062"/>
                </a:cubicBezTo>
                <a:cubicBezTo>
                  <a:pt x="335585" y="94213"/>
                  <a:pt x="331413" y="100250"/>
                  <a:pt x="326185" y="104233"/>
                </a:cubicBezTo>
                <a:cubicBezTo>
                  <a:pt x="320894" y="108153"/>
                  <a:pt x="314856" y="110082"/>
                  <a:pt x="308070" y="110082"/>
                </a:cubicBezTo>
                <a:close/>
                <a:moveTo>
                  <a:pt x="307945" y="98258"/>
                </a:moveTo>
                <a:cubicBezTo>
                  <a:pt x="312427" y="98258"/>
                  <a:pt x="316225" y="96952"/>
                  <a:pt x="319275" y="94275"/>
                </a:cubicBezTo>
                <a:cubicBezTo>
                  <a:pt x="322450" y="91475"/>
                  <a:pt x="324877" y="86933"/>
                  <a:pt x="326433" y="80648"/>
                </a:cubicBezTo>
                <a:cubicBezTo>
                  <a:pt x="328176" y="74300"/>
                  <a:pt x="328986" y="65775"/>
                  <a:pt x="328986" y="55134"/>
                </a:cubicBezTo>
                <a:cubicBezTo>
                  <a:pt x="328986" y="44493"/>
                  <a:pt x="328176" y="36030"/>
                  <a:pt x="326620" y="29745"/>
                </a:cubicBezTo>
                <a:cubicBezTo>
                  <a:pt x="325002" y="23336"/>
                  <a:pt x="322637" y="18855"/>
                  <a:pt x="319462" y="16117"/>
                </a:cubicBezTo>
                <a:cubicBezTo>
                  <a:pt x="316350" y="13379"/>
                  <a:pt x="312552" y="11947"/>
                  <a:pt x="308070" y="11947"/>
                </a:cubicBezTo>
                <a:cubicBezTo>
                  <a:pt x="303588" y="11947"/>
                  <a:pt x="299792" y="13379"/>
                  <a:pt x="296555" y="16117"/>
                </a:cubicBezTo>
                <a:cubicBezTo>
                  <a:pt x="293380" y="18855"/>
                  <a:pt x="290952" y="23336"/>
                  <a:pt x="289271" y="29745"/>
                </a:cubicBezTo>
                <a:cubicBezTo>
                  <a:pt x="287590" y="36030"/>
                  <a:pt x="286719" y="44493"/>
                  <a:pt x="286719" y="55134"/>
                </a:cubicBezTo>
                <a:cubicBezTo>
                  <a:pt x="286719" y="65775"/>
                  <a:pt x="287528" y="74300"/>
                  <a:pt x="289084" y="80648"/>
                </a:cubicBezTo>
                <a:cubicBezTo>
                  <a:pt x="290827" y="86933"/>
                  <a:pt x="293255" y="91475"/>
                  <a:pt x="296430" y="94275"/>
                </a:cubicBezTo>
                <a:cubicBezTo>
                  <a:pt x="299605" y="96952"/>
                  <a:pt x="303464" y="98258"/>
                  <a:pt x="307945" y="98258"/>
                </a:cubicBezTo>
                <a:close/>
                <a:moveTo>
                  <a:pt x="390238" y="110082"/>
                </a:moveTo>
                <a:cubicBezTo>
                  <a:pt x="383454" y="110082"/>
                  <a:pt x="377354" y="108153"/>
                  <a:pt x="372000" y="104233"/>
                </a:cubicBezTo>
                <a:cubicBezTo>
                  <a:pt x="366647" y="100374"/>
                  <a:pt x="362413" y="94400"/>
                  <a:pt x="359301" y="86311"/>
                </a:cubicBezTo>
                <a:cubicBezTo>
                  <a:pt x="356313" y="78159"/>
                  <a:pt x="354819" y="67705"/>
                  <a:pt x="354819" y="54947"/>
                </a:cubicBezTo>
                <a:cubicBezTo>
                  <a:pt x="354819" y="42128"/>
                  <a:pt x="356313" y="31674"/>
                  <a:pt x="359301" y="23584"/>
                </a:cubicBezTo>
                <a:cubicBezTo>
                  <a:pt x="362413" y="15557"/>
                  <a:pt x="366647" y="9645"/>
                  <a:pt x="372000" y="5849"/>
                </a:cubicBezTo>
                <a:cubicBezTo>
                  <a:pt x="377354" y="2053"/>
                  <a:pt x="383454" y="186"/>
                  <a:pt x="390238" y="186"/>
                </a:cubicBezTo>
                <a:cubicBezTo>
                  <a:pt x="397024" y="186"/>
                  <a:pt x="403000" y="2053"/>
                  <a:pt x="408291" y="5849"/>
                </a:cubicBezTo>
                <a:cubicBezTo>
                  <a:pt x="413582" y="9645"/>
                  <a:pt x="417691" y="15557"/>
                  <a:pt x="420679" y="23584"/>
                </a:cubicBezTo>
                <a:cubicBezTo>
                  <a:pt x="423667" y="31549"/>
                  <a:pt x="425161" y="41942"/>
                  <a:pt x="425161" y="54698"/>
                </a:cubicBezTo>
                <a:cubicBezTo>
                  <a:pt x="425161" y="67331"/>
                  <a:pt x="423667" y="77786"/>
                  <a:pt x="420679" y="86062"/>
                </a:cubicBezTo>
                <a:cubicBezTo>
                  <a:pt x="417691" y="94213"/>
                  <a:pt x="413582" y="100250"/>
                  <a:pt x="408291" y="104233"/>
                </a:cubicBezTo>
                <a:cubicBezTo>
                  <a:pt x="403000" y="108153"/>
                  <a:pt x="397024" y="110082"/>
                  <a:pt x="390238" y="110082"/>
                </a:cubicBezTo>
                <a:close/>
                <a:moveTo>
                  <a:pt x="390053" y="98258"/>
                </a:moveTo>
                <a:cubicBezTo>
                  <a:pt x="394535" y="98258"/>
                  <a:pt x="398331" y="96952"/>
                  <a:pt x="401443" y="94275"/>
                </a:cubicBezTo>
                <a:cubicBezTo>
                  <a:pt x="404618" y="91475"/>
                  <a:pt x="406984" y="86933"/>
                  <a:pt x="408603" y="80648"/>
                </a:cubicBezTo>
                <a:cubicBezTo>
                  <a:pt x="410284" y="74300"/>
                  <a:pt x="411155" y="65775"/>
                  <a:pt x="411155" y="55134"/>
                </a:cubicBezTo>
                <a:cubicBezTo>
                  <a:pt x="411155" y="44493"/>
                  <a:pt x="410345" y="36030"/>
                  <a:pt x="408728" y="29745"/>
                </a:cubicBezTo>
                <a:cubicBezTo>
                  <a:pt x="407171" y="23336"/>
                  <a:pt x="404743" y="18855"/>
                  <a:pt x="401568" y="16117"/>
                </a:cubicBezTo>
                <a:cubicBezTo>
                  <a:pt x="398518" y="13379"/>
                  <a:pt x="394722" y="11947"/>
                  <a:pt x="390238" y="11947"/>
                </a:cubicBezTo>
                <a:cubicBezTo>
                  <a:pt x="385757" y="11947"/>
                  <a:pt x="381898" y="13379"/>
                  <a:pt x="378723" y="16117"/>
                </a:cubicBezTo>
                <a:cubicBezTo>
                  <a:pt x="375548" y="18855"/>
                  <a:pt x="373120" y="23336"/>
                  <a:pt x="371378" y="29745"/>
                </a:cubicBezTo>
                <a:cubicBezTo>
                  <a:pt x="369697" y="36030"/>
                  <a:pt x="368887" y="44493"/>
                  <a:pt x="368887" y="55134"/>
                </a:cubicBezTo>
                <a:cubicBezTo>
                  <a:pt x="368887" y="65775"/>
                  <a:pt x="369635" y="74300"/>
                  <a:pt x="371254" y="80648"/>
                </a:cubicBezTo>
                <a:cubicBezTo>
                  <a:pt x="372934" y="86933"/>
                  <a:pt x="375361" y="91475"/>
                  <a:pt x="378599" y="94275"/>
                </a:cubicBezTo>
                <a:cubicBezTo>
                  <a:pt x="381773" y="96952"/>
                  <a:pt x="385570" y="98258"/>
                  <a:pt x="390053" y="98258"/>
                </a:cubicBezTo>
                <a:close/>
                <a:moveTo>
                  <a:pt x="435930" y="35844"/>
                </a:moveTo>
                <a:cubicBezTo>
                  <a:pt x="435930" y="28687"/>
                  <a:pt x="437486" y="22402"/>
                  <a:pt x="440536" y="17051"/>
                </a:cubicBezTo>
                <a:cubicBezTo>
                  <a:pt x="443711" y="11637"/>
                  <a:pt x="448006" y="7467"/>
                  <a:pt x="453422" y="4480"/>
                </a:cubicBezTo>
                <a:cubicBezTo>
                  <a:pt x="458774" y="1493"/>
                  <a:pt x="464812" y="0"/>
                  <a:pt x="471473" y="0"/>
                </a:cubicBezTo>
                <a:cubicBezTo>
                  <a:pt x="480437" y="0"/>
                  <a:pt x="487659" y="1929"/>
                  <a:pt x="493136" y="5849"/>
                </a:cubicBezTo>
                <a:cubicBezTo>
                  <a:pt x="498739" y="9645"/>
                  <a:pt x="502723" y="14934"/>
                  <a:pt x="505213" y="21842"/>
                </a:cubicBezTo>
                <a:cubicBezTo>
                  <a:pt x="507703" y="28563"/>
                  <a:pt x="508947" y="36466"/>
                  <a:pt x="508947" y="45426"/>
                </a:cubicBezTo>
                <a:cubicBezTo>
                  <a:pt x="508947" y="58868"/>
                  <a:pt x="507454" y="70380"/>
                  <a:pt x="504341" y="80088"/>
                </a:cubicBezTo>
                <a:cubicBezTo>
                  <a:pt x="501229" y="89733"/>
                  <a:pt x="496498" y="97138"/>
                  <a:pt x="490024" y="102303"/>
                </a:cubicBezTo>
                <a:cubicBezTo>
                  <a:pt x="483612" y="107468"/>
                  <a:pt x="475458" y="110082"/>
                  <a:pt x="465498" y="110082"/>
                </a:cubicBezTo>
                <a:cubicBezTo>
                  <a:pt x="456534" y="110082"/>
                  <a:pt x="448878" y="108215"/>
                  <a:pt x="442466" y="104543"/>
                </a:cubicBezTo>
                <a:lnTo>
                  <a:pt x="442466" y="91413"/>
                </a:lnTo>
                <a:cubicBezTo>
                  <a:pt x="449250" y="95769"/>
                  <a:pt x="456908" y="98010"/>
                  <a:pt x="465498" y="98010"/>
                </a:cubicBezTo>
                <a:cubicBezTo>
                  <a:pt x="471660" y="98010"/>
                  <a:pt x="476828" y="96267"/>
                  <a:pt x="481060" y="92907"/>
                </a:cubicBezTo>
                <a:cubicBezTo>
                  <a:pt x="485230" y="89546"/>
                  <a:pt x="488467" y="84941"/>
                  <a:pt x="490771" y="79154"/>
                </a:cubicBezTo>
                <a:cubicBezTo>
                  <a:pt x="493136" y="73367"/>
                  <a:pt x="494568" y="66896"/>
                  <a:pt x="495066" y="59739"/>
                </a:cubicBezTo>
                <a:cubicBezTo>
                  <a:pt x="492016" y="63660"/>
                  <a:pt x="488280" y="66522"/>
                  <a:pt x="484048" y="68389"/>
                </a:cubicBezTo>
                <a:cubicBezTo>
                  <a:pt x="479753" y="70193"/>
                  <a:pt x="475084" y="71127"/>
                  <a:pt x="470104" y="71127"/>
                </a:cubicBezTo>
                <a:cubicBezTo>
                  <a:pt x="463755" y="71127"/>
                  <a:pt x="457966" y="69758"/>
                  <a:pt x="452799" y="67082"/>
                </a:cubicBezTo>
                <a:cubicBezTo>
                  <a:pt x="447633" y="64406"/>
                  <a:pt x="443461" y="60424"/>
                  <a:pt x="440411" y="55134"/>
                </a:cubicBezTo>
                <a:cubicBezTo>
                  <a:pt x="437423" y="49845"/>
                  <a:pt x="435930" y="43435"/>
                  <a:pt x="435930" y="35844"/>
                </a:cubicBezTo>
                <a:close/>
                <a:moveTo>
                  <a:pt x="471910" y="12134"/>
                </a:moveTo>
                <a:cubicBezTo>
                  <a:pt x="468112" y="12134"/>
                  <a:pt x="464565" y="13006"/>
                  <a:pt x="461141" y="14810"/>
                </a:cubicBezTo>
                <a:cubicBezTo>
                  <a:pt x="457904" y="16490"/>
                  <a:pt x="455165" y="19104"/>
                  <a:pt x="453110" y="22589"/>
                </a:cubicBezTo>
                <a:cubicBezTo>
                  <a:pt x="451118" y="25949"/>
                  <a:pt x="450123" y="30305"/>
                  <a:pt x="450123" y="35532"/>
                </a:cubicBezTo>
                <a:cubicBezTo>
                  <a:pt x="450123" y="40759"/>
                  <a:pt x="451118" y="45116"/>
                  <a:pt x="453110" y="48725"/>
                </a:cubicBezTo>
                <a:cubicBezTo>
                  <a:pt x="455103" y="52271"/>
                  <a:pt x="457654" y="54947"/>
                  <a:pt x="460705" y="56752"/>
                </a:cubicBezTo>
                <a:cubicBezTo>
                  <a:pt x="463817" y="58556"/>
                  <a:pt x="467054" y="59428"/>
                  <a:pt x="470416" y="59428"/>
                </a:cubicBezTo>
                <a:cubicBezTo>
                  <a:pt x="477014" y="59428"/>
                  <a:pt x="482492" y="57437"/>
                  <a:pt x="486849" y="53329"/>
                </a:cubicBezTo>
                <a:cubicBezTo>
                  <a:pt x="491331" y="49160"/>
                  <a:pt x="493572" y="43124"/>
                  <a:pt x="493572" y="35283"/>
                </a:cubicBezTo>
                <a:cubicBezTo>
                  <a:pt x="493572" y="28313"/>
                  <a:pt x="491642" y="22713"/>
                  <a:pt x="487783" y="18544"/>
                </a:cubicBezTo>
                <a:cubicBezTo>
                  <a:pt x="483861" y="14250"/>
                  <a:pt x="478571" y="12134"/>
                  <a:pt x="471910" y="12134"/>
                </a:cubicBezTo>
                <a:close/>
                <a:moveTo>
                  <a:pt x="591116" y="73491"/>
                </a:moveTo>
                <a:cubicBezTo>
                  <a:pt x="591116" y="80772"/>
                  <a:pt x="589497" y="87182"/>
                  <a:pt x="586323" y="92782"/>
                </a:cubicBezTo>
                <a:cubicBezTo>
                  <a:pt x="583210" y="98258"/>
                  <a:pt x="578978" y="102490"/>
                  <a:pt x="573625" y="105601"/>
                </a:cubicBezTo>
                <a:cubicBezTo>
                  <a:pt x="568271" y="108588"/>
                  <a:pt x="562233" y="110082"/>
                  <a:pt x="555572" y="110082"/>
                </a:cubicBezTo>
                <a:cubicBezTo>
                  <a:pt x="546608" y="110082"/>
                  <a:pt x="539388" y="108091"/>
                  <a:pt x="533909" y="104108"/>
                </a:cubicBezTo>
                <a:cubicBezTo>
                  <a:pt x="528432" y="100125"/>
                  <a:pt x="524385" y="94587"/>
                  <a:pt x="521771" y="87555"/>
                </a:cubicBezTo>
                <a:cubicBezTo>
                  <a:pt x="519280" y="80461"/>
                  <a:pt x="518036" y="72372"/>
                  <a:pt x="518036" y="63161"/>
                </a:cubicBezTo>
                <a:cubicBezTo>
                  <a:pt x="518036" y="50653"/>
                  <a:pt x="519529" y="39639"/>
                  <a:pt x="522517" y="30181"/>
                </a:cubicBezTo>
                <a:cubicBezTo>
                  <a:pt x="525630" y="20722"/>
                  <a:pt x="530298" y="13379"/>
                  <a:pt x="536586" y="8089"/>
                </a:cubicBezTo>
                <a:cubicBezTo>
                  <a:pt x="542935" y="2675"/>
                  <a:pt x="551090" y="0"/>
                  <a:pt x="561051" y="0"/>
                </a:cubicBezTo>
                <a:cubicBezTo>
                  <a:pt x="569640" y="0"/>
                  <a:pt x="577172" y="1866"/>
                  <a:pt x="583646" y="5538"/>
                </a:cubicBezTo>
                <a:lnTo>
                  <a:pt x="583646" y="18855"/>
                </a:lnTo>
                <a:cubicBezTo>
                  <a:pt x="577172" y="14437"/>
                  <a:pt x="569640" y="12259"/>
                  <a:pt x="561051" y="12259"/>
                </a:cubicBezTo>
                <a:cubicBezTo>
                  <a:pt x="554888" y="12259"/>
                  <a:pt x="549721" y="13939"/>
                  <a:pt x="545551" y="17361"/>
                </a:cubicBezTo>
                <a:cubicBezTo>
                  <a:pt x="541379" y="20722"/>
                  <a:pt x="538080" y="25327"/>
                  <a:pt x="535653" y="31238"/>
                </a:cubicBezTo>
                <a:cubicBezTo>
                  <a:pt x="533411" y="37026"/>
                  <a:pt x="531979" y="43498"/>
                  <a:pt x="531482" y="50778"/>
                </a:cubicBezTo>
                <a:cubicBezTo>
                  <a:pt x="534782" y="46298"/>
                  <a:pt x="538578" y="42999"/>
                  <a:pt x="542873" y="40759"/>
                </a:cubicBezTo>
                <a:cubicBezTo>
                  <a:pt x="547107" y="38581"/>
                  <a:pt x="551838" y="37523"/>
                  <a:pt x="556879" y="37523"/>
                </a:cubicBezTo>
                <a:cubicBezTo>
                  <a:pt x="563353" y="37523"/>
                  <a:pt x="569142" y="38893"/>
                  <a:pt x="574247" y="41693"/>
                </a:cubicBezTo>
                <a:cubicBezTo>
                  <a:pt x="579414" y="44493"/>
                  <a:pt x="583459" y="48538"/>
                  <a:pt x="586447" y="53952"/>
                </a:cubicBezTo>
                <a:cubicBezTo>
                  <a:pt x="589560" y="59179"/>
                  <a:pt x="591116" y="65713"/>
                  <a:pt x="591116" y="73491"/>
                </a:cubicBezTo>
                <a:close/>
                <a:moveTo>
                  <a:pt x="555073" y="98134"/>
                </a:moveTo>
                <a:cubicBezTo>
                  <a:pt x="558996" y="98134"/>
                  <a:pt x="562545" y="97263"/>
                  <a:pt x="565844" y="95458"/>
                </a:cubicBezTo>
                <a:cubicBezTo>
                  <a:pt x="569142" y="93529"/>
                  <a:pt x="571757" y="90791"/>
                  <a:pt x="573748" y="87244"/>
                </a:cubicBezTo>
                <a:cubicBezTo>
                  <a:pt x="575865" y="83635"/>
                  <a:pt x="576923" y="79154"/>
                  <a:pt x="576923" y="73803"/>
                </a:cubicBezTo>
                <a:cubicBezTo>
                  <a:pt x="576923" y="68389"/>
                  <a:pt x="575927" y="63908"/>
                  <a:pt x="573935" y="60174"/>
                </a:cubicBezTo>
                <a:cubicBezTo>
                  <a:pt x="571944" y="56503"/>
                  <a:pt x="569391" y="53765"/>
                  <a:pt x="566279" y="51961"/>
                </a:cubicBezTo>
                <a:cubicBezTo>
                  <a:pt x="563228" y="50093"/>
                  <a:pt x="559991" y="49160"/>
                  <a:pt x="556569" y="49160"/>
                </a:cubicBezTo>
                <a:cubicBezTo>
                  <a:pt x="550032" y="49160"/>
                  <a:pt x="544491" y="51276"/>
                  <a:pt x="540010" y="55570"/>
                </a:cubicBezTo>
                <a:cubicBezTo>
                  <a:pt x="535653" y="59739"/>
                  <a:pt x="533411" y="65900"/>
                  <a:pt x="533411" y="74114"/>
                </a:cubicBezTo>
                <a:cubicBezTo>
                  <a:pt x="533411" y="81270"/>
                  <a:pt x="535403" y="87058"/>
                  <a:pt x="539263" y="91538"/>
                </a:cubicBezTo>
                <a:cubicBezTo>
                  <a:pt x="543122" y="95956"/>
                  <a:pt x="548414" y="98134"/>
                  <a:pt x="555073" y="98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2" name="Полилиния 931">
            <a:extLst>
              <a:ext uri="{FF2B5EF4-FFF2-40B4-BE49-F238E27FC236}">
                <a16:creationId xmlns:a16="http://schemas.microsoft.com/office/drawing/2014/main" id="{9DA4E592-52BE-A786-03AF-428203B556BC}"/>
              </a:ext>
            </a:extLst>
          </p:cNvPr>
          <p:cNvSpPr/>
          <p:nvPr userDrawn="1"/>
        </p:nvSpPr>
        <p:spPr>
          <a:xfrm>
            <a:off x="6844904" y="5966300"/>
            <a:ext cx="2557159" cy="726227"/>
          </a:xfrm>
          <a:custGeom>
            <a:avLst/>
            <a:gdLst>
              <a:gd name="connsiteX0" fmla="*/ 2232 w 2191162"/>
              <a:gd name="connsiteY0" fmla="*/ 1322 h 622284"/>
              <a:gd name="connsiteX1" fmla="*/ 2193395 w 2191162"/>
              <a:gd name="connsiteY1" fmla="*/ 1322 h 622284"/>
              <a:gd name="connsiteX2" fmla="*/ 2193395 w 2191162"/>
              <a:gd name="connsiteY2" fmla="*/ 623606 h 622284"/>
              <a:gd name="connsiteX3" fmla="*/ 2232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322"/>
                </a:moveTo>
                <a:lnTo>
                  <a:pt x="2193395" y="1322"/>
                </a:lnTo>
                <a:lnTo>
                  <a:pt x="2193395" y="623606"/>
                </a:lnTo>
                <a:lnTo>
                  <a:pt x="2232" y="623606"/>
                </a:lnTo>
                <a:close/>
              </a:path>
            </a:pathLst>
          </a:custGeom>
          <a:solidFill>
            <a:srgbClr val="2D00B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3" name="Полилиния 932">
            <a:extLst>
              <a:ext uri="{FF2B5EF4-FFF2-40B4-BE49-F238E27FC236}">
                <a16:creationId xmlns:a16="http://schemas.microsoft.com/office/drawing/2014/main" id="{FCB5CC98-2649-52CD-FCF6-B0F6FC2D2B65}"/>
              </a:ext>
            </a:extLst>
          </p:cNvPr>
          <p:cNvSpPr/>
          <p:nvPr userDrawn="1"/>
        </p:nvSpPr>
        <p:spPr>
          <a:xfrm>
            <a:off x="6968113" y="6268047"/>
            <a:ext cx="727193" cy="128468"/>
          </a:xfrm>
          <a:custGeom>
            <a:avLst/>
            <a:gdLst>
              <a:gd name="connsiteX0" fmla="*/ 50796 w 623112"/>
              <a:gd name="connsiteY0" fmla="*/ 77661 h 110081"/>
              <a:gd name="connsiteX1" fmla="*/ 28386 w 623112"/>
              <a:gd name="connsiteY1" fmla="*/ 77661 h 110081"/>
              <a:gd name="connsiteX2" fmla="*/ 22099 w 623112"/>
              <a:gd name="connsiteY2" fmla="*/ 108588 h 110081"/>
              <a:gd name="connsiteX3" fmla="*/ 10147 w 623112"/>
              <a:gd name="connsiteY3" fmla="*/ 108588 h 110081"/>
              <a:gd name="connsiteX4" fmla="*/ 16435 w 623112"/>
              <a:gd name="connsiteY4" fmla="*/ 77661 h 110081"/>
              <a:gd name="connsiteX5" fmla="*/ 0 w 623112"/>
              <a:gd name="connsiteY5" fmla="*/ 77661 h 110081"/>
              <a:gd name="connsiteX6" fmla="*/ 0 w 623112"/>
              <a:gd name="connsiteY6" fmla="*/ 67206 h 110081"/>
              <a:gd name="connsiteX7" fmla="*/ 18675 w 623112"/>
              <a:gd name="connsiteY7" fmla="*/ 67206 h 110081"/>
              <a:gd name="connsiteX8" fmla="*/ 24216 w 623112"/>
              <a:gd name="connsiteY8" fmla="*/ 40012 h 110081"/>
              <a:gd name="connsiteX9" fmla="*/ 4047 w 623112"/>
              <a:gd name="connsiteY9" fmla="*/ 40012 h 110081"/>
              <a:gd name="connsiteX10" fmla="*/ 4047 w 623112"/>
              <a:gd name="connsiteY10" fmla="*/ 29559 h 110081"/>
              <a:gd name="connsiteX11" fmla="*/ 26269 w 623112"/>
              <a:gd name="connsiteY11" fmla="*/ 29559 h 110081"/>
              <a:gd name="connsiteX12" fmla="*/ 32121 w 623112"/>
              <a:gd name="connsiteY12" fmla="*/ 1493 h 110081"/>
              <a:gd name="connsiteX13" fmla="*/ 44073 w 623112"/>
              <a:gd name="connsiteY13" fmla="*/ 1493 h 110081"/>
              <a:gd name="connsiteX14" fmla="*/ 38222 w 623112"/>
              <a:gd name="connsiteY14" fmla="*/ 29559 h 110081"/>
              <a:gd name="connsiteX15" fmla="*/ 60630 w 623112"/>
              <a:gd name="connsiteY15" fmla="*/ 29559 h 110081"/>
              <a:gd name="connsiteX16" fmla="*/ 66481 w 623112"/>
              <a:gd name="connsiteY16" fmla="*/ 1493 h 110081"/>
              <a:gd name="connsiteX17" fmla="*/ 78434 w 623112"/>
              <a:gd name="connsiteY17" fmla="*/ 1493 h 110081"/>
              <a:gd name="connsiteX18" fmla="*/ 72583 w 623112"/>
              <a:gd name="connsiteY18" fmla="*/ 29559 h 110081"/>
              <a:gd name="connsiteX19" fmla="*/ 89328 w 623112"/>
              <a:gd name="connsiteY19" fmla="*/ 29559 h 110081"/>
              <a:gd name="connsiteX20" fmla="*/ 89328 w 623112"/>
              <a:gd name="connsiteY20" fmla="*/ 40012 h 110081"/>
              <a:gd name="connsiteX21" fmla="*/ 70529 w 623112"/>
              <a:gd name="connsiteY21" fmla="*/ 40012 h 110081"/>
              <a:gd name="connsiteX22" fmla="*/ 64988 w 623112"/>
              <a:gd name="connsiteY22" fmla="*/ 67206 h 110081"/>
              <a:gd name="connsiteX23" fmla="*/ 85281 w 623112"/>
              <a:gd name="connsiteY23" fmla="*/ 67206 h 110081"/>
              <a:gd name="connsiteX24" fmla="*/ 85281 w 623112"/>
              <a:gd name="connsiteY24" fmla="*/ 77661 h 110081"/>
              <a:gd name="connsiteX25" fmla="*/ 62747 w 623112"/>
              <a:gd name="connsiteY25" fmla="*/ 77661 h 110081"/>
              <a:gd name="connsiteX26" fmla="*/ 56460 w 623112"/>
              <a:gd name="connsiteY26" fmla="*/ 108588 h 110081"/>
              <a:gd name="connsiteX27" fmla="*/ 44509 w 623112"/>
              <a:gd name="connsiteY27" fmla="*/ 108588 h 110081"/>
              <a:gd name="connsiteX28" fmla="*/ 50796 w 623112"/>
              <a:gd name="connsiteY28" fmla="*/ 77661 h 110081"/>
              <a:gd name="connsiteX29" fmla="*/ 53036 w 623112"/>
              <a:gd name="connsiteY29" fmla="*/ 67206 h 110081"/>
              <a:gd name="connsiteX30" fmla="*/ 58577 w 623112"/>
              <a:gd name="connsiteY30" fmla="*/ 40012 h 110081"/>
              <a:gd name="connsiteX31" fmla="*/ 36167 w 623112"/>
              <a:gd name="connsiteY31" fmla="*/ 40012 h 110081"/>
              <a:gd name="connsiteX32" fmla="*/ 30626 w 623112"/>
              <a:gd name="connsiteY32" fmla="*/ 67206 h 110081"/>
              <a:gd name="connsiteX33" fmla="*/ 53036 w 623112"/>
              <a:gd name="connsiteY33" fmla="*/ 67206 h 110081"/>
              <a:gd name="connsiteX34" fmla="*/ 170873 w 623112"/>
              <a:gd name="connsiteY34" fmla="*/ 108588 h 110081"/>
              <a:gd name="connsiteX35" fmla="*/ 102586 w 623112"/>
              <a:gd name="connsiteY35" fmla="*/ 108588 h 110081"/>
              <a:gd name="connsiteX36" fmla="*/ 102586 w 623112"/>
              <a:gd name="connsiteY36" fmla="*/ 94400 h 110081"/>
              <a:gd name="connsiteX37" fmla="*/ 126054 w 623112"/>
              <a:gd name="connsiteY37" fmla="*/ 74985 h 110081"/>
              <a:gd name="connsiteX38" fmla="*/ 142489 w 623112"/>
              <a:gd name="connsiteY38" fmla="*/ 59303 h 110081"/>
              <a:gd name="connsiteX39" fmla="*/ 152074 w 623112"/>
              <a:gd name="connsiteY39" fmla="*/ 45738 h 110081"/>
              <a:gd name="connsiteX40" fmla="*/ 155186 w 623112"/>
              <a:gd name="connsiteY40" fmla="*/ 32109 h 110081"/>
              <a:gd name="connsiteX41" fmla="*/ 149834 w 623112"/>
              <a:gd name="connsiteY41" fmla="*/ 17922 h 110081"/>
              <a:gd name="connsiteX42" fmla="*/ 134396 w 623112"/>
              <a:gd name="connsiteY42" fmla="*/ 12383 h 110081"/>
              <a:gd name="connsiteX43" fmla="*/ 118585 w 623112"/>
              <a:gd name="connsiteY43" fmla="*/ 16615 h 110081"/>
              <a:gd name="connsiteX44" fmla="*/ 105449 w 623112"/>
              <a:gd name="connsiteY44" fmla="*/ 27194 h 110081"/>
              <a:gd name="connsiteX45" fmla="*/ 105449 w 623112"/>
              <a:gd name="connsiteY45" fmla="*/ 12134 h 110081"/>
              <a:gd name="connsiteX46" fmla="*/ 118273 w 623112"/>
              <a:gd name="connsiteY46" fmla="*/ 3298 h 110081"/>
              <a:gd name="connsiteX47" fmla="*/ 134893 w 623112"/>
              <a:gd name="connsiteY47" fmla="*/ 0 h 110081"/>
              <a:gd name="connsiteX48" fmla="*/ 149647 w 623112"/>
              <a:gd name="connsiteY48" fmla="*/ 2240 h 110081"/>
              <a:gd name="connsiteX49" fmla="*/ 160540 w 623112"/>
              <a:gd name="connsiteY49" fmla="*/ 8525 h 110081"/>
              <a:gd name="connsiteX50" fmla="*/ 167264 w 623112"/>
              <a:gd name="connsiteY50" fmla="*/ 18233 h 110081"/>
              <a:gd name="connsiteX51" fmla="*/ 169691 w 623112"/>
              <a:gd name="connsiteY51" fmla="*/ 30803 h 110081"/>
              <a:gd name="connsiteX52" fmla="*/ 166267 w 623112"/>
              <a:gd name="connsiteY52" fmla="*/ 47044 h 110081"/>
              <a:gd name="connsiteX53" fmla="*/ 156370 w 623112"/>
              <a:gd name="connsiteY53" fmla="*/ 62291 h 110081"/>
              <a:gd name="connsiteX54" fmla="*/ 140122 w 623112"/>
              <a:gd name="connsiteY54" fmla="*/ 78096 h 110081"/>
              <a:gd name="connsiteX55" fmla="*/ 118148 w 623112"/>
              <a:gd name="connsiteY55" fmla="*/ 95769 h 110081"/>
              <a:gd name="connsiteX56" fmla="*/ 170873 w 623112"/>
              <a:gd name="connsiteY56" fmla="*/ 95769 h 110081"/>
              <a:gd name="connsiteX57" fmla="*/ 170873 w 623112"/>
              <a:gd name="connsiteY57" fmla="*/ 108588 h 110081"/>
              <a:gd name="connsiteX58" fmla="*/ 189984 w 623112"/>
              <a:gd name="connsiteY58" fmla="*/ 1493 h 110081"/>
              <a:gd name="connsiteX59" fmla="*/ 225964 w 623112"/>
              <a:gd name="connsiteY59" fmla="*/ 1493 h 110081"/>
              <a:gd name="connsiteX60" fmla="*/ 246008 w 623112"/>
              <a:gd name="connsiteY60" fmla="*/ 4044 h 110081"/>
              <a:gd name="connsiteX61" fmla="*/ 262131 w 623112"/>
              <a:gd name="connsiteY61" fmla="*/ 12383 h 110081"/>
              <a:gd name="connsiteX62" fmla="*/ 272900 w 623112"/>
              <a:gd name="connsiteY62" fmla="*/ 27816 h 110081"/>
              <a:gd name="connsiteX63" fmla="*/ 276759 w 623112"/>
              <a:gd name="connsiteY63" fmla="*/ 51401 h 110081"/>
              <a:gd name="connsiteX64" fmla="*/ 272713 w 623112"/>
              <a:gd name="connsiteY64" fmla="*/ 76354 h 110081"/>
              <a:gd name="connsiteX65" fmla="*/ 261819 w 623112"/>
              <a:gd name="connsiteY65" fmla="*/ 94089 h 110081"/>
              <a:gd name="connsiteX66" fmla="*/ 245262 w 623112"/>
              <a:gd name="connsiteY66" fmla="*/ 104979 h 110081"/>
              <a:gd name="connsiteX67" fmla="*/ 224345 w 623112"/>
              <a:gd name="connsiteY67" fmla="*/ 108588 h 110081"/>
              <a:gd name="connsiteX68" fmla="*/ 189984 w 623112"/>
              <a:gd name="connsiteY68" fmla="*/ 108588 h 110081"/>
              <a:gd name="connsiteX69" fmla="*/ 189984 w 623112"/>
              <a:gd name="connsiteY69" fmla="*/ 1493 h 110081"/>
              <a:gd name="connsiteX70" fmla="*/ 203990 w 623112"/>
              <a:gd name="connsiteY70" fmla="*/ 14374 h 110081"/>
              <a:gd name="connsiteX71" fmla="*/ 203990 w 623112"/>
              <a:gd name="connsiteY71" fmla="*/ 95893 h 110081"/>
              <a:gd name="connsiteX72" fmla="*/ 224345 w 623112"/>
              <a:gd name="connsiteY72" fmla="*/ 95893 h 110081"/>
              <a:gd name="connsiteX73" fmla="*/ 239409 w 623112"/>
              <a:gd name="connsiteY73" fmla="*/ 93343 h 110081"/>
              <a:gd name="connsiteX74" fmla="*/ 251237 w 623112"/>
              <a:gd name="connsiteY74" fmla="*/ 85564 h 110081"/>
              <a:gd name="connsiteX75" fmla="*/ 258832 w 623112"/>
              <a:gd name="connsiteY75" fmla="*/ 71998 h 110081"/>
              <a:gd name="connsiteX76" fmla="*/ 261508 w 623112"/>
              <a:gd name="connsiteY76" fmla="*/ 52458 h 110081"/>
              <a:gd name="connsiteX77" fmla="*/ 258832 w 623112"/>
              <a:gd name="connsiteY77" fmla="*/ 33914 h 110081"/>
              <a:gd name="connsiteX78" fmla="*/ 251362 w 623112"/>
              <a:gd name="connsiteY78" fmla="*/ 22091 h 110081"/>
              <a:gd name="connsiteX79" fmla="*/ 240157 w 623112"/>
              <a:gd name="connsiteY79" fmla="*/ 16117 h 110081"/>
              <a:gd name="connsiteX80" fmla="*/ 225964 w 623112"/>
              <a:gd name="connsiteY80" fmla="*/ 14374 h 110081"/>
              <a:gd name="connsiteX81" fmla="*/ 203990 w 623112"/>
              <a:gd name="connsiteY81" fmla="*/ 14374 h 110081"/>
              <a:gd name="connsiteX82" fmla="*/ 324255 w 623112"/>
              <a:gd name="connsiteY82" fmla="*/ 110082 h 110081"/>
              <a:gd name="connsiteX83" fmla="*/ 310062 w 623112"/>
              <a:gd name="connsiteY83" fmla="*/ 106970 h 110081"/>
              <a:gd name="connsiteX84" fmla="*/ 298857 w 623112"/>
              <a:gd name="connsiteY84" fmla="*/ 96952 h 110081"/>
              <a:gd name="connsiteX85" fmla="*/ 291575 w 623112"/>
              <a:gd name="connsiteY85" fmla="*/ 79777 h 110081"/>
              <a:gd name="connsiteX86" fmla="*/ 288898 w 623112"/>
              <a:gd name="connsiteY86" fmla="*/ 54947 h 110081"/>
              <a:gd name="connsiteX87" fmla="*/ 291575 w 623112"/>
              <a:gd name="connsiteY87" fmla="*/ 30305 h 110081"/>
              <a:gd name="connsiteX88" fmla="*/ 298857 w 623112"/>
              <a:gd name="connsiteY88" fmla="*/ 13130 h 110081"/>
              <a:gd name="connsiteX89" fmla="*/ 310062 w 623112"/>
              <a:gd name="connsiteY89" fmla="*/ 3298 h 110081"/>
              <a:gd name="connsiteX90" fmla="*/ 324255 w 623112"/>
              <a:gd name="connsiteY90" fmla="*/ 186 h 110081"/>
              <a:gd name="connsiteX91" fmla="*/ 338324 w 623112"/>
              <a:gd name="connsiteY91" fmla="*/ 3298 h 110081"/>
              <a:gd name="connsiteX92" fmla="*/ 349404 w 623112"/>
              <a:gd name="connsiteY92" fmla="*/ 13130 h 110081"/>
              <a:gd name="connsiteX93" fmla="*/ 356562 w 623112"/>
              <a:gd name="connsiteY93" fmla="*/ 30056 h 110081"/>
              <a:gd name="connsiteX94" fmla="*/ 359238 w 623112"/>
              <a:gd name="connsiteY94" fmla="*/ 54698 h 110081"/>
              <a:gd name="connsiteX95" fmla="*/ 356562 w 623112"/>
              <a:gd name="connsiteY95" fmla="*/ 79465 h 110081"/>
              <a:gd name="connsiteX96" fmla="*/ 349404 w 623112"/>
              <a:gd name="connsiteY96" fmla="*/ 96640 h 110081"/>
              <a:gd name="connsiteX97" fmla="*/ 338324 w 623112"/>
              <a:gd name="connsiteY97" fmla="*/ 106783 h 110081"/>
              <a:gd name="connsiteX98" fmla="*/ 324255 w 623112"/>
              <a:gd name="connsiteY98" fmla="*/ 110082 h 110081"/>
              <a:gd name="connsiteX99" fmla="*/ 324131 w 623112"/>
              <a:gd name="connsiteY99" fmla="*/ 98258 h 110081"/>
              <a:gd name="connsiteX100" fmla="*/ 333094 w 623112"/>
              <a:gd name="connsiteY100" fmla="*/ 96018 h 110081"/>
              <a:gd name="connsiteX101" fmla="*/ 339693 w 623112"/>
              <a:gd name="connsiteY101" fmla="*/ 88738 h 110081"/>
              <a:gd name="connsiteX102" fmla="*/ 343676 w 623112"/>
              <a:gd name="connsiteY102" fmla="*/ 75421 h 110081"/>
              <a:gd name="connsiteX103" fmla="*/ 345170 w 623112"/>
              <a:gd name="connsiteY103" fmla="*/ 55134 h 110081"/>
              <a:gd name="connsiteX104" fmla="*/ 343863 w 623112"/>
              <a:gd name="connsiteY104" fmla="*/ 34972 h 110081"/>
              <a:gd name="connsiteX105" fmla="*/ 339818 w 623112"/>
              <a:gd name="connsiteY105" fmla="*/ 21531 h 110081"/>
              <a:gd name="connsiteX106" fmla="*/ 333219 w 623112"/>
              <a:gd name="connsiteY106" fmla="*/ 14188 h 110081"/>
              <a:gd name="connsiteX107" fmla="*/ 324255 w 623112"/>
              <a:gd name="connsiteY107" fmla="*/ 11947 h 110081"/>
              <a:gd name="connsiteX108" fmla="*/ 315167 w 623112"/>
              <a:gd name="connsiteY108" fmla="*/ 14188 h 110081"/>
              <a:gd name="connsiteX109" fmla="*/ 308444 w 623112"/>
              <a:gd name="connsiteY109" fmla="*/ 21531 h 110081"/>
              <a:gd name="connsiteX110" fmla="*/ 304274 w 623112"/>
              <a:gd name="connsiteY110" fmla="*/ 34972 h 110081"/>
              <a:gd name="connsiteX111" fmla="*/ 302904 w 623112"/>
              <a:gd name="connsiteY111" fmla="*/ 55134 h 110081"/>
              <a:gd name="connsiteX112" fmla="*/ 304274 w 623112"/>
              <a:gd name="connsiteY112" fmla="*/ 75421 h 110081"/>
              <a:gd name="connsiteX113" fmla="*/ 308444 w 623112"/>
              <a:gd name="connsiteY113" fmla="*/ 88738 h 110081"/>
              <a:gd name="connsiteX114" fmla="*/ 315043 w 623112"/>
              <a:gd name="connsiteY114" fmla="*/ 96018 h 110081"/>
              <a:gd name="connsiteX115" fmla="*/ 324131 w 623112"/>
              <a:gd name="connsiteY115" fmla="*/ 98258 h 110081"/>
              <a:gd name="connsiteX116" fmla="*/ 406424 w 623112"/>
              <a:gd name="connsiteY116" fmla="*/ 110082 h 110081"/>
              <a:gd name="connsiteX117" fmla="*/ 392231 w 623112"/>
              <a:gd name="connsiteY117" fmla="*/ 106970 h 110081"/>
              <a:gd name="connsiteX118" fmla="*/ 381026 w 623112"/>
              <a:gd name="connsiteY118" fmla="*/ 96952 h 110081"/>
              <a:gd name="connsiteX119" fmla="*/ 373681 w 623112"/>
              <a:gd name="connsiteY119" fmla="*/ 79777 h 110081"/>
              <a:gd name="connsiteX120" fmla="*/ 371004 w 623112"/>
              <a:gd name="connsiteY120" fmla="*/ 54947 h 110081"/>
              <a:gd name="connsiteX121" fmla="*/ 373681 w 623112"/>
              <a:gd name="connsiteY121" fmla="*/ 30305 h 110081"/>
              <a:gd name="connsiteX122" fmla="*/ 381026 w 623112"/>
              <a:gd name="connsiteY122" fmla="*/ 13130 h 110081"/>
              <a:gd name="connsiteX123" fmla="*/ 392231 w 623112"/>
              <a:gd name="connsiteY123" fmla="*/ 3298 h 110081"/>
              <a:gd name="connsiteX124" fmla="*/ 406424 w 623112"/>
              <a:gd name="connsiteY124" fmla="*/ 186 h 110081"/>
              <a:gd name="connsiteX125" fmla="*/ 420492 w 623112"/>
              <a:gd name="connsiteY125" fmla="*/ 3298 h 110081"/>
              <a:gd name="connsiteX126" fmla="*/ 431510 w 623112"/>
              <a:gd name="connsiteY126" fmla="*/ 13130 h 110081"/>
              <a:gd name="connsiteX127" fmla="*/ 438668 w 623112"/>
              <a:gd name="connsiteY127" fmla="*/ 30056 h 110081"/>
              <a:gd name="connsiteX128" fmla="*/ 441408 w 623112"/>
              <a:gd name="connsiteY128" fmla="*/ 54698 h 110081"/>
              <a:gd name="connsiteX129" fmla="*/ 438668 w 623112"/>
              <a:gd name="connsiteY129" fmla="*/ 79465 h 110081"/>
              <a:gd name="connsiteX130" fmla="*/ 431510 w 623112"/>
              <a:gd name="connsiteY130" fmla="*/ 96640 h 110081"/>
              <a:gd name="connsiteX131" fmla="*/ 420492 w 623112"/>
              <a:gd name="connsiteY131" fmla="*/ 106783 h 110081"/>
              <a:gd name="connsiteX132" fmla="*/ 406424 w 623112"/>
              <a:gd name="connsiteY132" fmla="*/ 110082 h 110081"/>
              <a:gd name="connsiteX133" fmla="*/ 406299 w 623112"/>
              <a:gd name="connsiteY133" fmla="*/ 98258 h 110081"/>
              <a:gd name="connsiteX134" fmla="*/ 415263 w 623112"/>
              <a:gd name="connsiteY134" fmla="*/ 96018 h 110081"/>
              <a:gd name="connsiteX135" fmla="*/ 421799 w 623112"/>
              <a:gd name="connsiteY135" fmla="*/ 88738 h 110081"/>
              <a:gd name="connsiteX136" fmla="*/ 425846 w 623112"/>
              <a:gd name="connsiteY136" fmla="*/ 75421 h 110081"/>
              <a:gd name="connsiteX137" fmla="*/ 427340 w 623112"/>
              <a:gd name="connsiteY137" fmla="*/ 55134 h 110081"/>
              <a:gd name="connsiteX138" fmla="*/ 425969 w 623112"/>
              <a:gd name="connsiteY138" fmla="*/ 34972 h 110081"/>
              <a:gd name="connsiteX139" fmla="*/ 421986 w 623112"/>
              <a:gd name="connsiteY139" fmla="*/ 21531 h 110081"/>
              <a:gd name="connsiteX140" fmla="*/ 415387 w 623112"/>
              <a:gd name="connsiteY140" fmla="*/ 14188 h 110081"/>
              <a:gd name="connsiteX141" fmla="*/ 406424 w 623112"/>
              <a:gd name="connsiteY141" fmla="*/ 11947 h 110081"/>
              <a:gd name="connsiteX142" fmla="*/ 397336 w 623112"/>
              <a:gd name="connsiteY142" fmla="*/ 14188 h 110081"/>
              <a:gd name="connsiteX143" fmla="*/ 390612 w 623112"/>
              <a:gd name="connsiteY143" fmla="*/ 21531 h 110081"/>
              <a:gd name="connsiteX144" fmla="*/ 386380 w 623112"/>
              <a:gd name="connsiteY144" fmla="*/ 34972 h 110081"/>
              <a:gd name="connsiteX145" fmla="*/ 385073 w 623112"/>
              <a:gd name="connsiteY145" fmla="*/ 55134 h 110081"/>
              <a:gd name="connsiteX146" fmla="*/ 386380 w 623112"/>
              <a:gd name="connsiteY146" fmla="*/ 75421 h 110081"/>
              <a:gd name="connsiteX147" fmla="*/ 390612 w 623112"/>
              <a:gd name="connsiteY147" fmla="*/ 88738 h 110081"/>
              <a:gd name="connsiteX148" fmla="*/ 397149 w 623112"/>
              <a:gd name="connsiteY148" fmla="*/ 96018 h 110081"/>
              <a:gd name="connsiteX149" fmla="*/ 406299 w 623112"/>
              <a:gd name="connsiteY149" fmla="*/ 98258 h 110081"/>
              <a:gd name="connsiteX150" fmla="*/ 459709 w 623112"/>
              <a:gd name="connsiteY150" fmla="*/ 1493 h 110081"/>
              <a:gd name="connsiteX151" fmla="*/ 495999 w 623112"/>
              <a:gd name="connsiteY151" fmla="*/ 1493 h 110081"/>
              <a:gd name="connsiteX152" fmla="*/ 522767 w 623112"/>
              <a:gd name="connsiteY152" fmla="*/ 7467 h 110081"/>
              <a:gd name="connsiteX153" fmla="*/ 532042 w 623112"/>
              <a:gd name="connsiteY153" fmla="*/ 27629 h 110081"/>
              <a:gd name="connsiteX154" fmla="*/ 530361 w 623112"/>
              <a:gd name="connsiteY154" fmla="*/ 37772 h 110081"/>
              <a:gd name="connsiteX155" fmla="*/ 526066 w 623112"/>
              <a:gd name="connsiteY155" fmla="*/ 45116 h 110081"/>
              <a:gd name="connsiteX156" fmla="*/ 519343 w 623112"/>
              <a:gd name="connsiteY156" fmla="*/ 50031 h 110081"/>
              <a:gd name="connsiteX157" fmla="*/ 510691 w 623112"/>
              <a:gd name="connsiteY157" fmla="*/ 53018 h 110081"/>
              <a:gd name="connsiteX158" fmla="*/ 529490 w 623112"/>
              <a:gd name="connsiteY158" fmla="*/ 60361 h 110081"/>
              <a:gd name="connsiteX159" fmla="*/ 535902 w 623112"/>
              <a:gd name="connsiteY159" fmla="*/ 77661 h 110081"/>
              <a:gd name="connsiteX160" fmla="*/ 532789 w 623112"/>
              <a:gd name="connsiteY160" fmla="*/ 92035 h 110081"/>
              <a:gd name="connsiteX161" fmla="*/ 524385 w 623112"/>
              <a:gd name="connsiteY161" fmla="*/ 101556 h 110081"/>
              <a:gd name="connsiteX162" fmla="*/ 511686 w 623112"/>
              <a:gd name="connsiteY162" fmla="*/ 106970 h 110081"/>
              <a:gd name="connsiteX163" fmla="*/ 495751 w 623112"/>
              <a:gd name="connsiteY163" fmla="*/ 108588 h 110081"/>
              <a:gd name="connsiteX164" fmla="*/ 459709 w 623112"/>
              <a:gd name="connsiteY164" fmla="*/ 108588 h 110081"/>
              <a:gd name="connsiteX165" fmla="*/ 459709 w 623112"/>
              <a:gd name="connsiteY165" fmla="*/ 1493 h 110081"/>
              <a:gd name="connsiteX166" fmla="*/ 473777 w 623112"/>
              <a:gd name="connsiteY166" fmla="*/ 14374 h 110081"/>
              <a:gd name="connsiteX167" fmla="*/ 473777 w 623112"/>
              <a:gd name="connsiteY167" fmla="*/ 47231 h 110081"/>
              <a:gd name="connsiteX168" fmla="*/ 495004 w 623112"/>
              <a:gd name="connsiteY168" fmla="*/ 47231 h 110081"/>
              <a:gd name="connsiteX169" fmla="*/ 504216 w 623112"/>
              <a:gd name="connsiteY169" fmla="*/ 46173 h 110081"/>
              <a:gd name="connsiteX170" fmla="*/ 511438 w 623112"/>
              <a:gd name="connsiteY170" fmla="*/ 42751 h 110081"/>
              <a:gd name="connsiteX171" fmla="*/ 516045 w 623112"/>
              <a:gd name="connsiteY171" fmla="*/ 36901 h 110081"/>
              <a:gd name="connsiteX172" fmla="*/ 517849 w 623112"/>
              <a:gd name="connsiteY172" fmla="*/ 28376 h 110081"/>
              <a:gd name="connsiteX173" fmla="*/ 512185 w 623112"/>
              <a:gd name="connsiteY173" fmla="*/ 17361 h 110081"/>
              <a:gd name="connsiteX174" fmla="*/ 495999 w 623112"/>
              <a:gd name="connsiteY174" fmla="*/ 14374 h 110081"/>
              <a:gd name="connsiteX175" fmla="*/ 473777 w 623112"/>
              <a:gd name="connsiteY175" fmla="*/ 14374 h 110081"/>
              <a:gd name="connsiteX176" fmla="*/ 473777 w 623112"/>
              <a:gd name="connsiteY176" fmla="*/ 59926 h 110081"/>
              <a:gd name="connsiteX177" fmla="*/ 473777 w 623112"/>
              <a:gd name="connsiteY177" fmla="*/ 95893 h 110081"/>
              <a:gd name="connsiteX178" fmla="*/ 495751 w 623112"/>
              <a:gd name="connsiteY178" fmla="*/ 95893 h 110081"/>
              <a:gd name="connsiteX179" fmla="*/ 506022 w 623112"/>
              <a:gd name="connsiteY179" fmla="*/ 95022 h 110081"/>
              <a:gd name="connsiteX180" fmla="*/ 513928 w 623112"/>
              <a:gd name="connsiteY180" fmla="*/ 92035 h 110081"/>
              <a:gd name="connsiteX181" fmla="*/ 519157 w 623112"/>
              <a:gd name="connsiteY181" fmla="*/ 86497 h 110081"/>
              <a:gd name="connsiteX182" fmla="*/ 521148 w 623112"/>
              <a:gd name="connsiteY182" fmla="*/ 77972 h 110081"/>
              <a:gd name="connsiteX183" fmla="*/ 514551 w 623112"/>
              <a:gd name="connsiteY183" fmla="*/ 63908 h 110081"/>
              <a:gd name="connsiteX184" fmla="*/ 494071 w 623112"/>
              <a:gd name="connsiteY184" fmla="*/ 59926 h 110081"/>
              <a:gd name="connsiteX185" fmla="*/ 473777 w 623112"/>
              <a:gd name="connsiteY185" fmla="*/ 59926 h 110081"/>
              <a:gd name="connsiteX186" fmla="*/ 556008 w 623112"/>
              <a:gd name="connsiteY186" fmla="*/ 1493 h 110081"/>
              <a:gd name="connsiteX187" fmla="*/ 622365 w 623112"/>
              <a:gd name="connsiteY187" fmla="*/ 1493 h 110081"/>
              <a:gd name="connsiteX188" fmla="*/ 622365 w 623112"/>
              <a:gd name="connsiteY188" fmla="*/ 14374 h 110081"/>
              <a:gd name="connsiteX189" fmla="*/ 570076 w 623112"/>
              <a:gd name="connsiteY189" fmla="*/ 14374 h 110081"/>
              <a:gd name="connsiteX190" fmla="*/ 570076 w 623112"/>
              <a:gd name="connsiteY190" fmla="*/ 46734 h 110081"/>
              <a:gd name="connsiteX191" fmla="*/ 614459 w 623112"/>
              <a:gd name="connsiteY191" fmla="*/ 46734 h 110081"/>
              <a:gd name="connsiteX192" fmla="*/ 614459 w 623112"/>
              <a:gd name="connsiteY192" fmla="*/ 59428 h 110081"/>
              <a:gd name="connsiteX193" fmla="*/ 570076 w 623112"/>
              <a:gd name="connsiteY193" fmla="*/ 59428 h 110081"/>
              <a:gd name="connsiteX194" fmla="*/ 570076 w 623112"/>
              <a:gd name="connsiteY194" fmla="*/ 95893 h 110081"/>
              <a:gd name="connsiteX195" fmla="*/ 623113 w 623112"/>
              <a:gd name="connsiteY195" fmla="*/ 95893 h 110081"/>
              <a:gd name="connsiteX196" fmla="*/ 623113 w 623112"/>
              <a:gd name="connsiteY196" fmla="*/ 108588 h 110081"/>
              <a:gd name="connsiteX197" fmla="*/ 556008 w 623112"/>
              <a:gd name="connsiteY197" fmla="*/ 108588 h 110081"/>
              <a:gd name="connsiteX198" fmla="*/ 556008 w 623112"/>
              <a:gd name="connsiteY198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623112" h="110081">
                <a:moveTo>
                  <a:pt x="50796" y="77661"/>
                </a:moveTo>
                <a:lnTo>
                  <a:pt x="28386" y="77661"/>
                </a:lnTo>
                <a:lnTo>
                  <a:pt x="22099" y="108588"/>
                </a:ln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close/>
                <a:moveTo>
                  <a:pt x="53036" y="67206"/>
                </a:move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lnTo>
                  <a:pt x="53036" y="67206"/>
                </a:lnTo>
                <a:close/>
                <a:moveTo>
                  <a:pt x="170873" y="108588"/>
                </a:moveTo>
                <a:lnTo>
                  <a:pt x="102586" y="108588"/>
                </a:lnTo>
                <a:lnTo>
                  <a:pt x="102586" y="94400"/>
                </a:lnTo>
                <a:cubicBezTo>
                  <a:pt x="111674" y="87120"/>
                  <a:pt x="119455" y="80648"/>
                  <a:pt x="126054" y="74985"/>
                </a:cubicBezTo>
                <a:cubicBezTo>
                  <a:pt x="132715" y="69322"/>
                  <a:pt x="138192" y="64095"/>
                  <a:pt x="142489" y="59303"/>
                </a:cubicBezTo>
                <a:cubicBezTo>
                  <a:pt x="146784" y="54512"/>
                  <a:pt x="149958" y="49969"/>
                  <a:pt x="152074" y="45738"/>
                </a:cubicBezTo>
                <a:cubicBezTo>
                  <a:pt x="154128" y="41319"/>
                  <a:pt x="155186" y="36776"/>
                  <a:pt x="155186" y="32109"/>
                </a:cubicBezTo>
                <a:cubicBezTo>
                  <a:pt x="155186" y="26260"/>
                  <a:pt x="153382" y="21531"/>
                  <a:pt x="149834" y="17922"/>
                </a:cubicBezTo>
                <a:cubicBezTo>
                  <a:pt x="146347" y="14250"/>
                  <a:pt x="141180" y="12383"/>
                  <a:pt x="134396" y="12383"/>
                </a:cubicBezTo>
                <a:cubicBezTo>
                  <a:pt x="128730" y="12383"/>
                  <a:pt x="123440" y="13815"/>
                  <a:pt x="118585" y="16615"/>
                </a:cubicBezTo>
                <a:cubicBezTo>
                  <a:pt x="113729" y="19353"/>
                  <a:pt x="109310" y="22900"/>
                  <a:pt x="105449" y="27194"/>
                </a:cubicBezTo>
                <a:lnTo>
                  <a:pt x="105449" y="12134"/>
                </a:lnTo>
                <a:cubicBezTo>
                  <a:pt x="109247" y="8401"/>
                  <a:pt x="113480" y="5476"/>
                  <a:pt x="118273" y="3298"/>
                </a:cubicBezTo>
                <a:cubicBezTo>
                  <a:pt x="123066" y="1120"/>
                  <a:pt x="128607" y="0"/>
                  <a:pt x="134893" y="0"/>
                </a:cubicBezTo>
                <a:cubicBezTo>
                  <a:pt x="140434" y="0"/>
                  <a:pt x="145352" y="747"/>
                  <a:pt x="149647" y="2240"/>
                </a:cubicBezTo>
                <a:cubicBezTo>
                  <a:pt x="154066" y="3734"/>
                  <a:pt x="157677" y="5849"/>
                  <a:pt x="160540" y="8525"/>
                </a:cubicBezTo>
                <a:cubicBezTo>
                  <a:pt x="163528" y="11201"/>
                  <a:pt x="165770" y="14437"/>
                  <a:pt x="167264" y="18233"/>
                </a:cubicBezTo>
                <a:cubicBezTo>
                  <a:pt x="168882" y="22028"/>
                  <a:pt x="169691" y="26198"/>
                  <a:pt x="169691" y="30803"/>
                </a:cubicBezTo>
                <a:cubicBezTo>
                  <a:pt x="169691" y="36528"/>
                  <a:pt x="168508" y="42004"/>
                  <a:pt x="166267" y="47044"/>
                </a:cubicBezTo>
                <a:cubicBezTo>
                  <a:pt x="164027" y="52147"/>
                  <a:pt x="160790" y="57188"/>
                  <a:pt x="156370" y="62291"/>
                </a:cubicBezTo>
                <a:cubicBezTo>
                  <a:pt x="152011" y="67393"/>
                  <a:pt x="146597" y="72620"/>
                  <a:pt x="140122" y="78096"/>
                </a:cubicBezTo>
                <a:cubicBezTo>
                  <a:pt x="133711" y="83510"/>
                  <a:pt x="126428" y="89360"/>
                  <a:pt x="118148" y="95769"/>
                </a:cubicBezTo>
                <a:lnTo>
                  <a:pt x="170873" y="95769"/>
                </a:lnTo>
                <a:lnTo>
                  <a:pt x="170873" y="108588"/>
                </a:lnTo>
                <a:close/>
                <a:moveTo>
                  <a:pt x="189984" y="1493"/>
                </a:moveTo>
                <a:lnTo>
                  <a:pt x="225964" y="1493"/>
                </a:lnTo>
                <a:cubicBezTo>
                  <a:pt x="233122" y="1493"/>
                  <a:pt x="239783" y="2365"/>
                  <a:pt x="246008" y="4044"/>
                </a:cubicBezTo>
                <a:cubicBezTo>
                  <a:pt x="252171" y="5725"/>
                  <a:pt x="257525" y="8525"/>
                  <a:pt x="262131" y="12383"/>
                </a:cubicBezTo>
                <a:cubicBezTo>
                  <a:pt x="266675" y="16304"/>
                  <a:pt x="270284" y="21406"/>
                  <a:pt x="272900" y="27816"/>
                </a:cubicBezTo>
                <a:cubicBezTo>
                  <a:pt x="275452" y="34163"/>
                  <a:pt x="276759" y="42004"/>
                  <a:pt x="276759" y="51401"/>
                </a:cubicBezTo>
                <a:cubicBezTo>
                  <a:pt x="276759" y="60859"/>
                  <a:pt x="275389" y="69136"/>
                  <a:pt x="272713" y="76354"/>
                </a:cubicBezTo>
                <a:cubicBezTo>
                  <a:pt x="270161" y="83385"/>
                  <a:pt x="266488" y="89298"/>
                  <a:pt x="261819" y="94089"/>
                </a:cubicBezTo>
                <a:cubicBezTo>
                  <a:pt x="257213" y="98880"/>
                  <a:pt x="251734" y="102490"/>
                  <a:pt x="245262" y="104979"/>
                </a:cubicBezTo>
                <a:cubicBezTo>
                  <a:pt x="238850" y="107406"/>
                  <a:pt x="231877" y="108588"/>
                  <a:pt x="224345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03990" y="14374"/>
                </a:moveTo>
                <a:lnTo>
                  <a:pt x="203990" y="95893"/>
                </a:lnTo>
                <a:lnTo>
                  <a:pt x="224345" y="95893"/>
                </a:lnTo>
                <a:cubicBezTo>
                  <a:pt x="229823" y="95893"/>
                  <a:pt x="234803" y="95022"/>
                  <a:pt x="239409" y="93343"/>
                </a:cubicBezTo>
                <a:cubicBezTo>
                  <a:pt x="244016" y="91662"/>
                  <a:pt x="247938" y="89048"/>
                  <a:pt x="251237" y="85564"/>
                </a:cubicBezTo>
                <a:cubicBezTo>
                  <a:pt x="254474" y="82017"/>
                  <a:pt x="257026" y="77474"/>
                  <a:pt x="258832" y="71998"/>
                </a:cubicBezTo>
                <a:cubicBezTo>
                  <a:pt x="260637" y="66522"/>
                  <a:pt x="261508" y="59988"/>
                  <a:pt x="261508" y="52458"/>
                </a:cubicBezTo>
                <a:cubicBezTo>
                  <a:pt x="261508" y="44991"/>
                  <a:pt x="260637" y="38768"/>
                  <a:pt x="258832" y="33914"/>
                </a:cubicBezTo>
                <a:cubicBezTo>
                  <a:pt x="257026" y="28936"/>
                  <a:pt x="254537" y="25015"/>
                  <a:pt x="251362" y="22091"/>
                </a:cubicBezTo>
                <a:cubicBezTo>
                  <a:pt x="248250" y="19228"/>
                  <a:pt x="244514" y="17237"/>
                  <a:pt x="240157" y="16117"/>
                </a:cubicBezTo>
                <a:cubicBezTo>
                  <a:pt x="235800" y="14934"/>
                  <a:pt x="231069" y="14374"/>
                  <a:pt x="225964" y="14374"/>
                </a:cubicBezTo>
                <a:lnTo>
                  <a:pt x="203990" y="14374"/>
                </a:lnTo>
                <a:close/>
                <a:moveTo>
                  <a:pt x="324255" y="110082"/>
                </a:moveTo>
                <a:cubicBezTo>
                  <a:pt x="319213" y="110082"/>
                  <a:pt x="314482" y="109024"/>
                  <a:pt x="310062" y="106970"/>
                </a:cubicBezTo>
                <a:cubicBezTo>
                  <a:pt x="305830" y="104730"/>
                  <a:pt x="302094" y="101432"/>
                  <a:pt x="298857" y="96952"/>
                </a:cubicBezTo>
                <a:cubicBezTo>
                  <a:pt x="295807" y="92347"/>
                  <a:pt x="293380" y="86621"/>
                  <a:pt x="291575" y="79777"/>
                </a:cubicBezTo>
                <a:cubicBezTo>
                  <a:pt x="289769" y="72807"/>
                  <a:pt x="288898" y="64531"/>
                  <a:pt x="288898" y="54947"/>
                </a:cubicBezTo>
                <a:cubicBezTo>
                  <a:pt x="288898" y="45426"/>
                  <a:pt x="289769" y="37212"/>
                  <a:pt x="291575" y="30305"/>
                </a:cubicBezTo>
                <a:cubicBezTo>
                  <a:pt x="293380" y="23336"/>
                  <a:pt x="295807" y="17610"/>
                  <a:pt x="298857" y="13130"/>
                </a:cubicBezTo>
                <a:cubicBezTo>
                  <a:pt x="302094" y="8649"/>
                  <a:pt x="305830" y="5414"/>
                  <a:pt x="310062" y="3298"/>
                </a:cubicBezTo>
                <a:cubicBezTo>
                  <a:pt x="314482" y="1182"/>
                  <a:pt x="319213" y="186"/>
                  <a:pt x="324255" y="186"/>
                </a:cubicBezTo>
                <a:cubicBezTo>
                  <a:pt x="329360" y="186"/>
                  <a:pt x="334029" y="1182"/>
                  <a:pt x="338324" y="3298"/>
                </a:cubicBezTo>
                <a:cubicBezTo>
                  <a:pt x="342618" y="5414"/>
                  <a:pt x="346292" y="8649"/>
                  <a:pt x="349404" y="13130"/>
                </a:cubicBezTo>
                <a:cubicBezTo>
                  <a:pt x="352454" y="17548"/>
                  <a:pt x="354881" y="23149"/>
                  <a:pt x="356562" y="30056"/>
                </a:cubicBezTo>
                <a:cubicBezTo>
                  <a:pt x="358368" y="36901"/>
                  <a:pt x="359238" y="45116"/>
                  <a:pt x="359238" y="54698"/>
                </a:cubicBezTo>
                <a:cubicBezTo>
                  <a:pt x="359238" y="64219"/>
                  <a:pt x="358368" y="72496"/>
                  <a:pt x="356562" y="79465"/>
                </a:cubicBezTo>
                <a:cubicBezTo>
                  <a:pt x="354881" y="86311"/>
                  <a:pt x="352454" y="92035"/>
                  <a:pt x="349404" y="96640"/>
                </a:cubicBezTo>
                <a:cubicBezTo>
                  <a:pt x="346292" y="101245"/>
                  <a:pt x="342618" y="104606"/>
                  <a:pt x="338324" y="106783"/>
                </a:cubicBezTo>
                <a:cubicBezTo>
                  <a:pt x="334029" y="108962"/>
                  <a:pt x="329360" y="110082"/>
                  <a:pt x="324255" y="110082"/>
                </a:cubicBezTo>
                <a:close/>
                <a:moveTo>
                  <a:pt x="324131" y="98258"/>
                </a:moveTo>
                <a:cubicBezTo>
                  <a:pt x="327492" y="98258"/>
                  <a:pt x="330480" y="97511"/>
                  <a:pt x="333094" y="96018"/>
                </a:cubicBezTo>
                <a:cubicBezTo>
                  <a:pt x="335708" y="94525"/>
                  <a:pt x="337887" y="92098"/>
                  <a:pt x="339693" y="88738"/>
                </a:cubicBezTo>
                <a:cubicBezTo>
                  <a:pt x="341436" y="85315"/>
                  <a:pt x="342805" y="80897"/>
                  <a:pt x="343676" y="75421"/>
                </a:cubicBezTo>
                <a:cubicBezTo>
                  <a:pt x="344673" y="69882"/>
                  <a:pt x="345170" y="63099"/>
                  <a:pt x="345170" y="55134"/>
                </a:cubicBezTo>
                <a:cubicBezTo>
                  <a:pt x="345170" y="47169"/>
                  <a:pt x="344735" y="40448"/>
                  <a:pt x="343863" y="34972"/>
                </a:cubicBezTo>
                <a:cubicBezTo>
                  <a:pt x="342930" y="29372"/>
                  <a:pt x="341623" y="24891"/>
                  <a:pt x="339818" y="21531"/>
                </a:cubicBezTo>
                <a:cubicBezTo>
                  <a:pt x="338012" y="18108"/>
                  <a:pt x="335833" y="15681"/>
                  <a:pt x="333219" y="14188"/>
                </a:cubicBezTo>
                <a:cubicBezTo>
                  <a:pt x="330667" y="12694"/>
                  <a:pt x="327679" y="11947"/>
                  <a:pt x="324255" y="11947"/>
                </a:cubicBezTo>
                <a:cubicBezTo>
                  <a:pt x="320894" y="11947"/>
                  <a:pt x="317844" y="12694"/>
                  <a:pt x="315167" y="14188"/>
                </a:cubicBezTo>
                <a:cubicBezTo>
                  <a:pt x="312552" y="15681"/>
                  <a:pt x="310312" y="18108"/>
                  <a:pt x="308444" y="21531"/>
                </a:cubicBezTo>
                <a:cubicBezTo>
                  <a:pt x="306638" y="24891"/>
                  <a:pt x="305269" y="29372"/>
                  <a:pt x="304274" y="34972"/>
                </a:cubicBezTo>
                <a:cubicBezTo>
                  <a:pt x="303339" y="40448"/>
                  <a:pt x="302904" y="47169"/>
                  <a:pt x="302904" y="55134"/>
                </a:cubicBezTo>
                <a:cubicBezTo>
                  <a:pt x="302904" y="63099"/>
                  <a:pt x="303339" y="69882"/>
                  <a:pt x="304274" y="75421"/>
                </a:cubicBezTo>
                <a:cubicBezTo>
                  <a:pt x="305269" y="80897"/>
                  <a:pt x="306638" y="85315"/>
                  <a:pt x="308444" y="88738"/>
                </a:cubicBezTo>
                <a:cubicBezTo>
                  <a:pt x="310249" y="92098"/>
                  <a:pt x="312427" y="94525"/>
                  <a:pt x="315043" y="96018"/>
                </a:cubicBezTo>
                <a:cubicBezTo>
                  <a:pt x="317719" y="97511"/>
                  <a:pt x="320769" y="98258"/>
                  <a:pt x="324131" y="98258"/>
                </a:cubicBezTo>
                <a:close/>
                <a:moveTo>
                  <a:pt x="406424" y="110082"/>
                </a:moveTo>
                <a:cubicBezTo>
                  <a:pt x="401319" y="110082"/>
                  <a:pt x="396588" y="109024"/>
                  <a:pt x="392231" y="106970"/>
                </a:cubicBezTo>
                <a:cubicBezTo>
                  <a:pt x="387936" y="104730"/>
                  <a:pt x="384200" y="101432"/>
                  <a:pt x="381026" y="96952"/>
                </a:cubicBezTo>
                <a:cubicBezTo>
                  <a:pt x="377913" y="92347"/>
                  <a:pt x="375486" y="86621"/>
                  <a:pt x="373681" y="79777"/>
                </a:cubicBezTo>
                <a:cubicBezTo>
                  <a:pt x="371937" y="72807"/>
                  <a:pt x="371004" y="64531"/>
                  <a:pt x="371004" y="54947"/>
                </a:cubicBezTo>
                <a:cubicBezTo>
                  <a:pt x="371004" y="45426"/>
                  <a:pt x="371937" y="37212"/>
                  <a:pt x="373681" y="30305"/>
                </a:cubicBezTo>
                <a:cubicBezTo>
                  <a:pt x="375486" y="23336"/>
                  <a:pt x="377913" y="17610"/>
                  <a:pt x="381026" y="13130"/>
                </a:cubicBezTo>
                <a:cubicBezTo>
                  <a:pt x="384200" y="8649"/>
                  <a:pt x="387936" y="5414"/>
                  <a:pt x="392231" y="3298"/>
                </a:cubicBezTo>
                <a:cubicBezTo>
                  <a:pt x="396588" y="1182"/>
                  <a:pt x="401319" y="186"/>
                  <a:pt x="406424" y="186"/>
                </a:cubicBezTo>
                <a:cubicBezTo>
                  <a:pt x="411528" y="186"/>
                  <a:pt x="416197" y="1182"/>
                  <a:pt x="420492" y="3298"/>
                </a:cubicBezTo>
                <a:cubicBezTo>
                  <a:pt x="424724" y="5414"/>
                  <a:pt x="428460" y="8649"/>
                  <a:pt x="431510" y="13130"/>
                </a:cubicBezTo>
                <a:cubicBezTo>
                  <a:pt x="434623" y="17548"/>
                  <a:pt x="436987" y="23149"/>
                  <a:pt x="438668" y="30056"/>
                </a:cubicBezTo>
                <a:cubicBezTo>
                  <a:pt x="440474" y="36901"/>
                  <a:pt x="441408" y="45116"/>
                  <a:pt x="441408" y="54698"/>
                </a:cubicBezTo>
                <a:cubicBezTo>
                  <a:pt x="441408" y="64219"/>
                  <a:pt x="440474" y="72496"/>
                  <a:pt x="438668" y="79465"/>
                </a:cubicBezTo>
                <a:cubicBezTo>
                  <a:pt x="436987" y="86311"/>
                  <a:pt x="434623" y="92035"/>
                  <a:pt x="431510" y="96640"/>
                </a:cubicBezTo>
                <a:cubicBezTo>
                  <a:pt x="428460" y="101245"/>
                  <a:pt x="424724" y="104606"/>
                  <a:pt x="420492" y="106783"/>
                </a:cubicBezTo>
                <a:cubicBezTo>
                  <a:pt x="416197" y="108962"/>
                  <a:pt x="411528" y="110082"/>
                  <a:pt x="406424" y="110082"/>
                </a:cubicBezTo>
                <a:close/>
                <a:moveTo>
                  <a:pt x="406299" y="98258"/>
                </a:moveTo>
                <a:cubicBezTo>
                  <a:pt x="409661" y="98258"/>
                  <a:pt x="412649" y="97511"/>
                  <a:pt x="415263" y="96018"/>
                </a:cubicBezTo>
                <a:cubicBezTo>
                  <a:pt x="417816" y="94525"/>
                  <a:pt x="419993" y="92098"/>
                  <a:pt x="421799" y="88738"/>
                </a:cubicBezTo>
                <a:cubicBezTo>
                  <a:pt x="423604" y="85315"/>
                  <a:pt x="424974" y="80897"/>
                  <a:pt x="425846" y="75421"/>
                </a:cubicBezTo>
                <a:cubicBezTo>
                  <a:pt x="426841" y="69882"/>
                  <a:pt x="427340" y="63099"/>
                  <a:pt x="427340" y="55134"/>
                </a:cubicBezTo>
                <a:cubicBezTo>
                  <a:pt x="427340" y="47169"/>
                  <a:pt x="426904" y="40448"/>
                  <a:pt x="425969" y="34972"/>
                </a:cubicBezTo>
                <a:cubicBezTo>
                  <a:pt x="425098" y="29372"/>
                  <a:pt x="423729" y="24891"/>
                  <a:pt x="421986" y="21531"/>
                </a:cubicBezTo>
                <a:cubicBezTo>
                  <a:pt x="420180" y="18108"/>
                  <a:pt x="418003" y="15681"/>
                  <a:pt x="415387" y="14188"/>
                </a:cubicBezTo>
                <a:cubicBezTo>
                  <a:pt x="412773" y="12694"/>
                  <a:pt x="409785" y="11947"/>
                  <a:pt x="406424" y="11947"/>
                </a:cubicBezTo>
                <a:cubicBezTo>
                  <a:pt x="403062" y="11947"/>
                  <a:pt x="400012" y="12694"/>
                  <a:pt x="397336" y="14188"/>
                </a:cubicBezTo>
                <a:cubicBezTo>
                  <a:pt x="394722" y="15681"/>
                  <a:pt x="392480" y="18108"/>
                  <a:pt x="390612" y="21531"/>
                </a:cubicBezTo>
                <a:cubicBezTo>
                  <a:pt x="388807" y="24891"/>
                  <a:pt x="387375" y="29372"/>
                  <a:pt x="386380" y="34972"/>
                </a:cubicBezTo>
                <a:cubicBezTo>
                  <a:pt x="385507" y="40448"/>
                  <a:pt x="385073" y="47169"/>
                  <a:pt x="385073" y="55134"/>
                </a:cubicBezTo>
                <a:cubicBezTo>
                  <a:pt x="385073" y="63099"/>
                  <a:pt x="385507" y="69882"/>
                  <a:pt x="386380" y="75421"/>
                </a:cubicBezTo>
                <a:cubicBezTo>
                  <a:pt x="387375" y="80897"/>
                  <a:pt x="388807" y="85315"/>
                  <a:pt x="390612" y="88738"/>
                </a:cubicBezTo>
                <a:cubicBezTo>
                  <a:pt x="392355" y="92098"/>
                  <a:pt x="394597" y="94525"/>
                  <a:pt x="397149" y="96018"/>
                </a:cubicBezTo>
                <a:cubicBezTo>
                  <a:pt x="399825" y="97511"/>
                  <a:pt x="402875" y="98258"/>
                  <a:pt x="406299" y="98258"/>
                </a:cubicBezTo>
                <a:close/>
                <a:moveTo>
                  <a:pt x="459709" y="1493"/>
                </a:moveTo>
                <a:lnTo>
                  <a:pt x="495999" y="1493"/>
                </a:lnTo>
                <a:cubicBezTo>
                  <a:pt x="507765" y="1493"/>
                  <a:pt x="516666" y="3484"/>
                  <a:pt x="522767" y="7467"/>
                </a:cubicBezTo>
                <a:cubicBezTo>
                  <a:pt x="528929" y="11450"/>
                  <a:pt x="532042" y="18170"/>
                  <a:pt x="532042" y="27629"/>
                </a:cubicBezTo>
                <a:cubicBezTo>
                  <a:pt x="532042" y="31549"/>
                  <a:pt x="531482" y="34910"/>
                  <a:pt x="530361" y="37772"/>
                </a:cubicBezTo>
                <a:cubicBezTo>
                  <a:pt x="529365" y="40572"/>
                  <a:pt x="527934" y="42999"/>
                  <a:pt x="526066" y="45116"/>
                </a:cubicBezTo>
                <a:cubicBezTo>
                  <a:pt x="524260" y="47107"/>
                  <a:pt x="522020" y="48725"/>
                  <a:pt x="519343" y="50031"/>
                </a:cubicBezTo>
                <a:cubicBezTo>
                  <a:pt x="516729" y="51338"/>
                  <a:pt x="513865" y="52334"/>
                  <a:pt x="510691" y="53018"/>
                </a:cubicBezTo>
                <a:cubicBezTo>
                  <a:pt x="519033" y="54014"/>
                  <a:pt x="525320" y="56441"/>
                  <a:pt x="529490" y="60361"/>
                </a:cubicBezTo>
                <a:cubicBezTo>
                  <a:pt x="533785" y="64157"/>
                  <a:pt x="535902" y="69882"/>
                  <a:pt x="535902" y="77661"/>
                </a:cubicBezTo>
                <a:cubicBezTo>
                  <a:pt x="535902" y="83262"/>
                  <a:pt x="534843" y="88053"/>
                  <a:pt x="532789" y="92035"/>
                </a:cubicBezTo>
                <a:cubicBezTo>
                  <a:pt x="530797" y="95893"/>
                  <a:pt x="527996" y="99067"/>
                  <a:pt x="524385" y="101556"/>
                </a:cubicBezTo>
                <a:cubicBezTo>
                  <a:pt x="520836" y="103983"/>
                  <a:pt x="516604" y="105726"/>
                  <a:pt x="511686" y="106970"/>
                </a:cubicBezTo>
                <a:cubicBezTo>
                  <a:pt x="506830" y="108028"/>
                  <a:pt x="501478" y="108588"/>
                  <a:pt x="495751" y="108588"/>
                </a:cubicBezTo>
                <a:lnTo>
                  <a:pt x="459709" y="108588"/>
                </a:lnTo>
                <a:lnTo>
                  <a:pt x="459709" y="1493"/>
                </a:lnTo>
                <a:close/>
                <a:moveTo>
                  <a:pt x="473777" y="14374"/>
                </a:moveTo>
                <a:lnTo>
                  <a:pt x="473777" y="47231"/>
                </a:lnTo>
                <a:lnTo>
                  <a:pt x="495004" y="47231"/>
                </a:lnTo>
                <a:cubicBezTo>
                  <a:pt x="498365" y="47231"/>
                  <a:pt x="501478" y="46857"/>
                  <a:pt x="504216" y="46173"/>
                </a:cubicBezTo>
                <a:cubicBezTo>
                  <a:pt x="507017" y="45364"/>
                  <a:pt x="509446" y="44244"/>
                  <a:pt x="511438" y="42751"/>
                </a:cubicBezTo>
                <a:cubicBezTo>
                  <a:pt x="513429" y="41133"/>
                  <a:pt x="514923" y="39203"/>
                  <a:pt x="516045" y="36901"/>
                </a:cubicBezTo>
                <a:cubicBezTo>
                  <a:pt x="517227" y="34536"/>
                  <a:pt x="517849" y="31674"/>
                  <a:pt x="517849" y="28376"/>
                </a:cubicBezTo>
                <a:cubicBezTo>
                  <a:pt x="517849" y="22900"/>
                  <a:pt x="515920" y="19228"/>
                  <a:pt x="512185" y="17361"/>
                </a:cubicBezTo>
                <a:cubicBezTo>
                  <a:pt x="508387" y="15370"/>
                  <a:pt x="502972" y="14374"/>
                  <a:pt x="495999" y="14374"/>
                </a:cubicBezTo>
                <a:lnTo>
                  <a:pt x="473777" y="14374"/>
                </a:lnTo>
                <a:close/>
                <a:moveTo>
                  <a:pt x="473777" y="59926"/>
                </a:moveTo>
                <a:lnTo>
                  <a:pt x="473777" y="95893"/>
                </a:lnTo>
                <a:lnTo>
                  <a:pt x="495751" y="95893"/>
                </a:lnTo>
                <a:cubicBezTo>
                  <a:pt x="499486" y="95893"/>
                  <a:pt x="502972" y="95583"/>
                  <a:pt x="506022" y="95022"/>
                </a:cubicBezTo>
                <a:cubicBezTo>
                  <a:pt x="509134" y="94400"/>
                  <a:pt x="511748" y="93405"/>
                  <a:pt x="513928" y="92035"/>
                </a:cubicBezTo>
                <a:cubicBezTo>
                  <a:pt x="516230" y="90604"/>
                  <a:pt x="517973" y="88799"/>
                  <a:pt x="519157" y="86497"/>
                </a:cubicBezTo>
                <a:cubicBezTo>
                  <a:pt x="520464" y="84194"/>
                  <a:pt x="521148" y="81332"/>
                  <a:pt x="521148" y="77972"/>
                </a:cubicBezTo>
                <a:cubicBezTo>
                  <a:pt x="521148" y="71189"/>
                  <a:pt x="518908" y="66522"/>
                  <a:pt x="514551" y="63908"/>
                </a:cubicBezTo>
                <a:cubicBezTo>
                  <a:pt x="510254" y="61233"/>
                  <a:pt x="503470" y="59926"/>
                  <a:pt x="494071" y="59926"/>
                </a:cubicBezTo>
                <a:lnTo>
                  <a:pt x="473777" y="59926"/>
                </a:lnTo>
                <a:close/>
                <a:moveTo>
                  <a:pt x="556008" y="1493"/>
                </a:moveTo>
                <a:lnTo>
                  <a:pt x="622365" y="1493"/>
                </a:lnTo>
                <a:lnTo>
                  <a:pt x="622365" y="14374"/>
                </a:lnTo>
                <a:lnTo>
                  <a:pt x="570076" y="14374"/>
                </a:lnTo>
                <a:lnTo>
                  <a:pt x="570076" y="46734"/>
                </a:lnTo>
                <a:lnTo>
                  <a:pt x="614459" y="46734"/>
                </a:lnTo>
                <a:lnTo>
                  <a:pt x="614459" y="59428"/>
                </a:lnTo>
                <a:lnTo>
                  <a:pt x="570076" y="59428"/>
                </a:lnTo>
                <a:lnTo>
                  <a:pt x="570076" y="95893"/>
                </a:lnTo>
                <a:lnTo>
                  <a:pt x="623113" y="95893"/>
                </a:lnTo>
                <a:lnTo>
                  <a:pt x="623113" y="108588"/>
                </a:lnTo>
                <a:lnTo>
                  <a:pt x="556008" y="108588"/>
                </a:lnTo>
                <a:lnTo>
                  <a:pt x="556008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4" name="Полилиния 933">
            <a:extLst>
              <a:ext uri="{FF2B5EF4-FFF2-40B4-BE49-F238E27FC236}">
                <a16:creationId xmlns:a16="http://schemas.microsoft.com/office/drawing/2014/main" id="{B25BB66F-7670-B41C-A069-8F57A7359674}"/>
              </a:ext>
            </a:extLst>
          </p:cNvPr>
          <p:cNvSpPr/>
          <p:nvPr userDrawn="1"/>
        </p:nvSpPr>
        <p:spPr>
          <a:xfrm>
            <a:off x="6844904" y="6692525"/>
            <a:ext cx="2557159" cy="726227"/>
          </a:xfrm>
          <a:custGeom>
            <a:avLst/>
            <a:gdLst>
              <a:gd name="connsiteX0" fmla="*/ 2232 w 2191162"/>
              <a:gd name="connsiteY0" fmla="*/ 1422 h 622284"/>
              <a:gd name="connsiteX1" fmla="*/ 2193395 w 2191162"/>
              <a:gd name="connsiteY1" fmla="*/ 1422 h 622284"/>
              <a:gd name="connsiteX2" fmla="*/ 2193395 w 2191162"/>
              <a:gd name="connsiteY2" fmla="*/ 623706 h 622284"/>
              <a:gd name="connsiteX3" fmla="*/ 2232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422"/>
                </a:moveTo>
                <a:lnTo>
                  <a:pt x="2193395" y="1422"/>
                </a:lnTo>
                <a:lnTo>
                  <a:pt x="2193395" y="623706"/>
                </a:lnTo>
                <a:lnTo>
                  <a:pt x="2232" y="623706"/>
                </a:lnTo>
                <a:close/>
              </a:path>
            </a:pathLst>
          </a:custGeom>
          <a:solidFill>
            <a:srgbClr val="3700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5" name="Полилиния 934">
            <a:extLst>
              <a:ext uri="{FF2B5EF4-FFF2-40B4-BE49-F238E27FC236}">
                <a16:creationId xmlns:a16="http://schemas.microsoft.com/office/drawing/2014/main" id="{65503C1A-4000-9822-1113-57C65D94C04B}"/>
              </a:ext>
            </a:extLst>
          </p:cNvPr>
          <p:cNvSpPr/>
          <p:nvPr userDrawn="1"/>
        </p:nvSpPr>
        <p:spPr>
          <a:xfrm>
            <a:off x="6968113" y="6994273"/>
            <a:ext cx="682804" cy="128468"/>
          </a:xfrm>
          <a:custGeom>
            <a:avLst/>
            <a:gdLst>
              <a:gd name="connsiteX0" fmla="*/ 22099 w 585077"/>
              <a:gd name="connsiteY0" fmla="*/ 108588 h 110081"/>
              <a:gd name="connsiteX1" fmla="*/ 10147 w 585077"/>
              <a:gd name="connsiteY1" fmla="*/ 108588 h 110081"/>
              <a:gd name="connsiteX2" fmla="*/ 16435 w 585077"/>
              <a:gd name="connsiteY2" fmla="*/ 77661 h 110081"/>
              <a:gd name="connsiteX3" fmla="*/ 0 w 585077"/>
              <a:gd name="connsiteY3" fmla="*/ 77661 h 110081"/>
              <a:gd name="connsiteX4" fmla="*/ 0 w 585077"/>
              <a:gd name="connsiteY4" fmla="*/ 67206 h 110081"/>
              <a:gd name="connsiteX5" fmla="*/ 18675 w 585077"/>
              <a:gd name="connsiteY5" fmla="*/ 67206 h 110081"/>
              <a:gd name="connsiteX6" fmla="*/ 24216 w 585077"/>
              <a:gd name="connsiteY6" fmla="*/ 40012 h 110081"/>
              <a:gd name="connsiteX7" fmla="*/ 4047 w 585077"/>
              <a:gd name="connsiteY7" fmla="*/ 40012 h 110081"/>
              <a:gd name="connsiteX8" fmla="*/ 4047 w 585077"/>
              <a:gd name="connsiteY8" fmla="*/ 29559 h 110081"/>
              <a:gd name="connsiteX9" fmla="*/ 26269 w 585077"/>
              <a:gd name="connsiteY9" fmla="*/ 29559 h 110081"/>
              <a:gd name="connsiteX10" fmla="*/ 32121 w 585077"/>
              <a:gd name="connsiteY10" fmla="*/ 1493 h 110081"/>
              <a:gd name="connsiteX11" fmla="*/ 44073 w 585077"/>
              <a:gd name="connsiteY11" fmla="*/ 1493 h 110081"/>
              <a:gd name="connsiteX12" fmla="*/ 38222 w 585077"/>
              <a:gd name="connsiteY12" fmla="*/ 29559 h 110081"/>
              <a:gd name="connsiteX13" fmla="*/ 60630 w 585077"/>
              <a:gd name="connsiteY13" fmla="*/ 29559 h 110081"/>
              <a:gd name="connsiteX14" fmla="*/ 66481 w 585077"/>
              <a:gd name="connsiteY14" fmla="*/ 1493 h 110081"/>
              <a:gd name="connsiteX15" fmla="*/ 78434 w 585077"/>
              <a:gd name="connsiteY15" fmla="*/ 1493 h 110081"/>
              <a:gd name="connsiteX16" fmla="*/ 72583 w 585077"/>
              <a:gd name="connsiteY16" fmla="*/ 29559 h 110081"/>
              <a:gd name="connsiteX17" fmla="*/ 89328 w 585077"/>
              <a:gd name="connsiteY17" fmla="*/ 29559 h 110081"/>
              <a:gd name="connsiteX18" fmla="*/ 89328 w 585077"/>
              <a:gd name="connsiteY18" fmla="*/ 40012 h 110081"/>
              <a:gd name="connsiteX19" fmla="*/ 70529 w 585077"/>
              <a:gd name="connsiteY19" fmla="*/ 40012 h 110081"/>
              <a:gd name="connsiteX20" fmla="*/ 64988 w 585077"/>
              <a:gd name="connsiteY20" fmla="*/ 67206 h 110081"/>
              <a:gd name="connsiteX21" fmla="*/ 85281 w 585077"/>
              <a:gd name="connsiteY21" fmla="*/ 67206 h 110081"/>
              <a:gd name="connsiteX22" fmla="*/ 85281 w 585077"/>
              <a:gd name="connsiteY22" fmla="*/ 77661 h 110081"/>
              <a:gd name="connsiteX23" fmla="*/ 62747 w 585077"/>
              <a:gd name="connsiteY23" fmla="*/ 77661 h 110081"/>
              <a:gd name="connsiteX24" fmla="*/ 56460 w 585077"/>
              <a:gd name="connsiteY24" fmla="*/ 108588 h 110081"/>
              <a:gd name="connsiteX25" fmla="*/ 44509 w 585077"/>
              <a:gd name="connsiteY25" fmla="*/ 108588 h 110081"/>
              <a:gd name="connsiteX26" fmla="*/ 50796 w 585077"/>
              <a:gd name="connsiteY26" fmla="*/ 77661 h 110081"/>
              <a:gd name="connsiteX27" fmla="*/ 28386 w 585077"/>
              <a:gd name="connsiteY27" fmla="*/ 77661 h 110081"/>
              <a:gd name="connsiteX28" fmla="*/ 22099 w 585077"/>
              <a:gd name="connsiteY28" fmla="*/ 108588 h 110081"/>
              <a:gd name="connsiteX29" fmla="*/ 30626 w 585077"/>
              <a:gd name="connsiteY29" fmla="*/ 67206 h 110081"/>
              <a:gd name="connsiteX30" fmla="*/ 53036 w 585077"/>
              <a:gd name="connsiteY30" fmla="*/ 67206 h 110081"/>
              <a:gd name="connsiteX31" fmla="*/ 58577 w 585077"/>
              <a:gd name="connsiteY31" fmla="*/ 40012 h 110081"/>
              <a:gd name="connsiteX32" fmla="*/ 36167 w 585077"/>
              <a:gd name="connsiteY32" fmla="*/ 40012 h 110081"/>
              <a:gd name="connsiteX33" fmla="*/ 30626 w 585077"/>
              <a:gd name="connsiteY33" fmla="*/ 67206 h 110081"/>
              <a:gd name="connsiteX34" fmla="*/ 120078 w 585077"/>
              <a:gd name="connsiteY34" fmla="*/ 58992 h 110081"/>
              <a:gd name="connsiteX35" fmla="*/ 120078 w 585077"/>
              <a:gd name="connsiteY35" fmla="*/ 46298 h 110081"/>
              <a:gd name="connsiteX36" fmla="*/ 134396 w 585077"/>
              <a:gd name="connsiteY36" fmla="*/ 46298 h 110081"/>
              <a:gd name="connsiteX37" fmla="*/ 148028 w 585077"/>
              <a:gd name="connsiteY37" fmla="*/ 41817 h 110081"/>
              <a:gd name="connsiteX38" fmla="*/ 153382 w 585077"/>
              <a:gd name="connsiteY38" fmla="*/ 28812 h 110081"/>
              <a:gd name="connsiteX39" fmla="*/ 148464 w 585077"/>
              <a:gd name="connsiteY39" fmla="*/ 16864 h 110081"/>
              <a:gd name="connsiteX40" fmla="*/ 134271 w 585077"/>
              <a:gd name="connsiteY40" fmla="*/ 12383 h 110081"/>
              <a:gd name="connsiteX41" fmla="*/ 119642 w 585077"/>
              <a:gd name="connsiteY41" fmla="*/ 15246 h 110081"/>
              <a:gd name="connsiteX42" fmla="*/ 105574 w 585077"/>
              <a:gd name="connsiteY42" fmla="*/ 24331 h 110081"/>
              <a:gd name="connsiteX43" fmla="*/ 105574 w 585077"/>
              <a:gd name="connsiteY43" fmla="*/ 9707 h 110081"/>
              <a:gd name="connsiteX44" fmla="*/ 134396 w 585077"/>
              <a:gd name="connsiteY44" fmla="*/ 0 h 110081"/>
              <a:gd name="connsiteX45" fmla="*/ 158486 w 585077"/>
              <a:gd name="connsiteY45" fmla="*/ 7779 h 110081"/>
              <a:gd name="connsiteX46" fmla="*/ 167264 w 585077"/>
              <a:gd name="connsiteY46" fmla="*/ 28065 h 110081"/>
              <a:gd name="connsiteX47" fmla="*/ 161598 w 585077"/>
              <a:gd name="connsiteY47" fmla="*/ 44244 h 110081"/>
              <a:gd name="connsiteX48" fmla="*/ 148340 w 585077"/>
              <a:gd name="connsiteY48" fmla="*/ 52147 h 110081"/>
              <a:gd name="connsiteX49" fmla="*/ 159793 w 585077"/>
              <a:gd name="connsiteY49" fmla="*/ 56441 h 110081"/>
              <a:gd name="connsiteX50" fmla="*/ 168508 w 585077"/>
              <a:gd name="connsiteY50" fmla="*/ 65153 h 110081"/>
              <a:gd name="connsiteX51" fmla="*/ 171745 w 585077"/>
              <a:gd name="connsiteY51" fmla="*/ 77661 h 110081"/>
              <a:gd name="connsiteX52" fmla="*/ 166827 w 585077"/>
              <a:gd name="connsiteY52" fmla="*/ 94836 h 110081"/>
              <a:gd name="connsiteX53" fmla="*/ 153258 w 585077"/>
              <a:gd name="connsiteY53" fmla="*/ 106224 h 110081"/>
              <a:gd name="connsiteX54" fmla="*/ 133399 w 585077"/>
              <a:gd name="connsiteY54" fmla="*/ 110082 h 110081"/>
              <a:gd name="connsiteX55" fmla="*/ 102898 w 585077"/>
              <a:gd name="connsiteY55" fmla="*/ 100997 h 110081"/>
              <a:gd name="connsiteX56" fmla="*/ 102898 w 585077"/>
              <a:gd name="connsiteY56" fmla="*/ 86062 h 110081"/>
              <a:gd name="connsiteX57" fmla="*/ 116654 w 585077"/>
              <a:gd name="connsiteY57" fmla="*/ 94711 h 110081"/>
              <a:gd name="connsiteX58" fmla="*/ 133524 w 585077"/>
              <a:gd name="connsiteY58" fmla="*/ 97823 h 110081"/>
              <a:gd name="connsiteX59" fmla="*/ 150829 w 585077"/>
              <a:gd name="connsiteY59" fmla="*/ 92596 h 110081"/>
              <a:gd name="connsiteX60" fmla="*/ 157303 w 585077"/>
              <a:gd name="connsiteY60" fmla="*/ 77972 h 110081"/>
              <a:gd name="connsiteX61" fmla="*/ 151452 w 585077"/>
              <a:gd name="connsiteY61" fmla="*/ 64095 h 110081"/>
              <a:gd name="connsiteX62" fmla="*/ 133835 w 585077"/>
              <a:gd name="connsiteY62" fmla="*/ 58992 h 110081"/>
              <a:gd name="connsiteX63" fmla="*/ 120078 w 585077"/>
              <a:gd name="connsiteY63" fmla="*/ 58992 h 110081"/>
              <a:gd name="connsiteX64" fmla="*/ 252981 w 585077"/>
              <a:gd name="connsiteY64" fmla="*/ 13628 h 110081"/>
              <a:gd name="connsiteX65" fmla="*/ 207601 w 585077"/>
              <a:gd name="connsiteY65" fmla="*/ 108588 h 110081"/>
              <a:gd name="connsiteX66" fmla="*/ 192972 w 585077"/>
              <a:gd name="connsiteY66" fmla="*/ 108588 h 110081"/>
              <a:gd name="connsiteX67" fmla="*/ 238663 w 585077"/>
              <a:gd name="connsiteY67" fmla="*/ 14374 h 110081"/>
              <a:gd name="connsiteX68" fmla="*/ 184133 w 585077"/>
              <a:gd name="connsiteY68" fmla="*/ 14374 h 110081"/>
              <a:gd name="connsiteX69" fmla="*/ 184133 w 585077"/>
              <a:gd name="connsiteY69" fmla="*/ 1493 h 110081"/>
              <a:gd name="connsiteX70" fmla="*/ 252981 w 585077"/>
              <a:gd name="connsiteY70" fmla="*/ 1493 h 110081"/>
              <a:gd name="connsiteX71" fmla="*/ 252981 w 585077"/>
              <a:gd name="connsiteY71" fmla="*/ 13628 h 110081"/>
              <a:gd name="connsiteX72" fmla="*/ 300912 w 585077"/>
              <a:gd name="connsiteY72" fmla="*/ 110082 h 110081"/>
              <a:gd name="connsiteX73" fmla="*/ 282734 w 585077"/>
              <a:gd name="connsiteY73" fmla="*/ 104233 h 110081"/>
              <a:gd name="connsiteX74" fmla="*/ 270037 w 585077"/>
              <a:gd name="connsiteY74" fmla="*/ 86311 h 110081"/>
              <a:gd name="connsiteX75" fmla="*/ 265555 w 585077"/>
              <a:gd name="connsiteY75" fmla="*/ 54947 h 110081"/>
              <a:gd name="connsiteX76" fmla="*/ 270037 w 585077"/>
              <a:gd name="connsiteY76" fmla="*/ 23584 h 110081"/>
              <a:gd name="connsiteX77" fmla="*/ 282734 w 585077"/>
              <a:gd name="connsiteY77" fmla="*/ 5849 h 110081"/>
              <a:gd name="connsiteX78" fmla="*/ 300912 w 585077"/>
              <a:gd name="connsiteY78" fmla="*/ 186 h 110081"/>
              <a:gd name="connsiteX79" fmla="*/ 319026 w 585077"/>
              <a:gd name="connsiteY79" fmla="*/ 5849 h 110081"/>
              <a:gd name="connsiteX80" fmla="*/ 331413 w 585077"/>
              <a:gd name="connsiteY80" fmla="*/ 23584 h 110081"/>
              <a:gd name="connsiteX81" fmla="*/ 335895 w 585077"/>
              <a:gd name="connsiteY81" fmla="*/ 54698 h 110081"/>
              <a:gd name="connsiteX82" fmla="*/ 331413 w 585077"/>
              <a:gd name="connsiteY82" fmla="*/ 86062 h 110081"/>
              <a:gd name="connsiteX83" fmla="*/ 319026 w 585077"/>
              <a:gd name="connsiteY83" fmla="*/ 104233 h 110081"/>
              <a:gd name="connsiteX84" fmla="*/ 300912 w 585077"/>
              <a:gd name="connsiteY84" fmla="*/ 110082 h 110081"/>
              <a:gd name="connsiteX85" fmla="*/ 300787 w 585077"/>
              <a:gd name="connsiteY85" fmla="*/ 98258 h 110081"/>
              <a:gd name="connsiteX86" fmla="*/ 312117 w 585077"/>
              <a:gd name="connsiteY86" fmla="*/ 94275 h 110081"/>
              <a:gd name="connsiteX87" fmla="*/ 319337 w 585077"/>
              <a:gd name="connsiteY87" fmla="*/ 80648 h 110081"/>
              <a:gd name="connsiteX88" fmla="*/ 321827 w 585077"/>
              <a:gd name="connsiteY88" fmla="*/ 55134 h 110081"/>
              <a:gd name="connsiteX89" fmla="*/ 319462 w 585077"/>
              <a:gd name="connsiteY89" fmla="*/ 29745 h 110081"/>
              <a:gd name="connsiteX90" fmla="*/ 312303 w 585077"/>
              <a:gd name="connsiteY90" fmla="*/ 16117 h 110081"/>
              <a:gd name="connsiteX91" fmla="*/ 300912 w 585077"/>
              <a:gd name="connsiteY91" fmla="*/ 11947 h 110081"/>
              <a:gd name="connsiteX92" fmla="*/ 289458 w 585077"/>
              <a:gd name="connsiteY92" fmla="*/ 16117 h 110081"/>
              <a:gd name="connsiteX93" fmla="*/ 282113 w 585077"/>
              <a:gd name="connsiteY93" fmla="*/ 29745 h 110081"/>
              <a:gd name="connsiteX94" fmla="*/ 279561 w 585077"/>
              <a:gd name="connsiteY94" fmla="*/ 55134 h 110081"/>
              <a:gd name="connsiteX95" fmla="*/ 281988 w 585077"/>
              <a:gd name="connsiteY95" fmla="*/ 80648 h 110081"/>
              <a:gd name="connsiteX96" fmla="*/ 289271 w 585077"/>
              <a:gd name="connsiteY96" fmla="*/ 94275 h 110081"/>
              <a:gd name="connsiteX97" fmla="*/ 300787 w 585077"/>
              <a:gd name="connsiteY97" fmla="*/ 98258 h 110081"/>
              <a:gd name="connsiteX98" fmla="*/ 383080 w 585077"/>
              <a:gd name="connsiteY98" fmla="*/ 110082 h 110081"/>
              <a:gd name="connsiteX99" fmla="*/ 364842 w 585077"/>
              <a:gd name="connsiteY99" fmla="*/ 104233 h 110081"/>
              <a:gd name="connsiteX100" fmla="*/ 352143 w 585077"/>
              <a:gd name="connsiteY100" fmla="*/ 86311 h 110081"/>
              <a:gd name="connsiteX101" fmla="*/ 347661 w 585077"/>
              <a:gd name="connsiteY101" fmla="*/ 54947 h 110081"/>
              <a:gd name="connsiteX102" fmla="*/ 352143 w 585077"/>
              <a:gd name="connsiteY102" fmla="*/ 23584 h 110081"/>
              <a:gd name="connsiteX103" fmla="*/ 364842 w 585077"/>
              <a:gd name="connsiteY103" fmla="*/ 5849 h 110081"/>
              <a:gd name="connsiteX104" fmla="*/ 383080 w 585077"/>
              <a:gd name="connsiteY104" fmla="*/ 186 h 110081"/>
              <a:gd name="connsiteX105" fmla="*/ 401132 w 585077"/>
              <a:gd name="connsiteY105" fmla="*/ 5849 h 110081"/>
              <a:gd name="connsiteX106" fmla="*/ 413582 w 585077"/>
              <a:gd name="connsiteY106" fmla="*/ 23584 h 110081"/>
              <a:gd name="connsiteX107" fmla="*/ 418065 w 585077"/>
              <a:gd name="connsiteY107" fmla="*/ 54698 h 110081"/>
              <a:gd name="connsiteX108" fmla="*/ 413582 w 585077"/>
              <a:gd name="connsiteY108" fmla="*/ 86062 h 110081"/>
              <a:gd name="connsiteX109" fmla="*/ 401132 w 585077"/>
              <a:gd name="connsiteY109" fmla="*/ 104233 h 110081"/>
              <a:gd name="connsiteX110" fmla="*/ 383080 w 585077"/>
              <a:gd name="connsiteY110" fmla="*/ 110082 h 110081"/>
              <a:gd name="connsiteX111" fmla="*/ 382956 w 585077"/>
              <a:gd name="connsiteY111" fmla="*/ 98258 h 110081"/>
              <a:gd name="connsiteX112" fmla="*/ 394285 w 585077"/>
              <a:gd name="connsiteY112" fmla="*/ 94275 h 110081"/>
              <a:gd name="connsiteX113" fmla="*/ 401443 w 585077"/>
              <a:gd name="connsiteY113" fmla="*/ 80648 h 110081"/>
              <a:gd name="connsiteX114" fmla="*/ 403997 w 585077"/>
              <a:gd name="connsiteY114" fmla="*/ 55134 h 110081"/>
              <a:gd name="connsiteX115" fmla="*/ 401630 w 585077"/>
              <a:gd name="connsiteY115" fmla="*/ 29745 h 110081"/>
              <a:gd name="connsiteX116" fmla="*/ 394410 w 585077"/>
              <a:gd name="connsiteY116" fmla="*/ 16117 h 110081"/>
              <a:gd name="connsiteX117" fmla="*/ 383080 w 585077"/>
              <a:gd name="connsiteY117" fmla="*/ 11947 h 110081"/>
              <a:gd name="connsiteX118" fmla="*/ 371564 w 585077"/>
              <a:gd name="connsiteY118" fmla="*/ 16117 h 110081"/>
              <a:gd name="connsiteX119" fmla="*/ 364281 w 585077"/>
              <a:gd name="connsiteY119" fmla="*/ 29745 h 110081"/>
              <a:gd name="connsiteX120" fmla="*/ 361729 w 585077"/>
              <a:gd name="connsiteY120" fmla="*/ 55134 h 110081"/>
              <a:gd name="connsiteX121" fmla="*/ 364094 w 585077"/>
              <a:gd name="connsiteY121" fmla="*/ 80648 h 110081"/>
              <a:gd name="connsiteX122" fmla="*/ 371439 w 585077"/>
              <a:gd name="connsiteY122" fmla="*/ 94275 h 110081"/>
              <a:gd name="connsiteX123" fmla="*/ 382956 w 585077"/>
              <a:gd name="connsiteY123" fmla="*/ 98258 h 110081"/>
              <a:gd name="connsiteX124" fmla="*/ 436366 w 585077"/>
              <a:gd name="connsiteY124" fmla="*/ 1493 h 110081"/>
              <a:gd name="connsiteX125" fmla="*/ 501789 w 585077"/>
              <a:gd name="connsiteY125" fmla="*/ 1493 h 110081"/>
              <a:gd name="connsiteX126" fmla="*/ 501789 w 585077"/>
              <a:gd name="connsiteY126" fmla="*/ 14374 h 110081"/>
              <a:gd name="connsiteX127" fmla="*/ 450434 w 585077"/>
              <a:gd name="connsiteY127" fmla="*/ 14374 h 110081"/>
              <a:gd name="connsiteX128" fmla="*/ 450434 w 585077"/>
              <a:gd name="connsiteY128" fmla="*/ 49907 h 110081"/>
              <a:gd name="connsiteX129" fmla="*/ 494071 w 585077"/>
              <a:gd name="connsiteY129" fmla="*/ 49907 h 110081"/>
              <a:gd name="connsiteX130" fmla="*/ 494071 w 585077"/>
              <a:gd name="connsiteY130" fmla="*/ 62601 h 110081"/>
              <a:gd name="connsiteX131" fmla="*/ 450434 w 585077"/>
              <a:gd name="connsiteY131" fmla="*/ 62601 h 110081"/>
              <a:gd name="connsiteX132" fmla="*/ 450434 w 585077"/>
              <a:gd name="connsiteY132" fmla="*/ 108588 h 110081"/>
              <a:gd name="connsiteX133" fmla="*/ 436366 w 585077"/>
              <a:gd name="connsiteY133" fmla="*/ 108588 h 110081"/>
              <a:gd name="connsiteX134" fmla="*/ 436366 w 585077"/>
              <a:gd name="connsiteY134" fmla="*/ 1493 h 110081"/>
              <a:gd name="connsiteX135" fmla="*/ 550157 w 585077"/>
              <a:gd name="connsiteY135" fmla="*/ 110082 h 110081"/>
              <a:gd name="connsiteX136" fmla="*/ 531917 w 585077"/>
              <a:gd name="connsiteY136" fmla="*/ 104233 h 110081"/>
              <a:gd name="connsiteX137" fmla="*/ 519219 w 585077"/>
              <a:gd name="connsiteY137" fmla="*/ 86311 h 110081"/>
              <a:gd name="connsiteX138" fmla="*/ 514736 w 585077"/>
              <a:gd name="connsiteY138" fmla="*/ 54947 h 110081"/>
              <a:gd name="connsiteX139" fmla="*/ 519219 w 585077"/>
              <a:gd name="connsiteY139" fmla="*/ 23584 h 110081"/>
              <a:gd name="connsiteX140" fmla="*/ 531917 w 585077"/>
              <a:gd name="connsiteY140" fmla="*/ 5849 h 110081"/>
              <a:gd name="connsiteX141" fmla="*/ 550157 w 585077"/>
              <a:gd name="connsiteY141" fmla="*/ 186 h 110081"/>
              <a:gd name="connsiteX142" fmla="*/ 568209 w 585077"/>
              <a:gd name="connsiteY142" fmla="*/ 5849 h 110081"/>
              <a:gd name="connsiteX143" fmla="*/ 580596 w 585077"/>
              <a:gd name="connsiteY143" fmla="*/ 23584 h 110081"/>
              <a:gd name="connsiteX144" fmla="*/ 585078 w 585077"/>
              <a:gd name="connsiteY144" fmla="*/ 54698 h 110081"/>
              <a:gd name="connsiteX145" fmla="*/ 580596 w 585077"/>
              <a:gd name="connsiteY145" fmla="*/ 86062 h 110081"/>
              <a:gd name="connsiteX146" fmla="*/ 568209 w 585077"/>
              <a:gd name="connsiteY146" fmla="*/ 104233 h 110081"/>
              <a:gd name="connsiteX147" fmla="*/ 550157 w 585077"/>
              <a:gd name="connsiteY147" fmla="*/ 110082 h 110081"/>
              <a:gd name="connsiteX148" fmla="*/ 549970 w 585077"/>
              <a:gd name="connsiteY148" fmla="*/ 98258 h 110081"/>
              <a:gd name="connsiteX149" fmla="*/ 561361 w 585077"/>
              <a:gd name="connsiteY149" fmla="*/ 94275 h 110081"/>
              <a:gd name="connsiteX150" fmla="*/ 568520 w 585077"/>
              <a:gd name="connsiteY150" fmla="*/ 80648 h 110081"/>
              <a:gd name="connsiteX151" fmla="*/ 571072 w 585077"/>
              <a:gd name="connsiteY151" fmla="*/ 55134 h 110081"/>
              <a:gd name="connsiteX152" fmla="*/ 568645 w 585077"/>
              <a:gd name="connsiteY152" fmla="*/ 29745 h 110081"/>
              <a:gd name="connsiteX153" fmla="*/ 561485 w 585077"/>
              <a:gd name="connsiteY153" fmla="*/ 16117 h 110081"/>
              <a:gd name="connsiteX154" fmla="*/ 550157 w 585077"/>
              <a:gd name="connsiteY154" fmla="*/ 11947 h 110081"/>
              <a:gd name="connsiteX155" fmla="*/ 538640 w 585077"/>
              <a:gd name="connsiteY155" fmla="*/ 16117 h 110081"/>
              <a:gd name="connsiteX156" fmla="*/ 531295 w 585077"/>
              <a:gd name="connsiteY156" fmla="*/ 29745 h 110081"/>
              <a:gd name="connsiteX157" fmla="*/ 528742 w 585077"/>
              <a:gd name="connsiteY157" fmla="*/ 55134 h 110081"/>
              <a:gd name="connsiteX158" fmla="*/ 531171 w 585077"/>
              <a:gd name="connsiteY158" fmla="*/ 80648 h 110081"/>
              <a:gd name="connsiteX159" fmla="*/ 538453 w 585077"/>
              <a:gd name="connsiteY159" fmla="*/ 94275 h 110081"/>
              <a:gd name="connsiteX160" fmla="*/ 549970 w 585077"/>
              <a:gd name="connsiteY16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58507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2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4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6" y="13379"/>
                  <a:pt x="119642" y="15246"/>
                </a:cubicBezTo>
                <a:cubicBezTo>
                  <a:pt x="115161" y="17113"/>
                  <a:pt x="110492" y="20162"/>
                  <a:pt x="105574" y="24331"/>
                </a:cubicBezTo>
                <a:lnTo>
                  <a:pt x="105574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8" y="12943"/>
                  <a:pt x="167264" y="19726"/>
                  <a:pt x="167264" y="28065"/>
                </a:cubicBezTo>
                <a:cubicBezTo>
                  <a:pt x="167264" y="34848"/>
                  <a:pt x="165396" y="40262"/>
                  <a:pt x="161598" y="44244"/>
                </a:cubicBezTo>
                <a:cubicBezTo>
                  <a:pt x="157926" y="48227"/>
                  <a:pt x="153507" y="50840"/>
                  <a:pt x="148340" y="52147"/>
                </a:cubicBezTo>
                <a:cubicBezTo>
                  <a:pt x="152510" y="52707"/>
                  <a:pt x="156308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6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8" y="106224"/>
                </a:cubicBezTo>
                <a:cubicBezTo>
                  <a:pt x="147592" y="108775"/>
                  <a:pt x="140932" y="110082"/>
                  <a:pt x="133399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6" y="89733"/>
                  <a:pt x="111240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70" y="97823"/>
                  <a:pt x="146659" y="96080"/>
                  <a:pt x="150829" y="92596"/>
                </a:cubicBezTo>
                <a:cubicBezTo>
                  <a:pt x="155124" y="89048"/>
                  <a:pt x="157303" y="84132"/>
                  <a:pt x="157303" y="77972"/>
                </a:cubicBezTo>
                <a:cubicBezTo>
                  <a:pt x="157303" y="71998"/>
                  <a:pt x="155311" y="67393"/>
                  <a:pt x="151452" y="64095"/>
                </a:cubicBezTo>
                <a:cubicBezTo>
                  <a:pt x="147654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1" y="13628"/>
                </a:moveTo>
                <a:lnTo>
                  <a:pt x="207601" y="108588"/>
                </a:lnTo>
                <a:lnTo>
                  <a:pt x="192972" y="108588"/>
                </a:lnTo>
                <a:lnTo>
                  <a:pt x="238663" y="14374"/>
                </a:lnTo>
                <a:lnTo>
                  <a:pt x="184133" y="14374"/>
                </a:lnTo>
                <a:lnTo>
                  <a:pt x="184133" y="1493"/>
                </a:lnTo>
                <a:lnTo>
                  <a:pt x="252981" y="1493"/>
                </a:lnTo>
                <a:lnTo>
                  <a:pt x="252981" y="13628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4" y="104233"/>
                </a:cubicBezTo>
                <a:cubicBezTo>
                  <a:pt x="277319" y="100374"/>
                  <a:pt x="273087" y="94400"/>
                  <a:pt x="270037" y="86311"/>
                </a:cubicBezTo>
                <a:cubicBezTo>
                  <a:pt x="267049" y="78159"/>
                  <a:pt x="265555" y="67705"/>
                  <a:pt x="265555" y="54947"/>
                </a:cubicBezTo>
                <a:cubicBezTo>
                  <a:pt x="265555" y="42128"/>
                  <a:pt x="267049" y="31674"/>
                  <a:pt x="270037" y="23584"/>
                </a:cubicBezTo>
                <a:cubicBezTo>
                  <a:pt x="273087" y="15557"/>
                  <a:pt x="277319" y="9645"/>
                  <a:pt x="282734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6" y="186"/>
                  <a:pt x="313736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6" y="108153"/>
                  <a:pt x="307696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7" y="96952"/>
                  <a:pt x="312117" y="94275"/>
                </a:cubicBezTo>
                <a:cubicBezTo>
                  <a:pt x="315354" y="91475"/>
                  <a:pt x="317719" y="86933"/>
                  <a:pt x="319337" y="80648"/>
                </a:cubicBezTo>
                <a:cubicBezTo>
                  <a:pt x="321018" y="74300"/>
                  <a:pt x="321827" y="65775"/>
                  <a:pt x="321827" y="55134"/>
                </a:cubicBezTo>
                <a:cubicBezTo>
                  <a:pt x="321827" y="44493"/>
                  <a:pt x="321081" y="36030"/>
                  <a:pt x="319462" y="29745"/>
                </a:cubicBezTo>
                <a:cubicBezTo>
                  <a:pt x="317844" y="23336"/>
                  <a:pt x="315477" y="18855"/>
                  <a:pt x="312303" y="16117"/>
                </a:cubicBezTo>
                <a:cubicBezTo>
                  <a:pt x="309190" y="13379"/>
                  <a:pt x="305394" y="11947"/>
                  <a:pt x="300912" y="11947"/>
                </a:cubicBezTo>
                <a:cubicBezTo>
                  <a:pt x="296430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1" y="44493"/>
                  <a:pt x="279561" y="55134"/>
                </a:cubicBezTo>
                <a:cubicBezTo>
                  <a:pt x="279561" y="65775"/>
                  <a:pt x="280370" y="74300"/>
                  <a:pt x="281988" y="80648"/>
                </a:cubicBezTo>
                <a:cubicBezTo>
                  <a:pt x="283669" y="86933"/>
                  <a:pt x="286096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2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2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6" y="186"/>
                  <a:pt x="395904" y="2053"/>
                  <a:pt x="401132" y="5849"/>
                </a:cubicBezTo>
                <a:cubicBezTo>
                  <a:pt x="406424" y="9645"/>
                  <a:pt x="410594" y="15557"/>
                  <a:pt x="413582" y="23584"/>
                </a:cubicBezTo>
                <a:cubicBezTo>
                  <a:pt x="416569" y="31549"/>
                  <a:pt x="418065" y="41942"/>
                  <a:pt x="418065" y="54698"/>
                </a:cubicBezTo>
                <a:cubicBezTo>
                  <a:pt x="418065" y="67331"/>
                  <a:pt x="416569" y="77786"/>
                  <a:pt x="413582" y="86062"/>
                </a:cubicBezTo>
                <a:cubicBezTo>
                  <a:pt x="410594" y="94213"/>
                  <a:pt x="406424" y="100250"/>
                  <a:pt x="401132" y="104233"/>
                </a:cubicBezTo>
                <a:cubicBezTo>
                  <a:pt x="395904" y="108153"/>
                  <a:pt x="389866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7" y="65775"/>
                  <a:pt x="403997" y="55134"/>
                </a:cubicBezTo>
                <a:cubicBezTo>
                  <a:pt x="403997" y="44493"/>
                  <a:pt x="403187" y="36030"/>
                  <a:pt x="401630" y="29745"/>
                </a:cubicBezTo>
                <a:cubicBezTo>
                  <a:pt x="400012" y="23336"/>
                  <a:pt x="397647" y="18855"/>
                  <a:pt x="394410" y="16117"/>
                </a:cubicBezTo>
                <a:cubicBezTo>
                  <a:pt x="391360" y="13379"/>
                  <a:pt x="387562" y="11947"/>
                  <a:pt x="383080" y="11947"/>
                </a:cubicBezTo>
                <a:cubicBezTo>
                  <a:pt x="378599" y="11947"/>
                  <a:pt x="374738" y="13379"/>
                  <a:pt x="371564" y="16117"/>
                </a:cubicBezTo>
                <a:cubicBezTo>
                  <a:pt x="368389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6" y="91475"/>
                  <a:pt x="371439" y="94275"/>
                </a:cubicBezTo>
                <a:cubicBezTo>
                  <a:pt x="374614" y="96952"/>
                  <a:pt x="378474" y="98258"/>
                  <a:pt x="382956" y="98258"/>
                </a:cubicBez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50157" y="110082"/>
                </a:moveTo>
                <a:cubicBezTo>
                  <a:pt x="543371" y="110082"/>
                  <a:pt x="537271" y="108153"/>
                  <a:pt x="531917" y="104233"/>
                </a:cubicBezTo>
                <a:cubicBezTo>
                  <a:pt x="526502" y="100374"/>
                  <a:pt x="522270" y="94400"/>
                  <a:pt x="519219" y="86311"/>
                </a:cubicBezTo>
                <a:cubicBezTo>
                  <a:pt x="516230" y="78159"/>
                  <a:pt x="514736" y="67705"/>
                  <a:pt x="514736" y="54947"/>
                </a:cubicBezTo>
                <a:cubicBezTo>
                  <a:pt x="514736" y="42128"/>
                  <a:pt x="516230" y="31674"/>
                  <a:pt x="519219" y="23584"/>
                </a:cubicBezTo>
                <a:cubicBezTo>
                  <a:pt x="522270" y="15557"/>
                  <a:pt x="526502" y="9645"/>
                  <a:pt x="531917" y="5849"/>
                </a:cubicBezTo>
                <a:cubicBezTo>
                  <a:pt x="537271" y="2053"/>
                  <a:pt x="543371" y="186"/>
                  <a:pt x="550157" y="186"/>
                </a:cubicBezTo>
                <a:cubicBezTo>
                  <a:pt x="556879" y="186"/>
                  <a:pt x="562917" y="2053"/>
                  <a:pt x="568209" y="5849"/>
                </a:cubicBezTo>
                <a:cubicBezTo>
                  <a:pt x="573500" y="9645"/>
                  <a:pt x="577608" y="15557"/>
                  <a:pt x="580596" y="23584"/>
                </a:cubicBezTo>
                <a:cubicBezTo>
                  <a:pt x="583584" y="31549"/>
                  <a:pt x="585078" y="41942"/>
                  <a:pt x="585078" y="54698"/>
                </a:cubicBezTo>
                <a:cubicBezTo>
                  <a:pt x="585078" y="67331"/>
                  <a:pt x="583584" y="77786"/>
                  <a:pt x="580596" y="86062"/>
                </a:cubicBezTo>
                <a:cubicBezTo>
                  <a:pt x="577608" y="94213"/>
                  <a:pt x="573500" y="100250"/>
                  <a:pt x="568209" y="104233"/>
                </a:cubicBezTo>
                <a:cubicBezTo>
                  <a:pt x="562917" y="108153"/>
                  <a:pt x="556879" y="110082"/>
                  <a:pt x="550157" y="110082"/>
                </a:cubicBezTo>
                <a:close/>
                <a:moveTo>
                  <a:pt x="549970" y="98258"/>
                </a:moveTo>
                <a:cubicBezTo>
                  <a:pt x="554452" y="98258"/>
                  <a:pt x="558248" y="96952"/>
                  <a:pt x="561361" y="94275"/>
                </a:cubicBezTo>
                <a:cubicBezTo>
                  <a:pt x="564535" y="91475"/>
                  <a:pt x="566902" y="86933"/>
                  <a:pt x="568520" y="80648"/>
                </a:cubicBezTo>
                <a:cubicBezTo>
                  <a:pt x="570201" y="74300"/>
                  <a:pt x="571072" y="65775"/>
                  <a:pt x="571072" y="55134"/>
                </a:cubicBezTo>
                <a:cubicBezTo>
                  <a:pt x="571072" y="44493"/>
                  <a:pt x="570263" y="36030"/>
                  <a:pt x="568645" y="29745"/>
                </a:cubicBezTo>
                <a:cubicBezTo>
                  <a:pt x="567089" y="23336"/>
                  <a:pt x="564660" y="18855"/>
                  <a:pt x="561485" y="16117"/>
                </a:cubicBezTo>
                <a:cubicBezTo>
                  <a:pt x="558373" y="13379"/>
                  <a:pt x="554639" y="11947"/>
                  <a:pt x="550157" y="11947"/>
                </a:cubicBezTo>
                <a:cubicBezTo>
                  <a:pt x="545675" y="11947"/>
                  <a:pt x="541815" y="13379"/>
                  <a:pt x="538640" y="16117"/>
                </a:cubicBezTo>
                <a:cubicBezTo>
                  <a:pt x="535466" y="18855"/>
                  <a:pt x="532976" y="23336"/>
                  <a:pt x="531295" y="29745"/>
                </a:cubicBezTo>
                <a:cubicBezTo>
                  <a:pt x="529615" y="36030"/>
                  <a:pt x="528742" y="44493"/>
                  <a:pt x="528742" y="55134"/>
                </a:cubicBezTo>
                <a:cubicBezTo>
                  <a:pt x="528742" y="65775"/>
                  <a:pt x="529552" y="74300"/>
                  <a:pt x="531171" y="80648"/>
                </a:cubicBezTo>
                <a:cubicBezTo>
                  <a:pt x="532852" y="86933"/>
                  <a:pt x="535279" y="91475"/>
                  <a:pt x="538453" y="94275"/>
                </a:cubicBezTo>
                <a:cubicBezTo>
                  <a:pt x="541690" y="96952"/>
                  <a:pt x="545488" y="98258"/>
                  <a:pt x="549970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6" name="Полилиния 935">
            <a:extLst>
              <a:ext uri="{FF2B5EF4-FFF2-40B4-BE49-F238E27FC236}">
                <a16:creationId xmlns:a16="http://schemas.microsoft.com/office/drawing/2014/main" id="{32FFA1EE-9CC7-BC7B-3935-17BCCD13D894}"/>
              </a:ext>
            </a:extLst>
          </p:cNvPr>
          <p:cNvSpPr/>
          <p:nvPr userDrawn="1"/>
        </p:nvSpPr>
        <p:spPr>
          <a:xfrm>
            <a:off x="6844904" y="7418752"/>
            <a:ext cx="2557159" cy="726227"/>
          </a:xfrm>
          <a:custGeom>
            <a:avLst/>
            <a:gdLst>
              <a:gd name="connsiteX0" fmla="*/ 2232 w 2191162"/>
              <a:gd name="connsiteY0" fmla="*/ 1522 h 622284"/>
              <a:gd name="connsiteX1" fmla="*/ 2193395 w 2191162"/>
              <a:gd name="connsiteY1" fmla="*/ 1522 h 622284"/>
              <a:gd name="connsiteX2" fmla="*/ 2193395 w 2191162"/>
              <a:gd name="connsiteY2" fmla="*/ 623806 h 622284"/>
              <a:gd name="connsiteX3" fmla="*/ 2232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522"/>
                </a:moveTo>
                <a:lnTo>
                  <a:pt x="2193395" y="1522"/>
                </a:lnTo>
                <a:lnTo>
                  <a:pt x="2193395" y="623806"/>
                </a:lnTo>
                <a:lnTo>
                  <a:pt x="2232" y="623806"/>
                </a:lnTo>
                <a:close/>
              </a:path>
            </a:pathLst>
          </a:custGeom>
          <a:solidFill>
            <a:srgbClr val="4B3C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7" name="Полилиния 936">
            <a:extLst>
              <a:ext uri="{FF2B5EF4-FFF2-40B4-BE49-F238E27FC236}">
                <a16:creationId xmlns:a16="http://schemas.microsoft.com/office/drawing/2014/main" id="{BA4C3865-72D9-1F04-4B5F-6C59EB5DA706}"/>
              </a:ext>
            </a:extLst>
          </p:cNvPr>
          <p:cNvSpPr/>
          <p:nvPr userDrawn="1"/>
        </p:nvSpPr>
        <p:spPr>
          <a:xfrm>
            <a:off x="6968113" y="7720500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58797 w 619003"/>
              <a:gd name="connsiteY34" fmla="*/ 108588 h 110081"/>
              <a:gd name="connsiteX35" fmla="*/ 145601 w 619003"/>
              <a:gd name="connsiteY35" fmla="*/ 108588 h 110081"/>
              <a:gd name="connsiteX36" fmla="*/ 145601 w 619003"/>
              <a:gd name="connsiteY36" fmla="*/ 83199 h 110081"/>
              <a:gd name="connsiteX37" fmla="*/ 99287 w 619003"/>
              <a:gd name="connsiteY37" fmla="*/ 83199 h 110081"/>
              <a:gd name="connsiteX38" fmla="*/ 99287 w 619003"/>
              <a:gd name="connsiteY38" fmla="*/ 73927 h 110081"/>
              <a:gd name="connsiteX39" fmla="*/ 141118 w 619003"/>
              <a:gd name="connsiteY39" fmla="*/ 1493 h 110081"/>
              <a:gd name="connsiteX40" fmla="*/ 158797 w 619003"/>
              <a:gd name="connsiteY40" fmla="*/ 1493 h 110081"/>
              <a:gd name="connsiteX41" fmla="*/ 158797 w 619003"/>
              <a:gd name="connsiteY41" fmla="*/ 71873 h 110081"/>
              <a:gd name="connsiteX42" fmla="*/ 173239 w 619003"/>
              <a:gd name="connsiteY42" fmla="*/ 71873 h 110081"/>
              <a:gd name="connsiteX43" fmla="*/ 173239 w 619003"/>
              <a:gd name="connsiteY43" fmla="*/ 83199 h 110081"/>
              <a:gd name="connsiteX44" fmla="*/ 158797 w 619003"/>
              <a:gd name="connsiteY44" fmla="*/ 83199 h 110081"/>
              <a:gd name="connsiteX45" fmla="*/ 158797 w 619003"/>
              <a:gd name="connsiteY45" fmla="*/ 108588 h 110081"/>
              <a:gd name="connsiteX46" fmla="*/ 112920 w 619003"/>
              <a:gd name="connsiteY46" fmla="*/ 71873 h 110081"/>
              <a:gd name="connsiteX47" fmla="*/ 145601 w 619003"/>
              <a:gd name="connsiteY47" fmla="*/ 71873 h 110081"/>
              <a:gd name="connsiteX48" fmla="*/ 145601 w 619003"/>
              <a:gd name="connsiteY48" fmla="*/ 16117 h 110081"/>
              <a:gd name="connsiteX49" fmla="*/ 112920 w 619003"/>
              <a:gd name="connsiteY49" fmla="*/ 71873 h 110081"/>
              <a:gd name="connsiteX50" fmla="*/ 189984 w 619003"/>
              <a:gd name="connsiteY50" fmla="*/ 1493 h 110081"/>
              <a:gd name="connsiteX51" fmla="*/ 226276 w 619003"/>
              <a:gd name="connsiteY51" fmla="*/ 1493 h 110081"/>
              <a:gd name="connsiteX52" fmla="*/ 252981 w 619003"/>
              <a:gd name="connsiteY52" fmla="*/ 7467 h 110081"/>
              <a:gd name="connsiteX53" fmla="*/ 262256 w 619003"/>
              <a:gd name="connsiteY53" fmla="*/ 27629 h 110081"/>
              <a:gd name="connsiteX54" fmla="*/ 256465 w 619003"/>
              <a:gd name="connsiteY54" fmla="*/ 45116 h 110081"/>
              <a:gd name="connsiteX55" fmla="*/ 240903 w 619003"/>
              <a:gd name="connsiteY55" fmla="*/ 53018 h 110081"/>
              <a:gd name="connsiteX56" fmla="*/ 259702 w 619003"/>
              <a:gd name="connsiteY56" fmla="*/ 60361 h 110081"/>
              <a:gd name="connsiteX57" fmla="*/ 266177 w 619003"/>
              <a:gd name="connsiteY57" fmla="*/ 77661 h 110081"/>
              <a:gd name="connsiteX58" fmla="*/ 260947 w 619003"/>
              <a:gd name="connsiteY58" fmla="*/ 95583 h 110081"/>
              <a:gd name="connsiteX59" fmla="*/ 246569 w 619003"/>
              <a:gd name="connsiteY59" fmla="*/ 105601 h 110081"/>
              <a:gd name="connsiteX60" fmla="*/ 225964 w 619003"/>
              <a:gd name="connsiteY60" fmla="*/ 108588 h 110081"/>
              <a:gd name="connsiteX61" fmla="*/ 189984 w 619003"/>
              <a:gd name="connsiteY61" fmla="*/ 108588 h 110081"/>
              <a:gd name="connsiteX62" fmla="*/ 189984 w 619003"/>
              <a:gd name="connsiteY62" fmla="*/ 1493 h 110081"/>
              <a:gd name="connsiteX63" fmla="*/ 225216 w 619003"/>
              <a:gd name="connsiteY63" fmla="*/ 47231 h 110081"/>
              <a:gd name="connsiteX64" fmla="*/ 241651 w 619003"/>
              <a:gd name="connsiteY64" fmla="*/ 42751 h 110081"/>
              <a:gd name="connsiteX65" fmla="*/ 248063 w 619003"/>
              <a:gd name="connsiteY65" fmla="*/ 28376 h 110081"/>
              <a:gd name="connsiteX66" fmla="*/ 242397 w 619003"/>
              <a:gd name="connsiteY66" fmla="*/ 17361 h 110081"/>
              <a:gd name="connsiteX67" fmla="*/ 226276 w 619003"/>
              <a:gd name="connsiteY67" fmla="*/ 14374 h 110081"/>
              <a:gd name="connsiteX68" fmla="*/ 203990 w 619003"/>
              <a:gd name="connsiteY68" fmla="*/ 14374 h 110081"/>
              <a:gd name="connsiteX69" fmla="*/ 203990 w 619003"/>
              <a:gd name="connsiteY69" fmla="*/ 47231 h 110081"/>
              <a:gd name="connsiteX70" fmla="*/ 225216 w 619003"/>
              <a:gd name="connsiteY70" fmla="*/ 47231 h 110081"/>
              <a:gd name="connsiteX71" fmla="*/ 225964 w 619003"/>
              <a:gd name="connsiteY71" fmla="*/ 95893 h 110081"/>
              <a:gd name="connsiteX72" fmla="*/ 244327 w 619003"/>
              <a:gd name="connsiteY72" fmla="*/ 92035 h 110081"/>
              <a:gd name="connsiteX73" fmla="*/ 251362 w 619003"/>
              <a:gd name="connsiteY73" fmla="*/ 77972 h 110081"/>
              <a:gd name="connsiteX74" fmla="*/ 244763 w 619003"/>
              <a:gd name="connsiteY74" fmla="*/ 63908 h 110081"/>
              <a:gd name="connsiteX75" fmla="*/ 224345 w 619003"/>
              <a:gd name="connsiteY75" fmla="*/ 59926 h 110081"/>
              <a:gd name="connsiteX76" fmla="*/ 203990 w 619003"/>
              <a:gd name="connsiteY76" fmla="*/ 59926 h 110081"/>
              <a:gd name="connsiteX77" fmla="*/ 203990 w 619003"/>
              <a:gd name="connsiteY77" fmla="*/ 95893 h 110081"/>
              <a:gd name="connsiteX78" fmla="*/ 225964 w 619003"/>
              <a:gd name="connsiteY78" fmla="*/ 95893 h 110081"/>
              <a:gd name="connsiteX79" fmla="*/ 298483 w 619003"/>
              <a:gd name="connsiteY79" fmla="*/ 58992 h 110081"/>
              <a:gd name="connsiteX80" fmla="*/ 298483 w 619003"/>
              <a:gd name="connsiteY80" fmla="*/ 46298 h 110081"/>
              <a:gd name="connsiteX81" fmla="*/ 312863 w 619003"/>
              <a:gd name="connsiteY81" fmla="*/ 46298 h 110081"/>
              <a:gd name="connsiteX82" fmla="*/ 326433 w 619003"/>
              <a:gd name="connsiteY82" fmla="*/ 41817 h 110081"/>
              <a:gd name="connsiteX83" fmla="*/ 331850 w 619003"/>
              <a:gd name="connsiteY83" fmla="*/ 28812 h 110081"/>
              <a:gd name="connsiteX84" fmla="*/ 326869 w 619003"/>
              <a:gd name="connsiteY84" fmla="*/ 16864 h 110081"/>
              <a:gd name="connsiteX85" fmla="*/ 312676 w 619003"/>
              <a:gd name="connsiteY85" fmla="*/ 12383 h 110081"/>
              <a:gd name="connsiteX86" fmla="*/ 298049 w 619003"/>
              <a:gd name="connsiteY86" fmla="*/ 15246 h 110081"/>
              <a:gd name="connsiteX87" fmla="*/ 284043 w 619003"/>
              <a:gd name="connsiteY87" fmla="*/ 24331 h 110081"/>
              <a:gd name="connsiteX88" fmla="*/ 284043 w 619003"/>
              <a:gd name="connsiteY88" fmla="*/ 9707 h 110081"/>
              <a:gd name="connsiteX89" fmla="*/ 312863 w 619003"/>
              <a:gd name="connsiteY89" fmla="*/ 0 h 110081"/>
              <a:gd name="connsiteX90" fmla="*/ 336892 w 619003"/>
              <a:gd name="connsiteY90" fmla="*/ 7779 h 110081"/>
              <a:gd name="connsiteX91" fmla="*/ 345731 w 619003"/>
              <a:gd name="connsiteY91" fmla="*/ 28065 h 110081"/>
              <a:gd name="connsiteX92" fmla="*/ 340067 w 619003"/>
              <a:gd name="connsiteY92" fmla="*/ 44244 h 110081"/>
              <a:gd name="connsiteX93" fmla="*/ 326745 w 619003"/>
              <a:gd name="connsiteY93" fmla="*/ 52147 h 110081"/>
              <a:gd name="connsiteX94" fmla="*/ 338261 w 619003"/>
              <a:gd name="connsiteY94" fmla="*/ 56441 h 110081"/>
              <a:gd name="connsiteX95" fmla="*/ 346913 w 619003"/>
              <a:gd name="connsiteY95" fmla="*/ 65153 h 110081"/>
              <a:gd name="connsiteX96" fmla="*/ 350213 w 619003"/>
              <a:gd name="connsiteY96" fmla="*/ 77661 h 110081"/>
              <a:gd name="connsiteX97" fmla="*/ 345295 w 619003"/>
              <a:gd name="connsiteY97" fmla="*/ 94836 h 110081"/>
              <a:gd name="connsiteX98" fmla="*/ 331663 w 619003"/>
              <a:gd name="connsiteY98" fmla="*/ 106224 h 110081"/>
              <a:gd name="connsiteX99" fmla="*/ 311806 w 619003"/>
              <a:gd name="connsiteY99" fmla="*/ 110082 h 110081"/>
              <a:gd name="connsiteX100" fmla="*/ 281303 w 619003"/>
              <a:gd name="connsiteY100" fmla="*/ 100997 h 110081"/>
              <a:gd name="connsiteX101" fmla="*/ 281303 w 619003"/>
              <a:gd name="connsiteY101" fmla="*/ 86062 h 110081"/>
              <a:gd name="connsiteX102" fmla="*/ 295061 w 619003"/>
              <a:gd name="connsiteY102" fmla="*/ 94711 h 110081"/>
              <a:gd name="connsiteX103" fmla="*/ 311930 w 619003"/>
              <a:gd name="connsiteY103" fmla="*/ 97823 h 110081"/>
              <a:gd name="connsiteX104" fmla="*/ 329298 w 619003"/>
              <a:gd name="connsiteY104" fmla="*/ 92596 h 110081"/>
              <a:gd name="connsiteX105" fmla="*/ 335708 w 619003"/>
              <a:gd name="connsiteY105" fmla="*/ 77972 h 110081"/>
              <a:gd name="connsiteX106" fmla="*/ 329857 w 619003"/>
              <a:gd name="connsiteY106" fmla="*/ 64095 h 110081"/>
              <a:gd name="connsiteX107" fmla="*/ 312242 w 619003"/>
              <a:gd name="connsiteY107" fmla="*/ 58992 h 110081"/>
              <a:gd name="connsiteX108" fmla="*/ 298483 w 619003"/>
              <a:gd name="connsiteY108" fmla="*/ 58992 h 110081"/>
              <a:gd name="connsiteX109" fmla="*/ 414890 w 619003"/>
              <a:gd name="connsiteY109" fmla="*/ 110082 h 110081"/>
              <a:gd name="connsiteX110" fmla="*/ 387064 w 619003"/>
              <a:gd name="connsiteY110" fmla="*/ 103486 h 110081"/>
              <a:gd name="connsiteX111" fmla="*/ 368700 w 619003"/>
              <a:gd name="connsiteY111" fmla="*/ 84693 h 110081"/>
              <a:gd name="connsiteX112" fmla="*/ 362102 w 619003"/>
              <a:gd name="connsiteY112" fmla="*/ 55134 h 110081"/>
              <a:gd name="connsiteX113" fmla="*/ 375735 w 619003"/>
              <a:gd name="connsiteY113" fmla="*/ 14810 h 110081"/>
              <a:gd name="connsiteX114" fmla="*/ 414579 w 619003"/>
              <a:gd name="connsiteY114" fmla="*/ 186 h 110081"/>
              <a:gd name="connsiteX115" fmla="*/ 432506 w 619003"/>
              <a:gd name="connsiteY115" fmla="*/ 2240 h 110081"/>
              <a:gd name="connsiteX116" fmla="*/ 447135 w 619003"/>
              <a:gd name="connsiteY116" fmla="*/ 7902 h 110081"/>
              <a:gd name="connsiteX117" fmla="*/ 447135 w 619003"/>
              <a:gd name="connsiteY117" fmla="*/ 21344 h 110081"/>
              <a:gd name="connsiteX118" fmla="*/ 432071 w 619003"/>
              <a:gd name="connsiteY118" fmla="*/ 15121 h 110081"/>
              <a:gd name="connsiteX119" fmla="*/ 414392 w 619003"/>
              <a:gd name="connsiteY119" fmla="*/ 12881 h 110081"/>
              <a:gd name="connsiteX120" fmla="*/ 386504 w 619003"/>
              <a:gd name="connsiteY120" fmla="*/ 23459 h 110081"/>
              <a:gd name="connsiteX121" fmla="*/ 377354 w 619003"/>
              <a:gd name="connsiteY121" fmla="*/ 55134 h 110081"/>
              <a:gd name="connsiteX122" fmla="*/ 387250 w 619003"/>
              <a:gd name="connsiteY122" fmla="*/ 86933 h 110081"/>
              <a:gd name="connsiteX123" fmla="*/ 416073 w 619003"/>
              <a:gd name="connsiteY123" fmla="*/ 97387 h 110081"/>
              <a:gd name="connsiteX124" fmla="*/ 447135 w 619003"/>
              <a:gd name="connsiteY124" fmla="*/ 87555 h 110081"/>
              <a:gd name="connsiteX125" fmla="*/ 447135 w 619003"/>
              <a:gd name="connsiteY125" fmla="*/ 100997 h 110081"/>
              <a:gd name="connsiteX126" fmla="*/ 433253 w 619003"/>
              <a:gd name="connsiteY126" fmla="*/ 107717 h 110081"/>
              <a:gd name="connsiteX127" fmla="*/ 414890 w 619003"/>
              <a:gd name="connsiteY127" fmla="*/ 110082 h 110081"/>
              <a:gd name="connsiteX128" fmla="*/ 468610 w 619003"/>
              <a:gd name="connsiteY128" fmla="*/ 1493 h 110081"/>
              <a:gd name="connsiteX129" fmla="*/ 534034 w 619003"/>
              <a:gd name="connsiteY129" fmla="*/ 1493 h 110081"/>
              <a:gd name="connsiteX130" fmla="*/ 534034 w 619003"/>
              <a:gd name="connsiteY130" fmla="*/ 14374 h 110081"/>
              <a:gd name="connsiteX131" fmla="*/ 482679 w 619003"/>
              <a:gd name="connsiteY131" fmla="*/ 14374 h 110081"/>
              <a:gd name="connsiteX132" fmla="*/ 482679 w 619003"/>
              <a:gd name="connsiteY132" fmla="*/ 49907 h 110081"/>
              <a:gd name="connsiteX133" fmla="*/ 526315 w 619003"/>
              <a:gd name="connsiteY133" fmla="*/ 49907 h 110081"/>
              <a:gd name="connsiteX134" fmla="*/ 526315 w 619003"/>
              <a:gd name="connsiteY134" fmla="*/ 62601 h 110081"/>
              <a:gd name="connsiteX135" fmla="*/ 482679 w 619003"/>
              <a:gd name="connsiteY135" fmla="*/ 62601 h 110081"/>
              <a:gd name="connsiteX136" fmla="*/ 482679 w 619003"/>
              <a:gd name="connsiteY136" fmla="*/ 108588 h 110081"/>
              <a:gd name="connsiteX137" fmla="*/ 468610 w 619003"/>
              <a:gd name="connsiteY137" fmla="*/ 108588 h 110081"/>
              <a:gd name="connsiteX138" fmla="*/ 468610 w 619003"/>
              <a:gd name="connsiteY138" fmla="*/ 1493 h 110081"/>
              <a:gd name="connsiteX139" fmla="*/ 553517 w 619003"/>
              <a:gd name="connsiteY139" fmla="*/ 1493 h 110081"/>
              <a:gd name="connsiteX140" fmla="*/ 619003 w 619003"/>
              <a:gd name="connsiteY140" fmla="*/ 1493 h 110081"/>
              <a:gd name="connsiteX141" fmla="*/ 619003 w 619003"/>
              <a:gd name="connsiteY141" fmla="*/ 14374 h 110081"/>
              <a:gd name="connsiteX142" fmla="*/ 567586 w 619003"/>
              <a:gd name="connsiteY142" fmla="*/ 14374 h 110081"/>
              <a:gd name="connsiteX143" fmla="*/ 567586 w 619003"/>
              <a:gd name="connsiteY143" fmla="*/ 49907 h 110081"/>
              <a:gd name="connsiteX144" fmla="*/ 611222 w 619003"/>
              <a:gd name="connsiteY144" fmla="*/ 49907 h 110081"/>
              <a:gd name="connsiteX145" fmla="*/ 611222 w 619003"/>
              <a:gd name="connsiteY145" fmla="*/ 62601 h 110081"/>
              <a:gd name="connsiteX146" fmla="*/ 567586 w 619003"/>
              <a:gd name="connsiteY146" fmla="*/ 62601 h 110081"/>
              <a:gd name="connsiteX147" fmla="*/ 567586 w 619003"/>
              <a:gd name="connsiteY147" fmla="*/ 108588 h 110081"/>
              <a:gd name="connsiteX148" fmla="*/ 553517 w 619003"/>
              <a:gd name="connsiteY148" fmla="*/ 108588 h 110081"/>
              <a:gd name="connsiteX149" fmla="*/ 553517 w 619003"/>
              <a:gd name="connsiteY149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8797" y="108588"/>
                </a:moveTo>
                <a:lnTo>
                  <a:pt x="145601" y="108588"/>
                </a:lnTo>
                <a:lnTo>
                  <a:pt x="145601" y="83199"/>
                </a:lnTo>
                <a:lnTo>
                  <a:pt x="99287" y="83199"/>
                </a:lnTo>
                <a:lnTo>
                  <a:pt x="99287" y="73927"/>
                </a:lnTo>
                <a:lnTo>
                  <a:pt x="141118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1" y="71873"/>
                </a:lnTo>
                <a:lnTo>
                  <a:pt x="145601" y="16117"/>
                </a:lnTo>
                <a:lnTo>
                  <a:pt x="112920" y="71873"/>
                </a:ln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1" y="3484"/>
                  <a:pt x="252981" y="7467"/>
                </a:cubicBezTo>
                <a:cubicBezTo>
                  <a:pt x="259205" y="11450"/>
                  <a:pt x="262256" y="18170"/>
                  <a:pt x="262256" y="27629"/>
                </a:cubicBezTo>
                <a:cubicBezTo>
                  <a:pt x="262256" y="35283"/>
                  <a:pt x="260326" y="41133"/>
                  <a:pt x="256465" y="45116"/>
                </a:cubicBezTo>
                <a:cubicBezTo>
                  <a:pt x="252544" y="48974"/>
                  <a:pt x="247377" y="51649"/>
                  <a:pt x="240903" y="53018"/>
                </a:cubicBezTo>
                <a:cubicBezTo>
                  <a:pt x="249183" y="54014"/>
                  <a:pt x="255470" y="56441"/>
                  <a:pt x="259702" y="60361"/>
                </a:cubicBezTo>
                <a:cubicBezTo>
                  <a:pt x="263999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7" y="95583"/>
                </a:cubicBezTo>
                <a:cubicBezTo>
                  <a:pt x="257462" y="100188"/>
                  <a:pt x="252669" y="103486"/>
                  <a:pt x="246569" y="105601"/>
                </a:cubicBezTo>
                <a:cubicBezTo>
                  <a:pt x="240531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6" y="47231"/>
                </a:moveTo>
                <a:cubicBezTo>
                  <a:pt x="232002" y="47231"/>
                  <a:pt x="237481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7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6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2" y="84755"/>
                  <a:pt x="251362" y="77972"/>
                </a:cubicBezTo>
                <a:cubicBezTo>
                  <a:pt x="251362" y="71189"/>
                  <a:pt x="249183" y="66522"/>
                  <a:pt x="244763" y="63908"/>
                </a:cubicBezTo>
                <a:cubicBezTo>
                  <a:pt x="240531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298483" y="58992"/>
                </a:moveTo>
                <a:lnTo>
                  <a:pt x="298483" y="46298"/>
                </a:lnTo>
                <a:lnTo>
                  <a:pt x="312863" y="46298"/>
                </a:lnTo>
                <a:cubicBezTo>
                  <a:pt x="318404" y="46298"/>
                  <a:pt x="322948" y="44804"/>
                  <a:pt x="326433" y="41817"/>
                </a:cubicBezTo>
                <a:cubicBezTo>
                  <a:pt x="330044" y="38768"/>
                  <a:pt x="331850" y="34412"/>
                  <a:pt x="331850" y="28812"/>
                </a:cubicBezTo>
                <a:cubicBezTo>
                  <a:pt x="331850" y="23771"/>
                  <a:pt x="330169" y="19788"/>
                  <a:pt x="326869" y="16864"/>
                </a:cubicBezTo>
                <a:cubicBezTo>
                  <a:pt x="323632" y="13877"/>
                  <a:pt x="318901" y="12383"/>
                  <a:pt x="312676" y="12383"/>
                </a:cubicBezTo>
                <a:cubicBezTo>
                  <a:pt x="307511" y="12383"/>
                  <a:pt x="302655" y="13379"/>
                  <a:pt x="298049" y="15246"/>
                </a:cubicBezTo>
                <a:cubicBezTo>
                  <a:pt x="293567" y="17113"/>
                  <a:pt x="288898" y="20162"/>
                  <a:pt x="284043" y="24331"/>
                </a:cubicBezTo>
                <a:lnTo>
                  <a:pt x="284043" y="9707"/>
                </a:lnTo>
                <a:cubicBezTo>
                  <a:pt x="292011" y="3235"/>
                  <a:pt x="301596" y="0"/>
                  <a:pt x="312863" y="0"/>
                </a:cubicBezTo>
                <a:cubicBezTo>
                  <a:pt x="323135" y="0"/>
                  <a:pt x="331102" y="2613"/>
                  <a:pt x="336892" y="7779"/>
                </a:cubicBezTo>
                <a:cubicBezTo>
                  <a:pt x="342805" y="12943"/>
                  <a:pt x="345731" y="19726"/>
                  <a:pt x="345731" y="28065"/>
                </a:cubicBezTo>
                <a:cubicBezTo>
                  <a:pt x="345731" y="34848"/>
                  <a:pt x="343801" y="40262"/>
                  <a:pt x="340067" y="44244"/>
                </a:cubicBezTo>
                <a:cubicBezTo>
                  <a:pt x="336331" y="48227"/>
                  <a:pt x="331912" y="50840"/>
                  <a:pt x="326745" y="52147"/>
                </a:cubicBezTo>
                <a:cubicBezTo>
                  <a:pt x="330916" y="52707"/>
                  <a:pt x="334775" y="54201"/>
                  <a:pt x="338261" y="56441"/>
                </a:cubicBezTo>
                <a:cubicBezTo>
                  <a:pt x="341810" y="58681"/>
                  <a:pt x="344735" y="61543"/>
                  <a:pt x="346913" y="65153"/>
                </a:cubicBezTo>
                <a:cubicBezTo>
                  <a:pt x="349093" y="68700"/>
                  <a:pt x="350213" y="72869"/>
                  <a:pt x="350213" y="77661"/>
                </a:cubicBezTo>
                <a:cubicBezTo>
                  <a:pt x="350213" y="84257"/>
                  <a:pt x="348532" y="89982"/>
                  <a:pt x="345295" y="94836"/>
                </a:cubicBezTo>
                <a:cubicBezTo>
                  <a:pt x="341995" y="99752"/>
                  <a:pt x="337451" y="103486"/>
                  <a:pt x="331663" y="106224"/>
                </a:cubicBezTo>
                <a:cubicBezTo>
                  <a:pt x="325998" y="108775"/>
                  <a:pt x="319400" y="110082"/>
                  <a:pt x="311806" y="110082"/>
                </a:cubicBezTo>
                <a:cubicBezTo>
                  <a:pt x="298670" y="110082"/>
                  <a:pt x="288524" y="107033"/>
                  <a:pt x="281303" y="100997"/>
                </a:cubicBezTo>
                <a:lnTo>
                  <a:pt x="281303" y="86062"/>
                </a:lnTo>
                <a:cubicBezTo>
                  <a:pt x="285101" y="89733"/>
                  <a:pt x="289707" y="92596"/>
                  <a:pt x="295061" y="94711"/>
                </a:cubicBezTo>
                <a:cubicBezTo>
                  <a:pt x="300476" y="96765"/>
                  <a:pt x="306078" y="97823"/>
                  <a:pt x="311930" y="97823"/>
                </a:cubicBezTo>
                <a:cubicBezTo>
                  <a:pt x="319337" y="97823"/>
                  <a:pt x="325126" y="96080"/>
                  <a:pt x="329298" y="92596"/>
                </a:cubicBezTo>
                <a:cubicBezTo>
                  <a:pt x="333593" y="89048"/>
                  <a:pt x="335708" y="84132"/>
                  <a:pt x="335708" y="77972"/>
                </a:cubicBezTo>
                <a:cubicBezTo>
                  <a:pt x="335708" y="71998"/>
                  <a:pt x="333780" y="67393"/>
                  <a:pt x="329857" y="64095"/>
                </a:cubicBezTo>
                <a:cubicBezTo>
                  <a:pt x="326123" y="60673"/>
                  <a:pt x="320208" y="58992"/>
                  <a:pt x="312242" y="58992"/>
                </a:cubicBezTo>
                <a:lnTo>
                  <a:pt x="298483" y="58992"/>
                </a:lnTo>
                <a:close/>
                <a:moveTo>
                  <a:pt x="414890" y="110082"/>
                </a:moveTo>
                <a:cubicBezTo>
                  <a:pt x="404307" y="110082"/>
                  <a:pt x="395032" y="107904"/>
                  <a:pt x="387064" y="103486"/>
                </a:cubicBezTo>
                <a:cubicBezTo>
                  <a:pt x="379220" y="99129"/>
                  <a:pt x="373058" y="92844"/>
                  <a:pt x="368700" y="84693"/>
                </a:cubicBezTo>
                <a:cubicBezTo>
                  <a:pt x="364343" y="76416"/>
                  <a:pt x="362102" y="66584"/>
                  <a:pt x="362102" y="55134"/>
                </a:cubicBezTo>
                <a:cubicBezTo>
                  <a:pt x="362102" y="37897"/>
                  <a:pt x="366647" y="24455"/>
                  <a:pt x="375735" y="14810"/>
                </a:cubicBezTo>
                <a:cubicBezTo>
                  <a:pt x="384761" y="5040"/>
                  <a:pt x="397709" y="186"/>
                  <a:pt x="414579" y="186"/>
                </a:cubicBezTo>
                <a:cubicBezTo>
                  <a:pt x="420866" y="186"/>
                  <a:pt x="426841" y="871"/>
                  <a:pt x="432506" y="2240"/>
                </a:cubicBezTo>
                <a:cubicBezTo>
                  <a:pt x="438296" y="3547"/>
                  <a:pt x="443150" y="5414"/>
                  <a:pt x="447135" y="7902"/>
                </a:cubicBezTo>
                <a:lnTo>
                  <a:pt x="447135" y="21344"/>
                </a:lnTo>
                <a:cubicBezTo>
                  <a:pt x="442840" y="18669"/>
                  <a:pt x="437797" y="16615"/>
                  <a:pt x="432071" y="15121"/>
                </a:cubicBezTo>
                <a:cubicBezTo>
                  <a:pt x="426343" y="13628"/>
                  <a:pt x="420492" y="12881"/>
                  <a:pt x="414392" y="12881"/>
                </a:cubicBezTo>
                <a:cubicBezTo>
                  <a:pt x="401880" y="12881"/>
                  <a:pt x="392542" y="16366"/>
                  <a:pt x="386504" y="23459"/>
                </a:cubicBezTo>
                <a:cubicBezTo>
                  <a:pt x="380404" y="30554"/>
                  <a:pt x="377354" y="41071"/>
                  <a:pt x="377354" y="55134"/>
                </a:cubicBezTo>
                <a:cubicBezTo>
                  <a:pt x="377354" y="69260"/>
                  <a:pt x="380653" y="79839"/>
                  <a:pt x="387250" y="86933"/>
                </a:cubicBezTo>
                <a:cubicBezTo>
                  <a:pt x="393787" y="93902"/>
                  <a:pt x="403436" y="97387"/>
                  <a:pt x="416073" y="97387"/>
                </a:cubicBezTo>
                <a:cubicBezTo>
                  <a:pt x="428024" y="97387"/>
                  <a:pt x="438357" y="94089"/>
                  <a:pt x="447135" y="87555"/>
                </a:cubicBezTo>
                <a:lnTo>
                  <a:pt x="447135" y="100997"/>
                </a:lnTo>
                <a:cubicBezTo>
                  <a:pt x="443648" y="103734"/>
                  <a:pt x="439042" y="105974"/>
                  <a:pt x="433253" y="107717"/>
                </a:cubicBezTo>
                <a:cubicBezTo>
                  <a:pt x="427463" y="109273"/>
                  <a:pt x="421363" y="110082"/>
                  <a:pt x="414890" y="110082"/>
                </a:cubicBez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8" name="Полилиния 937">
            <a:extLst>
              <a:ext uri="{FF2B5EF4-FFF2-40B4-BE49-F238E27FC236}">
                <a16:creationId xmlns:a16="http://schemas.microsoft.com/office/drawing/2014/main" id="{5972E110-2268-235A-6EEB-70279DF14565}"/>
              </a:ext>
            </a:extLst>
          </p:cNvPr>
          <p:cNvSpPr/>
          <p:nvPr userDrawn="1"/>
        </p:nvSpPr>
        <p:spPr>
          <a:xfrm>
            <a:off x="6844904" y="8144980"/>
            <a:ext cx="2557159" cy="726227"/>
          </a:xfrm>
          <a:custGeom>
            <a:avLst/>
            <a:gdLst>
              <a:gd name="connsiteX0" fmla="*/ 2232 w 2191162"/>
              <a:gd name="connsiteY0" fmla="*/ 1622 h 622284"/>
              <a:gd name="connsiteX1" fmla="*/ 2193395 w 2191162"/>
              <a:gd name="connsiteY1" fmla="*/ 1622 h 622284"/>
              <a:gd name="connsiteX2" fmla="*/ 2193395 w 2191162"/>
              <a:gd name="connsiteY2" fmla="*/ 623906 h 622284"/>
              <a:gd name="connsiteX3" fmla="*/ 2232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622"/>
                </a:moveTo>
                <a:lnTo>
                  <a:pt x="2193395" y="1622"/>
                </a:lnTo>
                <a:lnTo>
                  <a:pt x="2193395" y="623906"/>
                </a:lnTo>
                <a:lnTo>
                  <a:pt x="2232" y="623906"/>
                </a:lnTo>
                <a:close/>
              </a:path>
            </a:pathLst>
          </a:custGeom>
          <a:solidFill>
            <a:srgbClr val="647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9" name="Полилиния 938">
            <a:extLst>
              <a:ext uri="{FF2B5EF4-FFF2-40B4-BE49-F238E27FC236}">
                <a16:creationId xmlns:a16="http://schemas.microsoft.com/office/drawing/2014/main" id="{FC336E25-5F29-5C69-C8A5-5CC93571968F}"/>
              </a:ext>
            </a:extLst>
          </p:cNvPr>
          <p:cNvSpPr/>
          <p:nvPr userDrawn="1"/>
        </p:nvSpPr>
        <p:spPr>
          <a:xfrm>
            <a:off x="6968113" y="8446726"/>
            <a:ext cx="684765" cy="128468"/>
          </a:xfrm>
          <a:custGeom>
            <a:avLst/>
            <a:gdLst>
              <a:gd name="connsiteX0" fmla="*/ 22099 w 586758"/>
              <a:gd name="connsiteY0" fmla="*/ 108588 h 110081"/>
              <a:gd name="connsiteX1" fmla="*/ 10147 w 586758"/>
              <a:gd name="connsiteY1" fmla="*/ 108588 h 110081"/>
              <a:gd name="connsiteX2" fmla="*/ 16435 w 586758"/>
              <a:gd name="connsiteY2" fmla="*/ 77661 h 110081"/>
              <a:gd name="connsiteX3" fmla="*/ 0 w 586758"/>
              <a:gd name="connsiteY3" fmla="*/ 77661 h 110081"/>
              <a:gd name="connsiteX4" fmla="*/ 0 w 586758"/>
              <a:gd name="connsiteY4" fmla="*/ 67206 h 110081"/>
              <a:gd name="connsiteX5" fmla="*/ 18675 w 586758"/>
              <a:gd name="connsiteY5" fmla="*/ 67206 h 110081"/>
              <a:gd name="connsiteX6" fmla="*/ 24216 w 586758"/>
              <a:gd name="connsiteY6" fmla="*/ 40012 h 110081"/>
              <a:gd name="connsiteX7" fmla="*/ 4047 w 586758"/>
              <a:gd name="connsiteY7" fmla="*/ 40012 h 110081"/>
              <a:gd name="connsiteX8" fmla="*/ 4047 w 586758"/>
              <a:gd name="connsiteY8" fmla="*/ 29559 h 110081"/>
              <a:gd name="connsiteX9" fmla="*/ 26269 w 586758"/>
              <a:gd name="connsiteY9" fmla="*/ 29559 h 110081"/>
              <a:gd name="connsiteX10" fmla="*/ 32121 w 586758"/>
              <a:gd name="connsiteY10" fmla="*/ 1493 h 110081"/>
              <a:gd name="connsiteX11" fmla="*/ 44073 w 586758"/>
              <a:gd name="connsiteY11" fmla="*/ 1493 h 110081"/>
              <a:gd name="connsiteX12" fmla="*/ 38222 w 586758"/>
              <a:gd name="connsiteY12" fmla="*/ 29559 h 110081"/>
              <a:gd name="connsiteX13" fmla="*/ 60630 w 586758"/>
              <a:gd name="connsiteY13" fmla="*/ 29559 h 110081"/>
              <a:gd name="connsiteX14" fmla="*/ 66481 w 586758"/>
              <a:gd name="connsiteY14" fmla="*/ 1493 h 110081"/>
              <a:gd name="connsiteX15" fmla="*/ 78434 w 586758"/>
              <a:gd name="connsiteY15" fmla="*/ 1493 h 110081"/>
              <a:gd name="connsiteX16" fmla="*/ 72583 w 586758"/>
              <a:gd name="connsiteY16" fmla="*/ 29559 h 110081"/>
              <a:gd name="connsiteX17" fmla="*/ 89328 w 586758"/>
              <a:gd name="connsiteY17" fmla="*/ 29559 h 110081"/>
              <a:gd name="connsiteX18" fmla="*/ 89328 w 586758"/>
              <a:gd name="connsiteY18" fmla="*/ 40012 h 110081"/>
              <a:gd name="connsiteX19" fmla="*/ 70529 w 586758"/>
              <a:gd name="connsiteY19" fmla="*/ 40012 h 110081"/>
              <a:gd name="connsiteX20" fmla="*/ 64988 w 586758"/>
              <a:gd name="connsiteY20" fmla="*/ 67206 h 110081"/>
              <a:gd name="connsiteX21" fmla="*/ 85281 w 586758"/>
              <a:gd name="connsiteY21" fmla="*/ 67206 h 110081"/>
              <a:gd name="connsiteX22" fmla="*/ 85281 w 586758"/>
              <a:gd name="connsiteY22" fmla="*/ 77661 h 110081"/>
              <a:gd name="connsiteX23" fmla="*/ 62747 w 586758"/>
              <a:gd name="connsiteY23" fmla="*/ 77661 h 110081"/>
              <a:gd name="connsiteX24" fmla="*/ 56460 w 586758"/>
              <a:gd name="connsiteY24" fmla="*/ 108588 h 110081"/>
              <a:gd name="connsiteX25" fmla="*/ 44509 w 586758"/>
              <a:gd name="connsiteY25" fmla="*/ 108588 h 110081"/>
              <a:gd name="connsiteX26" fmla="*/ 50796 w 586758"/>
              <a:gd name="connsiteY26" fmla="*/ 77661 h 110081"/>
              <a:gd name="connsiteX27" fmla="*/ 28386 w 586758"/>
              <a:gd name="connsiteY27" fmla="*/ 77661 h 110081"/>
              <a:gd name="connsiteX28" fmla="*/ 22099 w 586758"/>
              <a:gd name="connsiteY28" fmla="*/ 108588 h 110081"/>
              <a:gd name="connsiteX29" fmla="*/ 30626 w 586758"/>
              <a:gd name="connsiteY29" fmla="*/ 67206 h 110081"/>
              <a:gd name="connsiteX30" fmla="*/ 53036 w 586758"/>
              <a:gd name="connsiteY30" fmla="*/ 67206 h 110081"/>
              <a:gd name="connsiteX31" fmla="*/ 58577 w 586758"/>
              <a:gd name="connsiteY31" fmla="*/ 40012 h 110081"/>
              <a:gd name="connsiteX32" fmla="*/ 36167 w 586758"/>
              <a:gd name="connsiteY32" fmla="*/ 40012 h 110081"/>
              <a:gd name="connsiteX33" fmla="*/ 30626 w 586758"/>
              <a:gd name="connsiteY33" fmla="*/ 67206 h 110081"/>
              <a:gd name="connsiteX34" fmla="*/ 173239 w 586758"/>
              <a:gd name="connsiteY34" fmla="*/ 73491 h 110081"/>
              <a:gd name="connsiteX35" fmla="*/ 168508 w 586758"/>
              <a:gd name="connsiteY35" fmla="*/ 92782 h 110081"/>
              <a:gd name="connsiteX36" fmla="*/ 155809 w 586758"/>
              <a:gd name="connsiteY36" fmla="*/ 105601 h 110081"/>
              <a:gd name="connsiteX37" fmla="*/ 137695 w 586758"/>
              <a:gd name="connsiteY37" fmla="*/ 110082 h 110081"/>
              <a:gd name="connsiteX38" fmla="*/ 116033 w 586758"/>
              <a:gd name="connsiteY38" fmla="*/ 104108 h 110081"/>
              <a:gd name="connsiteX39" fmla="*/ 103955 w 586758"/>
              <a:gd name="connsiteY39" fmla="*/ 87555 h 110081"/>
              <a:gd name="connsiteX40" fmla="*/ 100221 w 586758"/>
              <a:gd name="connsiteY40" fmla="*/ 63161 h 110081"/>
              <a:gd name="connsiteX41" fmla="*/ 104703 w 586758"/>
              <a:gd name="connsiteY41" fmla="*/ 30181 h 110081"/>
              <a:gd name="connsiteX42" fmla="*/ 118709 w 586758"/>
              <a:gd name="connsiteY42" fmla="*/ 8089 h 110081"/>
              <a:gd name="connsiteX43" fmla="*/ 143235 w 586758"/>
              <a:gd name="connsiteY43" fmla="*/ 0 h 110081"/>
              <a:gd name="connsiteX44" fmla="*/ 165770 w 586758"/>
              <a:gd name="connsiteY44" fmla="*/ 5538 h 110081"/>
              <a:gd name="connsiteX45" fmla="*/ 165770 w 586758"/>
              <a:gd name="connsiteY45" fmla="*/ 18855 h 110081"/>
              <a:gd name="connsiteX46" fmla="*/ 143235 w 586758"/>
              <a:gd name="connsiteY46" fmla="*/ 12259 h 110081"/>
              <a:gd name="connsiteX47" fmla="*/ 127673 w 586758"/>
              <a:gd name="connsiteY47" fmla="*/ 17361 h 110081"/>
              <a:gd name="connsiteX48" fmla="*/ 117837 w 586758"/>
              <a:gd name="connsiteY48" fmla="*/ 31238 h 110081"/>
              <a:gd name="connsiteX49" fmla="*/ 113667 w 586758"/>
              <a:gd name="connsiteY49" fmla="*/ 50778 h 110081"/>
              <a:gd name="connsiteX50" fmla="*/ 124996 w 586758"/>
              <a:gd name="connsiteY50" fmla="*/ 40759 h 110081"/>
              <a:gd name="connsiteX51" fmla="*/ 139065 w 586758"/>
              <a:gd name="connsiteY51" fmla="*/ 37523 h 110081"/>
              <a:gd name="connsiteX52" fmla="*/ 156370 w 586758"/>
              <a:gd name="connsiteY52" fmla="*/ 41693 h 110081"/>
              <a:gd name="connsiteX53" fmla="*/ 168633 w 586758"/>
              <a:gd name="connsiteY53" fmla="*/ 53952 h 110081"/>
              <a:gd name="connsiteX54" fmla="*/ 173239 w 586758"/>
              <a:gd name="connsiteY54" fmla="*/ 73491 h 110081"/>
              <a:gd name="connsiteX55" fmla="*/ 137259 w 586758"/>
              <a:gd name="connsiteY55" fmla="*/ 98134 h 110081"/>
              <a:gd name="connsiteX56" fmla="*/ 148028 w 586758"/>
              <a:gd name="connsiteY56" fmla="*/ 95458 h 110081"/>
              <a:gd name="connsiteX57" fmla="*/ 155934 w 586758"/>
              <a:gd name="connsiteY57" fmla="*/ 87244 h 110081"/>
              <a:gd name="connsiteX58" fmla="*/ 159046 w 586758"/>
              <a:gd name="connsiteY58" fmla="*/ 73803 h 110081"/>
              <a:gd name="connsiteX59" fmla="*/ 156059 w 586758"/>
              <a:gd name="connsiteY59" fmla="*/ 60174 h 110081"/>
              <a:gd name="connsiteX60" fmla="*/ 148464 w 586758"/>
              <a:gd name="connsiteY60" fmla="*/ 51961 h 110081"/>
              <a:gd name="connsiteX61" fmla="*/ 138753 w 586758"/>
              <a:gd name="connsiteY61" fmla="*/ 49160 h 110081"/>
              <a:gd name="connsiteX62" fmla="*/ 122195 w 586758"/>
              <a:gd name="connsiteY62" fmla="*/ 55570 h 110081"/>
              <a:gd name="connsiteX63" fmla="*/ 115597 w 586758"/>
              <a:gd name="connsiteY63" fmla="*/ 74114 h 110081"/>
              <a:gd name="connsiteX64" fmla="*/ 121448 w 586758"/>
              <a:gd name="connsiteY64" fmla="*/ 91538 h 110081"/>
              <a:gd name="connsiteX65" fmla="*/ 137259 w 586758"/>
              <a:gd name="connsiteY65" fmla="*/ 98134 h 110081"/>
              <a:gd name="connsiteX66" fmla="*/ 240903 w 586758"/>
              <a:gd name="connsiteY66" fmla="*/ 108588 h 110081"/>
              <a:gd name="connsiteX67" fmla="*/ 227769 w 586758"/>
              <a:gd name="connsiteY67" fmla="*/ 108588 h 110081"/>
              <a:gd name="connsiteX68" fmla="*/ 227769 w 586758"/>
              <a:gd name="connsiteY68" fmla="*/ 83199 h 110081"/>
              <a:gd name="connsiteX69" fmla="*/ 181457 w 586758"/>
              <a:gd name="connsiteY69" fmla="*/ 83199 h 110081"/>
              <a:gd name="connsiteX70" fmla="*/ 181457 w 586758"/>
              <a:gd name="connsiteY70" fmla="*/ 73927 h 110081"/>
              <a:gd name="connsiteX71" fmla="*/ 223288 w 586758"/>
              <a:gd name="connsiteY71" fmla="*/ 1493 h 110081"/>
              <a:gd name="connsiteX72" fmla="*/ 240903 w 586758"/>
              <a:gd name="connsiteY72" fmla="*/ 1493 h 110081"/>
              <a:gd name="connsiteX73" fmla="*/ 240903 w 586758"/>
              <a:gd name="connsiteY73" fmla="*/ 71873 h 110081"/>
              <a:gd name="connsiteX74" fmla="*/ 255408 w 586758"/>
              <a:gd name="connsiteY74" fmla="*/ 71873 h 110081"/>
              <a:gd name="connsiteX75" fmla="*/ 255408 w 586758"/>
              <a:gd name="connsiteY75" fmla="*/ 83199 h 110081"/>
              <a:gd name="connsiteX76" fmla="*/ 240903 w 586758"/>
              <a:gd name="connsiteY76" fmla="*/ 83199 h 110081"/>
              <a:gd name="connsiteX77" fmla="*/ 240903 w 586758"/>
              <a:gd name="connsiteY77" fmla="*/ 108588 h 110081"/>
              <a:gd name="connsiteX78" fmla="*/ 195026 w 586758"/>
              <a:gd name="connsiteY78" fmla="*/ 71873 h 110081"/>
              <a:gd name="connsiteX79" fmla="*/ 227769 w 586758"/>
              <a:gd name="connsiteY79" fmla="*/ 71873 h 110081"/>
              <a:gd name="connsiteX80" fmla="*/ 227769 w 586758"/>
              <a:gd name="connsiteY80" fmla="*/ 16117 h 110081"/>
              <a:gd name="connsiteX81" fmla="*/ 195026 w 586758"/>
              <a:gd name="connsiteY81" fmla="*/ 71873 h 110081"/>
              <a:gd name="connsiteX82" fmla="*/ 335149 w 586758"/>
              <a:gd name="connsiteY82" fmla="*/ 13628 h 110081"/>
              <a:gd name="connsiteX83" fmla="*/ 289707 w 586758"/>
              <a:gd name="connsiteY83" fmla="*/ 108588 h 110081"/>
              <a:gd name="connsiteX84" fmla="*/ 275078 w 586758"/>
              <a:gd name="connsiteY84" fmla="*/ 108588 h 110081"/>
              <a:gd name="connsiteX85" fmla="*/ 320831 w 586758"/>
              <a:gd name="connsiteY85" fmla="*/ 14374 h 110081"/>
              <a:gd name="connsiteX86" fmla="*/ 266301 w 586758"/>
              <a:gd name="connsiteY86" fmla="*/ 14374 h 110081"/>
              <a:gd name="connsiteX87" fmla="*/ 266301 w 586758"/>
              <a:gd name="connsiteY87" fmla="*/ 1493 h 110081"/>
              <a:gd name="connsiteX88" fmla="*/ 335149 w 586758"/>
              <a:gd name="connsiteY88" fmla="*/ 1493 h 110081"/>
              <a:gd name="connsiteX89" fmla="*/ 335149 w 586758"/>
              <a:gd name="connsiteY89" fmla="*/ 13628 h 110081"/>
              <a:gd name="connsiteX90" fmla="*/ 366523 w 586758"/>
              <a:gd name="connsiteY90" fmla="*/ 58992 h 110081"/>
              <a:gd name="connsiteX91" fmla="*/ 366523 w 586758"/>
              <a:gd name="connsiteY91" fmla="*/ 46298 h 110081"/>
              <a:gd name="connsiteX92" fmla="*/ 380839 w 586758"/>
              <a:gd name="connsiteY92" fmla="*/ 46298 h 110081"/>
              <a:gd name="connsiteX93" fmla="*/ 394410 w 586758"/>
              <a:gd name="connsiteY93" fmla="*/ 41817 h 110081"/>
              <a:gd name="connsiteX94" fmla="*/ 399825 w 586758"/>
              <a:gd name="connsiteY94" fmla="*/ 28812 h 110081"/>
              <a:gd name="connsiteX95" fmla="*/ 394907 w 586758"/>
              <a:gd name="connsiteY95" fmla="*/ 16864 h 110081"/>
              <a:gd name="connsiteX96" fmla="*/ 380716 w 586758"/>
              <a:gd name="connsiteY96" fmla="*/ 12383 h 110081"/>
              <a:gd name="connsiteX97" fmla="*/ 366024 w 586758"/>
              <a:gd name="connsiteY97" fmla="*/ 15246 h 110081"/>
              <a:gd name="connsiteX98" fmla="*/ 352018 w 586758"/>
              <a:gd name="connsiteY98" fmla="*/ 24331 h 110081"/>
              <a:gd name="connsiteX99" fmla="*/ 352018 w 586758"/>
              <a:gd name="connsiteY99" fmla="*/ 9707 h 110081"/>
              <a:gd name="connsiteX100" fmla="*/ 380839 w 586758"/>
              <a:gd name="connsiteY100" fmla="*/ 0 h 110081"/>
              <a:gd name="connsiteX101" fmla="*/ 404867 w 586758"/>
              <a:gd name="connsiteY101" fmla="*/ 7779 h 110081"/>
              <a:gd name="connsiteX102" fmla="*/ 413706 w 586758"/>
              <a:gd name="connsiteY102" fmla="*/ 28065 h 110081"/>
              <a:gd name="connsiteX103" fmla="*/ 408042 w 586758"/>
              <a:gd name="connsiteY103" fmla="*/ 44244 h 110081"/>
              <a:gd name="connsiteX104" fmla="*/ 394722 w 586758"/>
              <a:gd name="connsiteY104" fmla="*/ 52147 h 110081"/>
              <a:gd name="connsiteX105" fmla="*/ 406237 w 586758"/>
              <a:gd name="connsiteY105" fmla="*/ 56441 h 110081"/>
              <a:gd name="connsiteX106" fmla="*/ 414890 w 586758"/>
              <a:gd name="connsiteY106" fmla="*/ 65153 h 110081"/>
              <a:gd name="connsiteX107" fmla="*/ 418188 w 586758"/>
              <a:gd name="connsiteY107" fmla="*/ 77661 h 110081"/>
              <a:gd name="connsiteX108" fmla="*/ 413272 w 586758"/>
              <a:gd name="connsiteY108" fmla="*/ 94836 h 110081"/>
              <a:gd name="connsiteX109" fmla="*/ 399638 w 586758"/>
              <a:gd name="connsiteY109" fmla="*/ 106224 h 110081"/>
              <a:gd name="connsiteX110" fmla="*/ 379781 w 586758"/>
              <a:gd name="connsiteY110" fmla="*/ 110082 h 110081"/>
              <a:gd name="connsiteX111" fmla="*/ 349342 w 586758"/>
              <a:gd name="connsiteY111" fmla="*/ 100997 h 110081"/>
              <a:gd name="connsiteX112" fmla="*/ 349342 w 586758"/>
              <a:gd name="connsiteY112" fmla="*/ 86062 h 110081"/>
              <a:gd name="connsiteX113" fmla="*/ 363036 w 586758"/>
              <a:gd name="connsiteY113" fmla="*/ 94711 h 110081"/>
              <a:gd name="connsiteX114" fmla="*/ 379968 w 586758"/>
              <a:gd name="connsiteY114" fmla="*/ 97823 h 110081"/>
              <a:gd name="connsiteX115" fmla="*/ 397273 w 586758"/>
              <a:gd name="connsiteY115" fmla="*/ 92596 h 110081"/>
              <a:gd name="connsiteX116" fmla="*/ 403685 w 586758"/>
              <a:gd name="connsiteY116" fmla="*/ 77972 h 110081"/>
              <a:gd name="connsiteX117" fmla="*/ 397895 w 586758"/>
              <a:gd name="connsiteY117" fmla="*/ 64095 h 110081"/>
              <a:gd name="connsiteX118" fmla="*/ 380217 w 586758"/>
              <a:gd name="connsiteY118" fmla="*/ 58992 h 110081"/>
              <a:gd name="connsiteX119" fmla="*/ 366523 w 586758"/>
              <a:gd name="connsiteY119" fmla="*/ 58992 h 110081"/>
              <a:gd name="connsiteX120" fmla="*/ 436366 w 586758"/>
              <a:gd name="connsiteY120" fmla="*/ 1493 h 110081"/>
              <a:gd name="connsiteX121" fmla="*/ 501789 w 586758"/>
              <a:gd name="connsiteY121" fmla="*/ 1493 h 110081"/>
              <a:gd name="connsiteX122" fmla="*/ 501789 w 586758"/>
              <a:gd name="connsiteY122" fmla="*/ 14374 h 110081"/>
              <a:gd name="connsiteX123" fmla="*/ 450434 w 586758"/>
              <a:gd name="connsiteY123" fmla="*/ 14374 h 110081"/>
              <a:gd name="connsiteX124" fmla="*/ 450434 w 586758"/>
              <a:gd name="connsiteY124" fmla="*/ 49907 h 110081"/>
              <a:gd name="connsiteX125" fmla="*/ 494071 w 586758"/>
              <a:gd name="connsiteY125" fmla="*/ 49907 h 110081"/>
              <a:gd name="connsiteX126" fmla="*/ 494071 w 586758"/>
              <a:gd name="connsiteY126" fmla="*/ 62601 h 110081"/>
              <a:gd name="connsiteX127" fmla="*/ 450434 w 586758"/>
              <a:gd name="connsiteY127" fmla="*/ 62601 h 110081"/>
              <a:gd name="connsiteX128" fmla="*/ 450434 w 586758"/>
              <a:gd name="connsiteY128" fmla="*/ 108588 h 110081"/>
              <a:gd name="connsiteX129" fmla="*/ 436366 w 586758"/>
              <a:gd name="connsiteY129" fmla="*/ 108588 h 110081"/>
              <a:gd name="connsiteX130" fmla="*/ 436366 w 586758"/>
              <a:gd name="connsiteY130" fmla="*/ 1493 h 110081"/>
              <a:gd name="connsiteX131" fmla="*/ 521273 w 586758"/>
              <a:gd name="connsiteY131" fmla="*/ 1493 h 110081"/>
              <a:gd name="connsiteX132" fmla="*/ 586759 w 586758"/>
              <a:gd name="connsiteY132" fmla="*/ 1493 h 110081"/>
              <a:gd name="connsiteX133" fmla="*/ 586759 w 586758"/>
              <a:gd name="connsiteY133" fmla="*/ 14374 h 110081"/>
              <a:gd name="connsiteX134" fmla="*/ 535341 w 586758"/>
              <a:gd name="connsiteY134" fmla="*/ 14374 h 110081"/>
              <a:gd name="connsiteX135" fmla="*/ 535341 w 586758"/>
              <a:gd name="connsiteY135" fmla="*/ 49907 h 110081"/>
              <a:gd name="connsiteX136" fmla="*/ 578978 w 586758"/>
              <a:gd name="connsiteY136" fmla="*/ 49907 h 110081"/>
              <a:gd name="connsiteX137" fmla="*/ 578978 w 586758"/>
              <a:gd name="connsiteY137" fmla="*/ 62601 h 110081"/>
              <a:gd name="connsiteX138" fmla="*/ 535341 w 586758"/>
              <a:gd name="connsiteY138" fmla="*/ 62601 h 110081"/>
              <a:gd name="connsiteX139" fmla="*/ 535341 w 586758"/>
              <a:gd name="connsiteY139" fmla="*/ 108588 h 110081"/>
              <a:gd name="connsiteX140" fmla="*/ 521273 w 586758"/>
              <a:gd name="connsiteY140" fmla="*/ 108588 h 110081"/>
              <a:gd name="connsiteX141" fmla="*/ 521273 w 586758"/>
              <a:gd name="connsiteY141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586758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73239" y="73491"/>
                </a:moveTo>
                <a:cubicBezTo>
                  <a:pt x="173239" y="80772"/>
                  <a:pt x="171683" y="87182"/>
                  <a:pt x="168508" y="92782"/>
                </a:cubicBezTo>
                <a:cubicBezTo>
                  <a:pt x="165396" y="98258"/>
                  <a:pt x="161163" y="102490"/>
                  <a:pt x="155809" y="105601"/>
                </a:cubicBezTo>
                <a:cubicBezTo>
                  <a:pt x="150394" y="108588"/>
                  <a:pt x="144355" y="110082"/>
                  <a:pt x="137695" y="110082"/>
                </a:cubicBezTo>
                <a:cubicBezTo>
                  <a:pt x="128730" y="110082"/>
                  <a:pt x="121510" y="108091"/>
                  <a:pt x="116033" y="104108"/>
                </a:cubicBezTo>
                <a:cubicBezTo>
                  <a:pt x="110554" y="100125"/>
                  <a:pt x="106509" y="94587"/>
                  <a:pt x="103955" y="87555"/>
                </a:cubicBezTo>
                <a:cubicBezTo>
                  <a:pt x="101466" y="80461"/>
                  <a:pt x="100221" y="72372"/>
                  <a:pt x="100221" y="63161"/>
                </a:cubicBezTo>
                <a:cubicBezTo>
                  <a:pt x="100221" y="50653"/>
                  <a:pt x="101715" y="39639"/>
                  <a:pt x="104703" y="30181"/>
                </a:cubicBezTo>
                <a:cubicBezTo>
                  <a:pt x="107753" y="20722"/>
                  <a:pt x="112484" y="13379"/>
                  <a:pt x="118709" y="8089"/>
                </a:cubicBezTo>
                <a:cubicBezTo>
                  <a:pt x="125121" y="2675"/>
                  <a:pt x="133276" y="0"/>
                  <a:pt x="143235" y="0"/>
                </a:cubicBezTo>
                <a:cubicBezTo>
                  <a:pt x="151826" y="0"/>
                  <a:pt x="159296" y="1866"/>
                  <a:pt x="165770" y="5538"/>
                </a:cubicBezTo>
                <a:lnTo>
                  <a:pt x="165770" y="18855"/>
                </a:lnTo>
                <a:cubicBezTo>
                  <a:pt x="159296" y="14437"/>
                  <a:pt x="151826" y="12259"/>
                  <a:pt x="143235" y="12259"/>
                </a:cubicBezTo>
                <a:cubicBezTo>
                  <a:pt x="137072" y="12259"/>
                  <a:pt x="131905" y="13939"/>
                  <a:pt x="127673" y="17361"/>
                </a:cubicBezTo>
                <a:cubicBezTo>
                  <a:pt x="123502" y="20722"/>
                  <a:pt x="120203" y="25327"/>
                  <a:pt x="117837" y="31238"/>
                </a:cubicBezTo>
                <a:cubicBezTo>
                  <a:pt x="115534" y="37026"/>
                  <a:pt x="114165" y="43498"/>
                  <a:pt x="113667" y="50778"/>
                </a:cubicBezTo>
                <a:cubicBezTo>
                  <a:pt x="116966" y="46298"/>
                  <a:pt x="120702" y="42999"/>
                  <a:pt x="124996" y="40759"/>
                </a:cubicBezTo>
                <a:cubicBezTo>
                  <a:pt x="129291" y="38581"/>
                  <a:pt x="133960" y="37523"/>
                  <a:pt x="139065" y="37523"/>
                </a:cubicBezTo>
                <a:cubicBezTo>
                  <a:pt x="145539" y="37523"/>
                  <a:pt x="151328" y="38893"/>
                  <a:pt x="156370" y="41693"/>
                </a:cubicBezTo>
                <a:cubicBezTo>
                  <a:pt x="161536" y="44493"/>
                  <a:pt x="165645" y="48538"/>
                  <a:pt x="168633" y="53952"/>
                </a:cubicBezTo>
                <a:cubicBezTo>
                  <a:pt x="171745" y="59179"/>
                  <a:pt x="173239" y="65713"/>
                  <a:pt x="173239" y="73491"/>
                </a:cubicBezTo>
                <a:close/>
                <a:moveTo>
                  <a:pt x="137259" y="98134"/>
                </a:moveTo>
                <a:cubicBezTo>
                  <a:pt x="141118" y="98134"/>
                  <a:pt x="144729" y="97263"/>
                  <a:pt x="148028" y="95458"/>
                </a:cubicBezTo>
                <a:cubicBezTo>
                  <a:pt x="151328" y="93529"/>
                  <a:pt x="153942" y="90791"/>
                  <a:pt x="155934" y="87244"/>
                </a:cubicBezTo>
                <a:cubicBezTo>
                  <a:pt x="158051" y="83635"/>
                  <a:pt x="159046" y="79154"/>
                  <a:pt x="159046" y="73803"/>
                </a:cubicBezTo>
                <a:cubicBezTo>
                  <a:pt x="159046" y="68389"/>
                  <a:pt x="158051" y="63908"/>
                  <a:pt x="156059" y="60174"/>
                </a:cubicBezTo>
                <a:cubicBezTo>
                  <a:pt x="154066" y="56503"/>
                  <a:pt x="151577" y="53765"/>
                  <a:pt x="148464" y="51961"/>
                </a:cubicBezTo>
                <a:cubicBezTo>
                  <a:pt x="145352" y="50093"/>
                  <a:pt x="142115" y="49160"/>
                  <a:pt x="138753" y="49160"/>
                </a:cubicBezTo>
                <a:cubicBezTo>
                  <a:pt x="132154" y="49160"/>
                  <a:pt x="126677" y="51276"/>
                  <a:pt x="122195" y="55570"/>
                </a:cubicBezTo>
                <a:cubicBezTo>
                  <a:pt x="117775" y="59739"/>
                  <a:pt x="115597" y="65900"/>
                  <a:pt x="115597" y="74114"/>
                </a:cubicBezTo>
                <a:cubicBezTo>
                  <a:pt x="115597" y="81270"/>
                  <a:pt x="117527" y="87058"/>
                  <a:pt x="121448" y="91538"/>
                </a:cubicBezTo>
                <a:cubicBezTo>
                  <a:pt x="125308" y="95956"/>
                  <a:pt x="130598" y="98134"/>
                  <a:pt x="137259" y="98134"/>
                </a:cubicBezTo>
                <a:close/>
                <a:moveTo>
                  <a:pt x="240903" y="108588"/>
                </a:moveTo>
                <a:lnTo>
                  <a:pt x="227769" y="108588"/>
                </a:lnTo>
                <a:lnTo>
                  <a:pt x="227769" y="83199"/>
                </a:lnTo>
                <a:lnTo>
                  <a:pt x="181457" y="83199"/>
                </a:lnTo>
                <a:lnTo>
                  <a:pt x="181457" y="73927"/>
                </a:lnTo>
                <a:lnTo>
                  <a:pt x="223288" y="1493"/>
                </a:lnTo>
                <a:lnTo>
                  <a:pt x="240903" y="1493"/>
                </a:lnTo>
                <a:lnTo>
                  <a:pt x="240903" y="71873"/>
                </a:lnTo>
                <a:lnTo>
                  <a:pt x="255408" y="71873"/>
                </a:lnTo>
                <a:lnTo>
                  <a:pt x="255408" y="83199"/>
                </a:lnTo>
                <a:lnTo>
                  <a:pt x="240903" y="83199"/>
                </a:lnTo>
                <a:lnTo>
                  <a:pt x="240903" y="108588"/>
                </a:lnTo>
                <a:close/>
                <a:moveTo>
                  <a:pt x="195026" y="71873"/>
                </a:moveTo>
                <a:lnTo>
                  <a:pt x="227769" y="71873"/>
                </a:lnTo>
                <a:lnTo>
                  <a:pt x="227769" y="16117"/>
                </a:lnTo>
                <a:lnTo>
                  <a:pt x="195026" y="71873"/>
                </a:lnTo>
                <a:close/>
                <a:moveTo>
                  <a:pt x="335149" y="13628"/>
                </a:moveTo>
                <a:lnTo>
                  <a:pt x="289707" y="108588"/>
                </a:lnTo>
                <a:lnTo>
                  <a:pt x="275078" y="108588"/>
                </a:lnTo>
                <a:lnTo>
                  <a:pt x="320831" y="14374"/>
                </a:lnTo>
                <a:lnTo>
                  <a:pt x="266301" y="14374"/>
                </a:lnTo>
                <a:lnTo>
                  <a:pt x="266301" y="1493"/>
                </a:lnTo>
                <a:lnTo>
                  <a:pt x="335149" y="1493"/>
                </a:lnTo>
                <a:lnTo>
                  <a:pt x="335149" y="13628"/>
                </a:lnTo>
                <a:close/>
                <a:moveTo>
                  <a:pt x="366523" y="58992"/>
                </a:moveTo>
                <a:lnTo>
                  <a:pt x="366523" y="46298"/>
                </a:lnTo>
                <a:lnTo>
                  <a:pt x="380839" y="46298"/>
                </a:lnTo>
                <a:cubicBezTo>
                  <a:pt x="386442" y="46298"/>
                  <a:pt x="390924" y="44804"/>
                  <a:pt x="394410" y="41817"/>
                </a:cubicBezTo>
                <a:cubicBezTo>
                  <a:pt x="398019" y="38768"/>
                  <a:pt x="399825" y="34412"/>
                  <a:pt x="399825" y="28812"/>
                </a:cubicBezTo>
                <a:cubicBezTo>
                  <a:pt x="399825" y="23771"/>
                  <a:pt x="398144" y="19788"/>
                  <a:pt x="394907" y="16864"/>
                </a:cubicBezTo>
                <a:cubicBezTo>
                  <a:pt x="391609" y="13877"/>
                  <a:pt x="386878" y="12383"/>
                  <a:pt x="380716" y="12383"/>
                </a:cubicBezTo>
                <a:cubicBezTo>
                  <a:pt x="375486" y="12383"/>
                  <a:pt x="370630" y="13379"/>
                  <a:pt x="366024" y="15246"/>
                </a:cubicBezTo>
                <a:cubicBezTo>
                  <a:pt x="361542" y="17113"/>
                  <a:pt x="356874" y="20162"/>
                  <a:pt x="352018" y="24331"/>
                </a:cubicBezTo>
                <a:lnTo>
                  <a:pt x="352018" y="9707"/>
                </a:lnTo>
                <a:cubicBezTo>
                  <a:pt x="359986" y="3235"/>
                  <a:pt x="369573" y="0"/>
                  <a:pt x="380839" y="0"/>
                </a:cubicBezTo>
                <a:cubicBezTo>
                  <a:pt x="391111" y="0"/>
                  <a:pt x="399141" y="2613"/>
                  <a:pt x="404867" y="7779"/>
                </a:cubicBezTo>
                <a:cubicBezTo>
                  <a:pt x="410781" y="12943"/>
                  <a:pt x="413706" y="19726"/>
                  <a:pt x="413706" y="28065"/>
                </a:cubicBezTo>
                <a:cubicBezTo>
                  <a:pt x="413706" y="34848"/>
                  <a:pt x="411840" y="40262"/>
                  <a:pt x="408042" y="44244"/>
                </a:cubicBezTo>
                <a:cubicBezTo>
                  <a:pt x="404369" y="48227"/>
                  <a:pt x="399887" y="50840"/>
                  <a:pt x="394722" y="52147"/>
                </a:cubicBezTo>
                <a:cubicBezTo>
                  <a:pt x="398892" y="52707"/>
                  <a:pt x="402750" y="54201"/>
                  <a:pt x="406237" y="56441"/>
                </a:cubicBezTo>
                <a:cubicBezTo>
                  <a:pt x="409848" y="58681"/>
                  <a:pt x="412711" y="61543"/>
                  <a:pt x="414890" y="65153"/>
                </a:cubicBezTo>
                <a:cubicBezTo>
                  <a:pt x="417068" y="68700"/>
                  <a:pt x="418188" y="72869"/>
                  <a:pt x="418188" y="77661"/>
                </a:cubicBezTo>
                <a:cubicBezTo>
                  <a:pt x="418188" y="84257"/>
                  <a:pt x="416569" y="89982"/>
                  <a:pt x="413272" y="94836"/>
                </a:cubicBezTo>
                <a:cubicBezTo>
                  <a:pt x="409972" y="99752"/>
                  <a:pt x="405428" y="103486"/>
                  <a:pt x="399638" y="106224"/>
                </a:cubicBezTo>
                <a:cubicBezTo>
                  <a:pt x="393974" y="108775"/>
                  <a:pt x="387375" y="110082"/>
                  <a:pt x="379781" y="110082"/>
                </a:cubicBezTo>
                <a:cubicBezTo>
                  <a:pt x="366647" y="110082"/>
                  <a:pt x="356500" y="107033"/>
                  <a:pt x="349342" y="100997"/>
                </a:cubicBezTo>
                <a:lnTo>
                  <a:pt x="349342" y="86062"/>
                </a:lnTo>
                <a:cubicBezTo>
                  <a:pt x="353076" y="89733"/>
                  <a:pt x="357682" y="92596"/>
                  <a:pt x="363036" y="94711"/>
                </a:cubicBezTo>
                <a:cubicBezTo>
                  <a:pt x="368451" y="96765"/>
                  <a:pt x="374054" y="97823"/>
                  <a:pt x="379968" y="97823"/>
                </a:cubicBezTo>
                <a:cubicBezTo>
                  <a:pt x="387313" y="97823"/>
                  <a:pt x="393103" y="96080"/>
                  <a:pt x="397273" y="92596"/>
                </a:cubicBezTo>
                <a:cubicBezTo>
                  <a:pt x="401568" y="89048"/>
                  <a:pt x="403685" y="84132"/>
                  <a:pt x="403685" y="77972"/>
                </a:cubicBezTo>
                <a:cubicBezTo>
                  <a:pt x="403685" y="71998"/>
                  <a:pt x="401755" y="67393"/>
                  <a:pt x="397895" y="64095"/>
                </a:cubicBezTo>
                <a:cubicBezTo>
                  <a:pt x="394098" y="60673"/>
                  <a:pt x="388185" y="58992"/>
                  <a:pt x="380217" y="58992"/>
                </a:cubicBezTo>
                <a:lnTo>
                  <a:pt x="366523" y="58992"/>
                </a:ln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21273" y="1493"/>
                </a:moveTo>
                <a:lnTo>
                  <a:pt x="586759" y="1493"/>
                </a:lnTo>
                <a:lnTo>
                  <a:pt x="586759" y="14374"/>
                </a:lnTo>
                <a:lnTo>
                  <a:pt x="535341" y="14374"/>
                </a:lnTo>
                <a:lnTo>
                  <a:pt x="535341" y="49907"/>
                </a:lnTo>
                <a:lnTo>
                  <a:pt x="578978" y="49907"/>
                </a:lnTo>
                <a:lnTo>
                  <a:pt x="578978" y="62601"/>
                </a:lnTo>
                <a:lnTo>
                  <a:pt x="535341" y="62601"/>
                </a:lnTo>
                <a:lnTo>
                  <a:pt x="535341" y="108588"/>
                </a:lnTo>
                <a:lnTo>
                  <a:pt x="521273" y="108588"/>
                </a:lnTo>
                <a:lnTo>
                  <a:pt x="52127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0" name="Полилиния 939">
            <a:extLst>
              <a:ext uri="{FF2B5EF4-FFF2-40B4-BE49-F238E27FC236}">
                <a16:creationId xmlns:a16="http://schemas.microsoft.com/office/drawing/2014/main" id="{DC60990B-9EB2-5857-6970-51D2BA847D6D}"/>
              </a:ext>
            </a:extLst>
          </p:cNvPr>
          <p:cNvSpPr/>
          <p:nvPr userDrawn="1"/>
        </p:nvSpPr>
        <p:spPr>
          <a:xfrm>
            <a:off x="6844904" y="8871205"/>
            <a:ext cx="2557159" cy="726227"/>
          </a:xfrm>
          <a:custGeom>
            <a:avLst/>
            <a:gdLst>
              <a:gd name="connsiteX0" fmla="*/ 2232 w 2191162"/>
              <a:gd name="connsiteY0" fmla="*/ 1722 h 622284"/>
              <a:gd name="connsiteX1" fmla="*/ 2193395 w 2191162"/>
              <a:gd name="connsiteY1" fmla="*/ 1722 h 622284"/>
              <a:gd name="connsiteX2" fmla="*/ 2193395 w 2191162"/>
              <a:gd name="connsiteY2" fmla="*/ 624006 h 622284"/>
              <a:gd name="connsiteX3" fmla="*/ 2232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722"/>
                </a:moveTo>
                <a:lnTo>
                  <a:pt x="2193395" y="1722"/>
                </a:lnTo>
                <a:lnTo>
                  <a:pt x="2193395" y="624006"/>
                </a:lnTo>
                <a:lnTo>
                  <a:pt x="2232" y="624006"/>
                </a:lnTo>
                <a:close/>
              </a:path>
            </a:pathLst>
          </a:custGeom>
          <a:solidFill>
            <a:srgbClr val="8C9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1" name="Полилиния 940">
            <a:extLst>
              <a:ext uri="{FF2B5EF4-FFF2-40B4-BE49-F238E27FC236}">
                <a16:creationId xmlns:a16="http://schemas.microsoft.com/office/drawing/2014/main" id="{4E3D1D93-D6E1-62F8-0DE4-13E2D2002309}"/>
              </a:ext>
            </a:extLst>
          </p:cNvPr>
          <p:cNvSpPr/>
          <p:nvPr userDrawn="1"/>
        </p:nvSpPr>
        <p:spPr>
          <a:xfrm>
            <a:off x="6968113" y="9172951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36823 w 619003"/>
              <a:gd name="connsiteY34" fmla="*/ 110082 h 110081"/>
              <a:gd name="connsiteX35" fmla="*/ 118148 w 619003"/>
              <a:gd name="connsiteY35" fmla="*/ 106473 h 110081"/>
              <a:gd name="connsiteX36" fmla="*/ 105449 w 619003"/>
              <a:gd name="connsiteY36" fmla="*/ 96205 h 110081"/>
              <a:gd name="connsiteX37" fmla="*/ 100781 w 619003"/>
              <a:gd name="connsiteY37" fmla="*/ 79777 h 110081"/>
              <a:gd name="connsiteX38" fmla="*/ 106197 w 619003"/>
              <a:gd name="connsiteY38" fmla="*/ 62291 h 110081"/>
              <a:gd name="connsiteX39" fmla="*/ 120949 w 619003"/>
              <a:gd name="connsiteY39" fmla="*/ 51711 h 110081"/>
              <a:gd name="connsiteX40" fmla="*/ 108998 w 619003"/>
              <a:gd name="connsiteY40" fmla="*/ 42564 h 110081"/>
              <a:gd name="connsiteX41" fmla="*/ 104703 w 619003"/>
              <a:gd name="connsiteY41" fmla="*/ 27504 h 110081"/>
              <a:gd name="connsiteX42" fmla="*/ 108873 w 619003"/>
              <a:gd name="connsiteY42" fmla="*/ 12570 h 110081"/>
              <a:gd name="connsiteX43" fmla="*/ 120390 w 619003"/>
              <a:gd name="connsiteY43" fmla="*/ 3298 h 110081"/>
              <a:gd name="connsiteX44" fmla="*/ 136823 w 619003"/>
              <a:gd name="connsiteY44" fmla="*/ 186 h 110081"/>
              <a:gd name="connsiteX45" fmla="*/ 152946 w 619003"/>
              <a:gd name="connsiteY45" fmla="*/ 3298 h 110081"/>
              <a:gd name="connsiteX46" fmla="*/ 164276 w 619003"/>
              <a:gd name="connsiteY46" fmla="*/ 12259 h 110081"/>
              <a:gd name="connsiteX47" fmla="*/ 168633 w 619003"/>
              <a:gd name="connsiteY47" fmla="*/ 27194 h 110081"/>
              <a:gd name="connsiteX48" fmla="*/ 164151 w 619003"/>
              <a:gd name="connsiteY48" fmla="*/ 42439 h 110081"/>
              <a:gd name="connsiteX49" fmla="*/ 152323 w 619003"/>
              <a:gd name="connsiteY49" fmla="*/ 51711 h 110081"/>
              <a:gd name="connsiteX50" fmla="*/ 166703 w 619003"/>
              <a:gd name="connsiteY50" fmla="*/ 61855 h 110081"/>
              <a:gd name="connsiteX51" fmla="*/ 172242 w 619003"/>
              <a:gd name="connsiteY51" fmla="*/ 79341 h 110081"/>
              <a:gd name="connsiteX52" fmla="*/ 167574 w 619003"/>
              <a:gd name="connsiteY52" fmla="*/ 95893 h 110081"/>
              <a:gd name="connsiteX53" fmla="*/ 154876 w 619003"/>
              <a:gd name="connsiteY53" fmla="*/ 106473 h 110081"/>
              <a:gd name="connsiteX54" fmla="*/ 136823 w 619003"/>
              <a:gd name="connsiteY54" fmla="*/ 110082 h 110081"/>
              <a:gd name="connsiteX55" fmla="*/ 136823 w 619003"/>
              <a:gd name="connsiteY55" fmla="*/ 46298 h 110081"/>
              <a:gd name="connsiteX56" fmla="*/ 149834 w 619003"/>
              <a:gd name="connsiteY56" fmla="*/ 41817 h 110081"/>
              <a:gd name="connsiteX57" fmla="*/ 155063 w 619003"/>
              <a:gd name="connsiteY57" fmla="*/ 29122 h 110081"/>
              <a:gd name="connsiteX58" fmla="*/ 149834 w 619003"/>
              <a:gd name="connsiteY58" fmla="*/ 16615 h 110081"/>
              <a:gd name="connsiteX59" fmla="*/ 136823 w 619003"/>
              <a:gd name="connsiteY59" fmla="*/ 11947 h 110081"/>
              <a:gd name="connsiteX60" fmla="*/ 123502 w 619003"/>
              <a:gd name="connsiteY60" fmla="*/ 16615 h 110081"/>
              <a:gd name="connsiteX61" fmla="*/ 118273 w 619003"/>
              <a:gd name="connsiteY61" fmla="*/ 29122 h 110081"/>
              <a:gd name="connsiteX62" fmla="*/ 123502 w 619003"/>
              <a:gd name="connsiteY62" fmla="*/ 41817 h 110081"/>
              <a:gd name="connsiteX63" fmla="*/ 136823 w 619003"/>
              <a:gd name="connsiteY63" fmla="*/ 46298 h 110081"/>
              <a:gd name="connsiteX64" fmla="*/ 136823 w 619003"/>
              <a:gd name="connsiteY64" fmla="*/ 98258 h 110081"/>
              <a:gd name="connsiteX65" fmla="*/ 152198 w 619003"/>
              <a:gd name="connsiteY65" fmla="*/ 92907 h 110081"/>
              <a:gd name="connsiteX66" fmla="*/ 158486 w 619003"/>
              <a:gd name="connsiteY66" fmla="*/ 77536 h 110081"/>
              <a:gd name="connsiteX67" fmla="*/ 152198 w 619003"/>
              <a:gd name="connsiteY67" fmla="*/ 62291 h 110081"/>
              <a:gd name="connsiteX68" fmla="*/ 136823 w 619003"/>
              <a:gd name="connsiteY68" fmla="*/ 56752 h 110081"/>
              <a:gd name="connsiteX69" fmla="*/ 120826 w 619003"/>
              <a:gd name="connsiteY69" fmla="*/ 62291 h 110081"/>
              <a:gd name="connsiteX70" fmla="*/ 114539 w 619003"/>
              <a:gd name="connsiteY70" fmla="*/ 77536 h 110081"/>
              <a:gd name="connsiteX71" fmla="*/ 120826 w 619003"/>
              <a:gd name="connsiteY71" fmla="*/ 92907 h 110081"/>
              <a:gd name="connsiteX72" fmla="*/ 136823 w 619003"/>
              <a:gd name="connsiteY72" fmla="*/ 98258 h 110081"/>
              <a:gd name="connsiteX73" fmla="*/ 236421 w 619003"/>
              <a:gd name="connsiteY73" fmla="*/ 110082 h 110081"/>
              <a:gd name="connsiteX74" fmla="*/ 208659 w 619003"/>
              <a:gd name="connsiteY74" fmla="*/ 103486 h 110081"/>
              <a:gd name="connsiteX75" fmla="*/ 190233 w 619003"/>
              <a:gd name="connsiteY75" fmla="*/ 84693 h 110081"/>
              <a:gd name="connsiteX76" fmla="*/ 183697 w 619003"/>
              <a:gd name="connsiteY76" fmla="*/ 55134 h 110081"/>
              <a:gd name="connsiteX77" fmla="*/ 197267 w 619003"/>
              <a:gd name="connsiteY77" fmla="*/ 14810 h 110081"/>
              <a:gd name="connsiteX78" fmla="*/ 236110 w 619003"/>
              <a:gd name="connsiteY78" fmla="*/ 186 h 110081"/>
              <a:gd name="connsiteX79" fmla="*/ 254038 w 619003"/>
              <a:gd name="connsiteY79" fmla="*/ 2240 h 110081"/>
              <a:gd name="connsiteX80" fmla="*/ 268667 w 619003"/>
              <a:gd name="connsiteY80" fmla="*/ 7902 h 110081"/>
              <a:gd name="connsiteX81" fmla="*/ 268667 w 619003"/>
              <a:gd name="connsiteY81" fmla="*/ 21344 h 110081"/>
              <a:gd name="connsiteX82" fmla="*/ 253602 w 619003"/>
              <a:gd name="connsiteY82" fmla="*/ 15121 h 110081"/>
              <a:gd name="connsiteX83" fmla="*/ 235987 w 619003"/>
              <a:gd name="connsiteY83" fmla="*/ 12881 h 110081"/>
              <a:gd name="connsiteX84" fmla="*/ 208036 w 619003"/>
              <a:gd name="connsiteY84" fmla="*/ 23459 h 110081"/>
              <a:gd name="connsiteX85" fmla="*/ 198947 w 619003"/>
              <a:gd name="connsiteY85" fmla="*/ 55134 h 110081"/>
              <a:gd name="connsiteX86" fmla="*/ 208783 w 619003"/>
              <a:gd name="connsiteY86" fmla="*/ 86933 h 110081"/>
              <a:gd name="connsiteX87" fmla="*/ 237604 w 619003"/>
              <a:gd name="connsiteY87" fmla="*/ 97387 h 110081"/>
              <a:gd name="connsiteX88" fmla="*/ 268667 w 619003"/>
              <a:gd name="connsiteY88" fmla="*/ 87555 h 110081"/>
              <a:gd name="connsiteX89" fmla="*/ 268667 w 619003"/>
              <a:gd name="connsiteY89" fmla="*/ 100997 h 110081"/>
              <a:gd name="connsiteX90" fmla="*/ 254785 w 619003"/>
              <a:gd name="connsiteY90" fmla="*/ 107717 h 110081"/>
              <a:gd name="connsiteX91" fmla="*/ 236421 w 619003"/>
              <a:gd name="connsiteY91" fmla="*/ 110082 h 110081"/>
              <a:gd name="connsiteX92" fmla="*/ 282549 w 619003"/>
              <a:gd name="connsiteY92" fmla="*/ 35844 h 110081"/>
              <a:gd name="connsiteX93" fmla="*/ 287218 w 619003"/>
              <a:gd name="connsiteY93" fmla="*/ 17051 h 110081"/>
              <a:gd name="connsiteX94" fmla="*/ 300040 w 619003"/>
              <a:gd name="connsiteY94" fmla="*/ 4480 h 110081"/>
              <a:gd name="connsiteX95" fmla="*/ 318155 w 619003"/>
              <a:gd name="connsiteY95" fmla="*/ 0 h 110081"/>
              <a:gd name="connsiteX96" fmla="*/ 339818 w 619003"/>
              <a:gd name="connsiteY96" fmla="*/ 5849 h 110081"/>
              <a:gd name="connsiteX97" fmla="*/ 351894 w 619003"/>
              <a:gd name="connsiteY97" fmla="*/ 21842 h 110081"/>
              <a:gd name="connsiteX98" fmla="*/ 355629 w 619003"/>
              <a:gd name="connsiteY98" fmla="*/ 45426 h 110081"/>
              <a:gd name="connsiteX99" fmla="*/ 351023 w 619003"/>
              <a:gd name="connsiteY99" fmla="*/ 80088 h 110081"/>
              <a:gd name="connsiteX100" fmla="*/ 336643 w 619003"/>
              <a:gd name="connsiteY100" fmla="*/ 102303 h 110081"/>
              <a:gd name="connsiteX101" fmla="*/ 312179 w 619003"/>
              <a:gd name="connsiteY101" fmla="*/ 110082 h 110081"/>
              <a:gd name="connsiteX102" fmla="*/ 289146 w 619003"/>
              <a:gd name="connsiteY102" fmla="*/ 104543 h 110081"/>
              <a:gd name="connsiteX103" fmla="*/ 289146 w 619003"/>
              <a:gd name="connsiteY103" fmla="*/ 91413 h 110081"/>
              <a:gd name="connsiteX104" fmla="*/ 312179 w 619003"/>
              <a:gd name="connsiteY104" fmla="*/ 98010 h 110081"/>
              <a:gd name="connsiteX105" fmla="*/ 327679 w 619003"/>
              <a:gd name="connsiteY105" fmla="*/ 92907 h 110081"/>
              <a:gd name="connsiteX106" fmla="*/ 337389 w 619003"/>
              <a:gd name="connsiteY106" fmla="*/ 79154 h 110081"/>
              <a:gd name="connsiteX107" fmla="*/ 341748 w 619003"/>
              <a:gd name="connsiteY107" fmla="*/ 59739 h 110081"/>
              <a:gd name="connsiteX108" fmla="*/ 330667 w 619003"/>
              <a:gd name="connsiteY108" fmla="*/ 68389 h 110081"/>
              <a:gd name="connsiteX109" fmla="*/ 316786 w 619003"/>
              <a:gd name="connsiteY109" fmla="*/ 71127 h 110081"/>
              <a:gd name="connsiteX110" fmla="*/ 299480 w 619003"/>
              <a:gd name="connsiteY110" fmla="*/ 67082 h 110081"/>
              <a:gd name="connsiteX111" fmla="*/ 287031 w 619003"/>
              <a:gd name="connsiteY111" fmla="*/ 55134 h 110081"/>
              <a:gd name="connsiteX112" fmla="*/ 282549 w 619003"/>
              <a:gd name="connsiteY112" fmla="*/ 35844 h 110081"/>
              <a:gd name="connsiteX113" fmla="*/ 318590 w 619003"/>
              <a:gd name="connsiteY113" fmla="*/ 12134 h 110081"/>
              <a:gd name="connsiteX114" fmla="*/ 307821 w 619003"/>
              <a:gd name="connsiteY114" fmla="*/ 14810 h 110081"/>
              <a:gd name="connsiteX115" fmla="*/ 299730 w 619003"/>
              <a:gd name="connsiteY115" fmla="*/ 22589 h 110081"/>
              <a:gd name="connsiteX116" fmla="*/ 296740 w 619003"/>
              <a:gd name="connsiteY116" fmla="*/ 35532 h 110081"/>
              <a:gd name="connsiteX117" fmla="*/ 299730 w 619003"/>
              <a:gd name="connsiteY117" fmla="*/ 48725 h 110081"/>
              <a:gd name="connsiteX118" fmla="*/ 307386 w 619003"/>
              <a:gd name="connsiteY118" fmla="*/ 56752 h 110081"/>
              <a:gd name="connsiteX119" fmla="*/ 317096 w 619003"/>
              <a:gd name="connsiteY119" fmla="*/ 59428 h 110081"/>
              <a:gd name="connsiteX120" fmla="*/ 333530 w 619003"/>
              <a:gd name="connsiteY120" fmla="*/ 53329 h 110081"/>
              <a:gd name="connsiteX121" fmla="*/ 340254 w 619003"/>
              <a:gd name="connsiteY121" fmla="*/ 35283 h 110081"/>
              <a:gd name="connsiteX122" fmla="*/ 334401 w 619003"/>
              <a:gd name="connsiteY122" fmla="*/ 18544 h 110081"/>
              <a:gd name="connsiteX123" fmla="*/ 318590 w 619003"/>
              <a:gd name="connsiteY123" fmla="*/ 12134 h 110081"/>
              <a:gd name="connsiteX124" fmla="*/ 372311 w 619003"/>
              <a:gd name="connsiteY124" fmla="*/ 1493 h 110081"/>
              <a:gd name="connsiteX125" fmla="*/ 408665 w 619003"/>
              <a:gd name="connsiteY125" fmla="*/ 1493 h 110081"/>
              <a:gd name="connsiteX126" fmla="*/ 435369 w 619003"/>
              <a:gd name="connsiteY126" fmla="*/ 7467 h 110081"/>
              <a:gd name="connsiteX127" fmla="*/ 444644 w 619003"/>
              <a:gd name="connsiteY127" fmla="*/ 27629 h 110081"/>
              <a:gd name="connsiteX128" fmla="*/ 438793 w 619003"/>
              <a:gd name="connsiteY128" fmla="*/ 45116 h 110081"/>
              <a:gd name="connsiteX129" fmla="*/ 423293 w 619003"/>
              <a:gd name="connsiteY129" fmla="*/ 53018 h 110081"/>
              <a:gd name="connsiteX130" fmla="*/ 442092 w 619003"/>
              <a:gd name="connsiteY130" fmla="*/ 60361 h 110081"/>
              <a:gd name="connsiteX131" fmla="*/ 448504 w 619003"/>
              <a:gd name="connsiteY131" fmla="*/ 77661 h 110081"/>
              <a:gd name="connsiteX132" fmla="*/ 443275 w 619003"/>
              <a:gd name="connsiteY132" fmla="*/ 95583 h 110081"/>
              <a:gd name="connsiteX133" fmla="*/ 428958 w 619003"/>
              <a:gd name="connsiteY133" fmla="*/ 105601 h 110081"/>
              <a:gd name="connsiteX134" fmla="*/ 408354 w 619003"/>
              <a:gd name="connsiteY134" fmla="*/ 108588 h 110081"/>
              <a:gd name="connsiteX135" fmla="*/ 372311 w 619003"/>
              <a:gd name="connsiteY135" fmla="*/ 108588 h 110081"/>
              <a:gd name="connsiteX136" fmla="*/ 372311 w 619003"/>
              <a:gd name="connsiteY136" fmla="*/ 1493 h 110081"/>
              <a:gd name="connsiteX137" fmla="*/ 407606 w 619003"/>
              <a:gd name="connsiteY137" fmla="*/ 47231 h 110081"/>
              <a:gd name="connsiteX138" fmla="*/ 424041 w 619003"/>
              <a:gd name="connsiteY138" fmla="*/ 42751 h 110081"/>
              <a:gd name="connsiteX139" fmla="*/ 430452 w 619003"/>
              <a:gd name="connsiteY139" fmla="*/ 28376 h 110081"/>
              <a:gd name="connsiteX140" fmla="*/ 424787 w 619003"/>
              <a:gd name="connsiteY140" fmla="*/ 17361 h 110081"/>
              <a:gd name="connsiteX141" fmla="*/ 408665 w 619003"/>
              <a:gd name="connsiteY141" fmla="*/ 14374 h 110081"/>
              <a:gd name="connsiteX142" fmla="*/ 386380 w 619003"/>
              <a:gd name="connsiteY142" fmla="*/ 14374 h 110081"/>
              <a:gd name="connsiteX143" fmla="*/ 386380 w 619003"/>
              <a:gd name="connsiteY143" fmla="*/ 47231 h 110081"/>
              <a:gd name="connsiteX144" fmla="*/ 407606 w 619003"/>
              <a:gd name="connsiteY144" fmla="*/ 47231 h 110081"/>
              <a:gd name="connsiteX145" fmla="*/ 408354 w 619003"/>
              <a:gd name="connsiteY145" fmla="*/ 95893 h 110081"/>
              <a:gd name="connsiteX146" fmla="*/ 426717 w 619003"/>
              <a:gd name="connsiteY146" fmla="*/ 92035 h 110081"/>
              <a:gd name="connsiteX147" fmla="*/ 433750 w 619003"/>
              <a:gd name="connsiteY147" fmla="*/ 77972 h 110081"/>
              <a:gd name="connsiteX148" fmla="*/ 427153 w 619003"/>
              <a:gd name="connsiteY148" fmla="*/ 63908 h 110081"/>
              <a:gd name="connsiteX149" fmla="*/ 406673 w 619003"/>
              <a:gd name="connsiteY149" fmla="*/ 59926 h 110081"/>
              <a:gd name="connsiteX150" fmla="*/ 386380 w 619003"/>
              <a:gd name="connsiteY150" fmla="*/ 59926 h 110081"/>
              <a:gd name="connsiteX151" fmla="*/ 386380 w 619003"/>
              <a:gd name="connsiteY151" fmla="*/ 95893 h 110081"/>
              <a:gd name="connsiteX152" fmla="*/ 408354 w 619003"/>
              <a:gd name="connsiteY152" fmla="*/ 95893 h 110081"/>
              <a:gd name="connsiteX153" fmla="*/ 468610 w 619003"/>
              <a:gd name="connsiteY153" fmla="*/ 1493 h 110081"/>
              <a:gd name="connsiteX154" fmla="*/ 534034 w 619003"/>
              <a:gd name="connsiteY154" fmla="*/ 1493 h 110081"/>
              <a:gd name="connsiteX155" fmla="*/ 534034 w 619003"/>
              <a:gd name="connsiteY155" fmla="*/ 14374 h 110081"/>
              <a:gd name="connsiteX156" fmla="*/ 482679 w 619003"/>
              <a:gd name="connsiteY156" fmla="*/ 14374 h 110081"/>
              <a:gd name="connsiteX157" fmla="*/ 482679 w 619003"/>
              <a:gd name="connsiteY157" fmla="*/ 49907 h 110081"/>
              <a:gd name="connsiteX158" fmla="*/ 526315 w 619003"/>
              <a:gd name="connsiteY158" fmla="*/ 49907 h 110081"/>
              <a:gd name="connsiteX159" fmla="*/ 526315 w 619003"/>
              <a:gd name="connsiteY159" fmla="*/ 62601 h 110081"/>
              <a:gd name="connsiteX160" fmla="*/ 482679 w 619003"/>
              <a:gd name="connsiteY160" fmla="*/ 62601 h 110081"/>
              <a:gd name="connsiteX161" fmla="*/ 482679 w 619003"/>
              <a:gd name="connsiteY161" fmla="*/ 108588 h 110081"/>
              <a:gd name="connsiteX162" fmla="*/ 468610 w 619003"/>
              <a:gd name="connsiteY162" fmla="*/ 108588 h 110081"/>
              <a:gd name="connsiteX163" fmla="*/ 468610 w 619003"/>
              <a:gd name="connsiteY163" fmla="*/ 1493 h 110081"/>
              <a:gd name="connsiteX164" fmla="*/ 553517 w 619003"/>
              <a:gd name="connsiteY164" fmla="*/ 1493 h 110081"/>
              <a:gd name="connsiteX165" fmla="*/ 619003 w 619003"/>
              <a:gd name="connsiteY165" fmla="*/ 1493 h 110081"/>
              <a:gd name="connsiteX166" fmla="*/ 619003 w 619003"/>
              <a:gd name="connsiteY166" fmla="*/ 14374 h 110081"/>
              <a:gd name="connsiteX167" fmla="*/ 567586 w 619003"/>
              <a:gd name="connsiteY167" fmla="*/ 14374 h 110081"/>
              <a:gd name="connsiteX168" fmla="*/ 567586 w 619003"/>
              <a:gd name="connsiteY168" fmla="*/ 49907 h 110081"/>
              <a:gd name="connsiteX169" fmla="*/ 611222 w 619003"/>
              <a:gd name="connsiteY169" fmla="*/ 49907 h 110081"/>
              <a:gd name="connsiteX170" fmla="*/ 611222 w 619003"/>
              <a:gd name="connsiteY170" fmla="*/ 62601 h 110081"/>
              <a:gd name="connsiteX171" fmla="*/ 567586 w 619003"/>
              <a:gd name="connsiteY171" fmla="*/ 62601 h 110081"/>
              <a:gd name="connsiteX172" fmla="*/ 567586 w 619003"/>
              <a:gd name="connsiteY172" fmla="*/ 108588 h 110081"/>
              <a:gd name="connsiteX173" fmla="*/ 553517 w 619003"/>
              <a:gd name="connsiteY173" fmla="*/ 108588 h 110081"/>
              <a:gd name="connsiteX174" fmla="*/ 553517 w 619003"/>
              <a:gd name="connsiteY17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2" y="110082"/>
                  <a:pt x="123627" y="108900"/>
                  <a:pt x="118148" y="106473"/>
                </a:cubicBezTo>
                <a:cubicBezTo>
                  <a:pt x="112734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7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1" y="49720"/>
                  <a:pt x="111986" y="46671"/>
                  <a:pt x="108998" y="42564"/>
                </a:cubicBezTo>
                <a:cubicBezTo>
                  <a:pt x="106135" y="38519"/>
                  <a:pt x="104703" y="33479"/>
                  <a:pt x="104703" y="27504"/>
                </a:cubicBezTo>
                <a:cubicBezTo>
                  <a:pt x="104703" y="21593"/>
                  <a:pt x="106072" y="16615"/>
                  <a:pt x="108873" y="12570"/>
                </a:cubicBezTo>
                <a:cubicBezTo>
                  <a:pt x="111674" y="8463"/>
                  <a:pt x="115472" y="5414"/>
                  <a:pt x="120390" y="3298"/>
                </a:cubicBezTo>
                <a:cubicBezTo>
                  <a:pt x="125246" y="1182"/>
                  <a:pt x="130723" y="186"/>
                  <a:pt x="136823" y="186"/>
                </a:cubicBezTo>
                <a:cubicBezTo>
                  <a:pt x="142799" y="186"/>
                  <a:pt x="148153" y="1182"/>
                  <a:pt x="152946" y="3298"/>
                </a:cubicBezTo>
                <a:cubicBezTo>
                  <a:pt x="157739" y="5289"/>
                  <a:pt x="161536" y="8276"/>
                  <a:pt x="164276" y="12259"/>
                </a:cubicBezTo>
                <a:cubicBezTo>
                  <a:pt x="167201" y="16242"/>
                  <a:pt x="168633" y="21219"/>
                  <a:pt x="168633" y="27194"/>
                </a:cubicBezTo>
                <a:cubicBezTo>
                  <a:pt x="168633" y="33292"/>
                  <a:pt x="167139" y="38332"/>
                  <a:pt x="164151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6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6" y="106473"/>
                </a:cubicBezTo>
                <a:cubicBezTo>
                  <a:pt x="149584" y="108900"/>
                  <a:pt x="143609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5" y="46298"/>
                  <a:pt x="146410" y="44804"/>
                  <a:pt x="149834" y="41817"/>
                </a:cubicBezTo>
                <a:cubicBezTo>
                  <a:pt x="153320" y="38768"/>
                  <a:pt x="155063" y="34536"/>
                  <a:pt x="155063" y="29122"/>
                </a:cubicBezTo>
                <a:cubicBezTo>
                  <a:pt x="155063" y="23771"/>
                  <a:pt x="153320" y="19601"/>
                  <a:pt x="149834" y="16615"/>
                </a:cubicBezTo>
                <a:cubicBezTo>
                  <a:pt x="146410" y="13503"/>
                  <a:pt x="142115" y="11947"/>
                  <a:pt x="136823" y="11947"/>
                </a:cubicBezTo>
                <a:cubicBezTo>
                  <a:pt x="131533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3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70" y="89235"/>
                  <a:pt x="158486" y="84071"/>
                  <a:pt x="158486" y="77536"/>
                </a:cubicBezTo>
                <a:cubicBezTo>
                  <a:pt x="158486" y="70940"/>
                  <a:pt x="156370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1" y="58619"/>
                  <a:pt x="120826" y="62291"/>
                </a:cubicBezTo>
                <a:cubicBezTo>
                  <a:pt x="116654" y="65900"/>
                  <a:pt x="114539" y="70940"/>
                  <a:pt x="114539" y="77536"/>
                </a:cubicBezTo>
                <a:cubicBezTo>
                  <a:pt x="114539" y="84071"/>
                  <a:pt x="116654" y="89235"/>
                  <a:pt x="120826" y="92907"/>
                </a:cubicBezTo>
                <a:cubicBezTo>
                  <a:pt x="125121" y="96516"/>
                  <a:pt x="130411" y="98258"/>
                  <a:pt x="136823" y="98258"/>
                </a:cubicBezTo>
                <a:close/>
                <a:moveTo>
                  <a:pt x="236421" y="110082"/>
                </a:moveTo>
                <a:cubicBezTo>
                  <a:pt x="225839" y="110082"/>
                  <a:pt x="216627" y="107904"/>
                  <a:pt x="208659" y="103486"/>
                </a:cubicBezTo>
                <a:cubicBezTo>
                  <a:pt x="200753" y="99129"/>
                  <a:pt x="194653" y="92844"/>
                  <a:pt x="190233" y="84693"/>
                </a:cubicBezTo>
                <a:cubicBezTo>
                  <a:pt x="185876" y="76416"/>
                  <a:pt x="183697" y="66584"/>
                  <a:pt x="183697" y="55134"/>
                </a:cubicBezTo>
                <a:cubicBezTo>
                  <a:pt x="183697" y="37897"/>
                  <a:pt x="188241" y="24455"/>
                  <a:pt x="197267" y="14810"/>
                </a:cubicBezTo>
                <a:cubicBezTo>
                  <a:pt x="206356" y="5040"/>
                  <a:pt x="219303" y="186"/>
                  <a:pt x="236110" y="186"/>
                </a:cubicBezTo>
                <a:cubicBezTo>
                  <a:pt x="242397" y="186"/>
                  <a:pt x="248374" y="871"/>
                  <a:pt x="254038" y="2240"/>
                </a:cubicBezTo>
                <a:cubicBezTo>
                  <a:pt x="259827" y="3547"/>
                  <a:pt x="264683" y="5414"/>
                  <a:pt x="268667" y="7902"/>
                </a:cubicBezTo>
                <a:lnTo>
                  <a:pt x="268667" y="21344"/>
                </a:lnTo>
                <a:cubicBezTo>
                  <a:pt x="264433" y="18669"/>
                  <a:pt x="259391" y="16615"/>
                  <a:pt x="253602" y="15121"/>
                </a:cubicBezTo>
                <a:cubicBezTo>
                  <a:pt x="247938" y="13628"/>
                  <a:pt x="242025" y="12881"/>
                  <a:pt x="235987" y="12881"/>
                </a:cubicBezTo>
                <a:cubicBezTo>
                  <a:pt x="223412" y="12881"/>
                  <a:pt x="214137" y="16366"/>
                  <a:pt x="208036" y="23459"/>
                </a:cubicBezTo>
                <a:cubicBezTo>
                  <a:pt x="201935" y="30554"/>
                  <a:pt x="198947" y="41071"/>
                  <a:pt x="198947" y="55134"/>
                </a:cubicBezTo>
                <a:cubicBezTo>
                  <a:pt x="198947" y="69260"/>
                  <a:pt x="202184" y="79839"/>
                  <a:pt x="208783" y="86933"/>
                </a:cubicBezTo>
                <a:cubicBezTo>
                  <a:pt x="215382" y="93902"/>
                  <a:pt x="224969" y="97387"/>
                  <a:pt x="237604" y="97387"/>
                </a:cubicBezTo>
                <a:cubicBezTo>
                  <a:pt x="249557" y="97387"/>
                  <a:pt x="259952" y="94089"/>
                  <a:pt x="268667" y="87555"/>
                </a:cubicBezTo>
                <a:lnTo>
                  <a:pt x="268667" y="100997"/>
                </a:lnTo>
                <a:cubicBezTo>
                  <a:pt x="265181" y="103734"/>
                  <a:pt x="260575" y="105974"/>
                  <a:pt x="254785" y="107717"/>
                </a:cubicBezTo>
                <a:cubicBezTo>
                  <a:pt x="248996" y="109273"/>
                  <a:pt x="242896" y="110082"/>
                  <a:pt x="236421" y="110082"/>
                </a:cubicBezTo>
                <a:close/>
                <a:moveTo>
                  <a:pt x="282549" y="35844"/>
                </a:moveTo>
                <a:cubicBezTo>
                  <a:pt x="282549" y="28687"/>
                  <a:pt x="284105" y="22402"/>
                  <a:pt x="287218" y="17051"/>
                </a:cubicBezTo>
                <a:cubicBezTo>
                  <a:pt x="290392" y="11637"/>
                  <a:pt x="294687" y="7467"/>
                  <a:pt x="300040" y="4480"/>
                </a:cubicBezTo>
                <a:cubicBezTo>
                  <a:pt x="305456" y="1493"/>
                  <a:pt x="311432" y="0"/>
                  <a:pt x="318155" y="0"/>
                </a:cubicBezTo>
                <a:cubicBezTo>
                  <a:pt x="327119" y="0"/>
                  <a:pt x="334339" y="1929"/>
                  <a:pt x="339818" y="5849"/>
                </a:cubicBezTo>
                <a:cubicBezTo>
                  <a:pt x="345357" y="9645"/>
                  <a:pt x="349404" y="14934"/>
                  <a:pt x="351894" y="21842"/>
                </a:cubicBezTo>
                <a:cubicBezTo>
                  <a:pt x="354383" y="28563"/>
                  <a:pt x="355629" y="36466"/>
                  <a:pt x="355629" y="45426"/>
                </a:cubicBezTo>
                <a:cubicBezTo>
                  <a:pt x="355629" y="58868"/>
                  <a:pt x="354073" y="70380"/>
                  <a:pt x="351023" y="80088"/>
                </a:cubicBezTo>
                <a:cubicBezTo>
                  <a:pt x="347910" y="89733"/>
                  <a:pt x="343117" y="97138"/>
                  <a:pt x="336643" y="102303"/>
                </a:cubicBezTo>
                <a:cubicBezTo>
                  <a:pt x="330293" y="107468"/>
                  <a:pt x="322138" y="110082"/>
                  <a:pt x="312179" y="110082"/>
                </a:cubicBezTo>
                <a:cubicBezTo>
                  <a:pt x="303214" y="110082"/>
                  <a:pt x="295496" y="108215"/>
                  <a:pt x="289146" y="104543"/>
                </a:cubicBezTo>
                <a:lnTo>
                  <a:pt x="289146" y="91413"/>
                </a:lnTo>
                <a:cubicBezTo>
                  <a:pt x="295932" y="95769"/>
                  <a:pt x="303588" y="98010"/>
                  <a:pt x="312179" y="98010"/>
                </a:cubicBezTo>
                <a:cubicBezTo>
                  <a:pt x="318342" y="98010"/>
                  <a:pt x="323508" y="96267"/>
                  <a:pt x="327679" y="92907"/>
                </a:cubicBezTo>
                <a:cubicBezTo>
                  <a:pt x="331850" y="89546"/>
                  <a:pt x="335087" y="84941"/>
                  <a:pt x="337389" y="79154"/>
                </a:cubicBezTo>
                <a:cubicBezTo>
                  <a:pt x="339818" y="73367"/>
                  <a:pt x="341249" y="66896"/>
                  <a:pt x="341748" y="59739"/>
                </a:cubicBezTo>
                <a:cubicBezTo>
                  <a:pt x="338635" y="63660"/>
                  <a:pt x="334962" y="66522"/>
                  <a:pt x="330667" y="68389"/>
                </a:cubicBezTo>
                <a:cubicBezTo>
                  <a:pt x="326371" y="70193"/>
                  <a:pt x="321764" y="71127"/>
                  <a:pt x="316786" y="71127"/>
                </a:cubicBezTo>
                <a:cubicBezTo>
                  <a:pt x="310436" y="71127"/>
                  <a:pt x="304646" y="69758"/>
                  <a:pt x="299480" y="67082"/>
                </a:cubicBezTo>
                <a:cubicBezTo>
                  <a:pt x="294251" y="64406"/>
                  <a:pt x="290143" y="60424"/>
                  <a:pt x="287031" y="55134"/>
                </a:cubicBezTo>
                <a:cubicBezTo>
                  <a:pt x="284043" y="49845"/>
                  <a:pt x="282549" y="43435"/>
                  <a:pt x="282549" y="35844"/>
                </a:cubicBezTo>
                <a:close/>
                <a:moveTo>
                  <a:pt x="318590" y="12134"/>
                </a:moveTo>
                <a:cubicBezTo>
                  <a:pt x="314793" y="12134"/>
                  <a:pt x="311182" y="13006"/>
                  <a:pt x="307821" y="14810"/>
                </a:cubicBezTo>
                <a:cubicBezTo>
                  <a:pt x="304521" y="16490"/>
                  <a:pt x="301845" y="19104"/>
                  <a:pt x="299730" y="22589"/>
                </a:cubicBezTo>
                <a:cubicBezTo>
                  <a:pt x="297737" y="25949"/>
                  <a:pt x="296740" y="30305"/>
                  <a:pt x="296740" y="35532"/>
                </a:cubicBezTo>
                <a:cubicBezTo>
                  <a:pt x="296740" y="40759"/>
                  <a:pt x="297737" y="45116"/>
                  <a:pt x="299730" y="48725"/>
                </a:cubicBezTo>
                <a:cubicBezTo>
                  <a:pt x="301720" y="52271"/>
                  <a:pt x="304274" y="54947"/>
                  <a:pt x="307386" y="56752"/>
                </a:cubicBezTo>
                <a:cubicBezTo>
                  <a:pt x="310436" y="58556"/>
                  <a:pt x="313673" y="59428"/>
                  <a:pt x="317096" y="59428"/>
                </a:cubicBezTo>
                <a:cubicBezTo>
                  <a:pt x="323632" y="59428"/>
                  <a:pt x="329111" y="57437"/>
                  <a:pt x="333530" y="53329"/>
                </a:cubicBezTo>
                <a:cubicBezTo>
                  <a:pt x="338012" y="49160"/>
                  <a:pt x="340254" y="43124"/>
                  <a:pt x="340254" y="35283"/>
                </a:cubicBezTo>
                <a:cubicBezTo>
                  <a:pt x="340254" y="28313"/>
                  <a:pt x="338324" y="22713"/>
                  <a:pt x="334401" y="18544"/>
                </a:cubicBezTo>
                <a:cubicBezTo>
                  <a:pt x="330543" y="14250"/>
                  <a:pt x="325251" y="12134"/>
                  <a:pt x="318590" y="12134"/>
                </a:cubicBezTo>
                <a:close/>
                <a:moveTo>
                  <a:pt x="372311" y="1493"/>
                </a:moveTo>
                <a:lnTo>
                  <a:pt x="408665" y="1493"/>
                </a:lnTo>
                <a:cubicBezTo>
                  <a:pt x="420367" y="1493"/>
                  <a:pt x="429331" y="3484"/>
                  <a:pt x="435369" y="7467"/>
                </a:cubicBezTo>
                <a:cubicBezTo>
                  <a:pt x="441531" y="11450"/>
                  <a:pt x="444644" y="18170"/>
                  <a:pt x="444644" y="27629"/>
                </a:cubicBezTo>
                <a:cubicBezTo>
                  <a:pt x="444644" y="35283"/>
                  <a:pt x="442715" y="41133"/>
                  <a:pt x="438793" y="45116"/>
                </a:cubicBezTo>
                <a:cubicBezTo>
                  <a:pt x="434934" y="48974"/>
                  <a:pt x="429767" y="51649"/>
                  <a:pt x="423293" y="53018"/>
                </a:cubicBezTo>
                <a:cubicBezTo>
                  <a:pt x="431572" y="54014"/>
                  <a:pt x="437797" y="56441"/>
                  <a:pt x="442092" y="60361"/>
                </a:cubicBezTo>
                <a:cubicBezTo>
                  <a:pt x="446387" y="64157"/>
                  <a:pt x="448504" y="69882"/>
                  <a:pt x="448504" y="77661"/>
                </a:cubicBezTo>
                <a:cubicBezTo>
                  <a:pt x="448504" y="85066"/>
                  <a:pt x="446761" y="91040"/>
                  <a:pt x="443275" y="95583"/>
                </a:cubicBezTo>
                <a:cubicBezTo>
                  <a:pt x="439790" y="100188"/>
                  <a:pt x="435059" y="103486"/>
                  <a:pt x="428958" y="105601"/>
                </a:cubicBezTo>
                <a:cubicBezTo>
                  <a:pt x="422857" y="107592"/>
                  <a:pt x="416010" y="108588"/>
                  <a:pt x="408354" y="108588"/>
                </a:cubicBezTo>
                <a:lnTo>
                  <a:pt x="372311" y="108588"/>
                </a:lnTo>
                <a:lnTo>
                  <a:pt x="372311" y="1493"/>
                </a:lnTo>
                <a:close/>
                <a:moveTo>
                  <a:pt x="407606" y="47231"/>
                </a:moveTo>
                <a:cubicBezTo>
                  <a:pt x="414392" y="47231"/>
                  <a:pt x="419869" y="45738"/>
                  <a:pt x="424041" y="42751"/>
                </a:cubicBezTo>
                <a:cubicBezTo>
                  <a:pt x="428335" y="39639"/>
                  <a:pt x="430452" y="34848"/>
                  <a:pt x="430452" y="28376"/>
                </a:cubicBezTo>
                <a:cubicBezTo>
                  <a:pt x="430452" y="22900"/>
                  <a:pt x="428585" y="19228"/>
                  <a:pt x="424787" y="17361"/>
                </a:cubicBezTo>
                <a:cubicBezTo>
                  <a:pt x="420990" y="15370"/>
                  <a:pt x="415636" y="14374"/>
                  <a:pt x="408665" y="14374"/>
                </a:cubicBezTo>
                <a:lnTo>
                  <a:pt x="386380" y="14374"/>
                </a:lnTo>
                <a:lnTo>
                  <a:pt x="386380" y="47231"/>
                </a:lnTo>
                <a:lnTo>
                  <a:pt x="407606" y="47231"/>
                </a:lnTo>
                <a:close/>
                <a:moveTo>
                  <a:pt x="408354" y="95893"/>
                </a:moveTo>
                <a:cubicBezTo>
                  <a:pt x="415886" y="95893"/>
                  <a:pt x="422048" y="94587"/>
                  <a:pt x="426717" y="92035"/>
                </a:cubicBezTo>
                <a:cubicBezTo>
                  <a:pt x="431386" y="89422"/>
                  <a:pt x="433750" y="84755"/>
                  <a:pt x="433750" y="77972"/>
                </a:cubicBezTo>
                <a:cubicBezTo>
                  <a:pt x="433750" y="71189"/>
                  <a:pt x="431572" y="66522"/>
                  <a:pt x="427153" y="63908"/>
                </a:cubicBezTo>
                <a:cubicBezTo>
                  <a:pt x="422857" y="61233"/>
                  <a:pt x="416073" y="59926"/>
                  <a:pt x="406673" y="59926"/>
                </a:cubicBezTo>
                <a:lnTo>
                  <a:pt x="386380" y="59926"/>
                </a:lnTo>
                <a:lnTo>
                  <a:pt x="386380" y="95893"/>
                </a:lnTo>
                <a:lnTo>
                  <a:pt x="408354" y="95893"/>
                </a:ln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2" name="Полилиния 941">
            <a:extLst>
              <a:ext uri="{FF2B5EF4-FFF2-40B4-BE49-F238E27FC236}">
                <a16:creationId xmlns:a16="http://schemas.microsoft.com/office/drawing/2014/main" id="{7F142331-C61F-457A-550E-C87EBABC1D9C}"/>
              </a:ext>
            </a:extLst>
          </p:cNvPr>
          <p:cNvSpPr/>
          <p:nvPr userDrawn="1"/>
        </p:nvSpPr>
        <p:spPr>
          <a:xfrm>
            <a:off x="6844904" y="9597431"/>
            <a:ext cx="2557159" cy="726227"/>
          </a:xfrm>
          <a:custGeom>
            <a:avLst/>
            <a:gdLst>
              <a:gd name="connsiteX0" fmla="*/ 2232 w 2191162"/>
              <a:gd name="connsiteY0" fmla="*/ 1822 h 622284"/>
              <a:gd name="connsiteX1" fmla="*/ 2193395 w 2191162"/>
              <a:gd name="connsiteY1" fmla="*/ 1822 h 622284"/>
              <a:gd name="connsiteX2" fmla="*/ 2193395 w 2191162"/>
              <a:gd name="connsiteY2" fmla="*/ 624106 h 622284"/>
              <a:gd name="connsiteX3" fmla="*/ 2232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822"/>
                </a:moveTo>
                <a:lnTo>
                  <a:pt x="2193395" y="1822"/>
                </a:lnTo>
                <a:lnTo>
                  <a:pt x="2193395" y="624106"/>
                </a:lnTo>
                <a:lnTo>
                  <a:pt x="2232" y="624106"/>
                </a:lnTo>
                <a:close/>
              </a:path>
            </a:pathLst>
          </a:custGeom>
          <a:solidFill>
            <a:srgbClr val="B4C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3" name="Полилиния 942">
            <a:extLst>
              <a:ext uri="{FF2B5EF4-FFF2-40B4-BE49-F238E27FC236}">
                <a16:creationId xmlns:a16="http://schemas.microsoft.com/office/drawing/2014/main" id="{24DD00E3-E76B-4FDF-0FC0-FD30D64A014E}"/>
              </a:ext>
            </a:extLst>
          </p:cNvPr>
          <p:cNvSpPr/>
          <p:nvPr userDrawn="1"/>
        </p:nvSpPr>
        <p:spPr>
          <a:xfrm>
            <a:off x="6968113" y="9899178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07816 w 619003"/>
              <a:gd name="connsiteY34" fmla="*/ 1493 h 110081"/>
              <a:gd name="connsiteX35" fmla="*/ 144107 w 619003"/>
              <a:gd name="connsiteY35" fmla="*/ 1493 h 110081"/>
              <a:gd name="connsiteX36" fmla="*/ 170873 w 619003"/>
              <a:gd name="connsiteY36" fmla="*/ 7467 h 110081"/>
              <a:gd name="connsiteX37" fmla="*/ 180148 w 619003"/>
              <a:gd name="connsiteY37" fmla="*/ 27629 h 110081"/>
              <a:gd name="connsiteX38" fmla="*/ 174297 w 619003"/>
              <a:gd name="connsiteY38" fmla="*/ 45116 h 110081"/>
              <a:gd name="connsiteX39" fmla="*/ 158797 w 619003"/>
              <a:gd name="connsiteY39" fmla="*/ 53018 h 110081"/>
              <a:gd name="connsiteX40" fmla="*/ 177596 w 619003"/>
              <a:gd name="connsiteY40" fmla="*/ 60361 h 110081"/>
              <a:gd name="connsiteX41" fmla="*/ 184008 w 619003"/>
              <a:gd name="connsiteY41" fmla="*/ 77661 h 110081"/>
              <a:gd name="connsiteX42" fmla="*/ 178779 w 619003"/>
              <a:gd name="connsiteY42" fmla="*/ 95583 h 110081"/>
              <a:gd name="connsiteX43" fmla="*/ 164461 w 619003"/>
              <a:gd name="connsiteY43" fmla="*/ 105601 h 110081"/>
              <a:gd name="connsiteX44" fmla="*/ 143858 w 619003"/>
              <a:gd name="connsiteY44" fmla="*/ 108588 h 110081"/>
              <a:gd name="connsiteX45" fmla="*/ 107816 w 619003"/>
              <a:gd name="connsiteY45" fmla="*/ 108588 h 110081"/>
              <a:gd name="connsiteX46" fmla="*/ 107816 w 619003"/>
              <a:gd name="connsiteY46" fmla="*/ 1493 h 110081"/>
              <a:gd name="connsiteX47" fmla="*/ 143110 w 619003"/>
              <a:gd name="connsiteY47" fmla="*/ 47231 h 110081"/>
              <a:gd name="connsiteX48" fmla="*/ 159545 w 619003"/>
              <a:gd name="connsiteY48" fmla="*/ 42751 h 110081"/>
              <a:gd name="connsiteX49" fmla="*/ 165957 w 619003"/>
              <a:gd name="connsiteY49" fmla="*/ 28376 h 110081"/>
              <a:gd name="connsiteX50" fmla="*/ 160291 w 619003"/>
              <a:gd name="connsiteY50" fmla="*/ 17361 h 110081"/>
              <a:gd name="connsiteX51" fmla="*/ 144107 w 619003"/>
              <a:gd name="connsiteY51" fmla="*/ 14374 h 110081"/>
              <a:gd name="connsiteX52" fmla="*/ 121884 w 619003"/>
              <a:gd name="connsiteY52" fmla="*/ 14374 h 110081"/>
              <a:gd name="connsiteX53" fmla="*/ 121884 w 619003"/>
              <a:gd name="connsiteY53" fmla="*/ 47231 h 110081"/>
              <a:gd name="connsiteX54" fmla="*/ 143110 w 619003"/>
              <a:gd name="connsiteY54" fmla="*/ 47231 h 110081"/>
              <a:gd name="connsiteX55" fmla="*/ 143858 w 619003"/>
              <a:gd name="connsiteY55" fmla="*/ 95893 h 110081"/>
              <a:gd name="connsiteX56" fmla="*/ 162221 w 619003"/>
              <a:gd name="connsiteY56" fmla="*/ 92035 h 110081"/>
              <a:gd name="connsiteX57" fmla="*/ 169255 w 619003"/>
              <a:gd name="connsiteY57" fmla="*/ 77972 h 110081"/>
              <a:gd name="connsiteX58" fmla="*/ 162657 w 619003"/>
              <a:gd name="connsiteY58" fmla="*/ 63908 h 110081"/>
              <a:gd name="connsiteX59" fmla="*/ 142177 w 619003"/>
              <a:gd name="connsiteY59" fmla="*/ 59926 h 110081"/>
              <a:gd name="connsiteX60" fmla="*/ 121884 w 619003"/>
              <a:gd name="connsiteY60" fmla="*/ 59926 h 110081"/>
              <a:gd name="connsiteX61" fmla="*/ 121884 w 619003"/>
              <a:gd name="connsiteY61" fmla="*/ 95893 h 110081"/>
              <a:gd name="connsiteX62" fmla="*/ 143858 w 619003"/>
              <a:gd name="connsiteY62" fmla="*/ 95893 h 110081"/>
              <a:gd name="connsiteX63" fmla="*/ 255034 w 619003"/>
              <a:gd name="connsiteY63" fmla="*/ 108588 h 110081"/>
              <a:gd name="connsiteX64" fmla="*/ 241900 w 619003"/>
              <a:gd name="connsiteY64" fmla="*/ 108588 h 110081"/>
              <a:gd name="connsiteX65" fmla="*/ 241900 w 619003"/>
              <a:gd name="connsiteY65" fmla="*/ 83199 h 110081"/>
              <a:gd name="connsiteX66" fmla="*/ 195586 w 619003"/>
              <a:gd name="connsiteY66" fmla="*/ 83199 h 110081"/>
              <a:gd name="connsiteX67" fmla="*/ 195586 w 619003"/>
              <a:gd name="connsiteY67" fmla="*/ 73927 h 110081"/>
              <a:gd name="connsiteX68" fmla="*/ 237418 w 619003"/>
              <a:gd name="connsiteY68" fmla="*/ 1493 h 110081"/>
              <a:gd name="connsiteX69" fmla="*/ 255034 w 619003"/>
              <a:gd name="connsiteY69" fmla="*/ 1493 h 110081"/>
              <a:gd name="connsiteX70" fmla="*/ 255034 w 619003"/>
              <a:gd name="connsiteY70" fmla="*/ 71873 h 110081"/>
              <a:gd name="connsiteX71" fmla="*/ 269538 w 619003"/>
              <a:gd name="connsiteY71" fmla="*/ 71873 h 110081"/>
              <a:gd name="connsiteX72" fmla="*/ 269538 w 619003"/>
              <a:gd name="connsiteY72" fmla="*/ 83199 h 110081"/>
              <a:gd name="connsiteX73" fmla="*/ 255034 w 619003"/>
              <a:gd name="connsiteY73" fmla="*/ 83199 h 110081"/>
              <a:gd name="connsiteX74" fmla="*/ 255034 w 619003"/>
              <a:gd name="connsiteY74" fmla="*/ 108588 h 110081"/>
              <a:gd name="connsiteX75" fmla="*/ 209219 w 619003"/>
              <a:gd name="connsiteY75" fmla="*/ 71873 h 110081"/>
              <a:gd name="connsiteX76" fmla="*/ 241900 w 619003"/>
              <a:gd name="connsiteY76" fmla="*/ 71873 h 110081"/>
              <a:gd name="connsiteX77" fmla="*/ 241900 w 619003"/>
              <a:gd name="connsiteY77" fmla="*/ 16117 h 110081"/>
              <a:gd name="connsiteX78" fmla="*/ 209219 w 619003"/>
              <a:gd name="connsiteY78" fmla="*/ 71873 h 110081"/>
              <a:gd name="connsiteX79" fmla="*/ 332720 w 619003"/>
              <a:gd name="connsiteY79" fmla="*/ 110082 h 110081"/>
              <a:gd name="connsiteX80" fmla="*/ 304958 w 619003"/>
              <a:gd name="connsiteY80" fmla="*/ 103486 h 110081"/>
              <a:gd name="connsiteX81" fmla="*/ 286532 w 619003"/>
              <a:gd name="connsiteY81" fmla="*/ 84693 h 110081"/>
              <a:gd name="connsiteX82" fmla="*/ 279996 w 619003"/>
              <a:gd name="connsiteY82" fmla="*/ 55134 h 110081"/>
              <a:gd name="connsiteX83" fmla="*/ 293567 w 619003"/>
              <a:gd name="connsiteY83" fmla="*/ 14810 h 110081"/>
              <a:gd name="connsiteX84" fmla="*/ 332410 w 619003"/>
              <a:gd name="connsiteY84" fmla="*/ 186 h 110081"/>
              <a:gd name="connsiteX85" fmla="*/ 350337 w 619003"/>
              <a:gd name="connsiteY85" fmla="*/ 2240 h 110081"/>
              <a:gd name="connsiteX86" fmla="*/ 364966 w 619003"/>
              <a:gd name="connsiteY86" fmla="*/ 7902 h 110081"/>
              <a:gd name="connsiteX87" fmla="*/ 364966 w 619003"/>
              <a:gd name="connsiteY87" fmla="*/ 21344 h 110081"/>
              <a:gd name="connsiteX88" fmla="*/ 349901 w 619003"/>
              <a:gd name="connsiteY88" fmla="*/ 15121 h 110081"/>
              <a:gd name="connsiteX89" fmla="*/ 332286 w 619003"/>
              <a:gd name="connsiteY89" fmla="*/ 12881 h 110081"/>
              <a:gd name="connsiteX90" fmla="*/ 304336 w 619003"/>
              <a:gd name="connsiteY90" fmla="*/ 23459 h 110081"/>
              <a:gd name="connsiteX91" fmla="*/ 295246 w 619003"/>
              <a:gd name="connsiteY91" fmla="*/ 55134 h 110081"/>
              <a:gd name="connsiteX92" fmla="*/ 305082 w 619003"/>
              <a:gd name="connsiteY92" fmla="*/ 86933 h 110081"/>
              <a:gd name="connsiteX93" fmla="*/ 333904 w 619003"/>
              <a:gd name="connsiteY93" fmla="*/ 97387 h 110081"/>
              <a:gd name="connsiteX94" fmla="*/ 364966 w 619003"/>
              <a:gd name="connsiteY94" fmla="*/ 87555 h 110081"/>
              <a:gd name="connsiteX95" fmla="*/ 364966 w 619003"/>
              <a:gd name="connsiteY95" fmla="*/ 100997 h 110081"/>
              <a:gd name="connsiteX96" fmla="*/ 351085 w 619003"/>
              <a:gd name="connsiteY96" fmla="*/ 107717 h 110081"/>
              <a:gd name="connsiteX97" fmla="*/ 332720 w 619003"/>
              <a:gd name="connsiteY97" fmla="*/ 110082 h 110081"/>
              <a:gd name="connsiteX98" fmla="*/ 398767 w 619003"/>
              <a:gd name="connsiteY98" fmla="*/ 58992 h 110081"/>
              <a:gd name="connsiteX99" fmla="*/ 398767 w 619003"/>
              <a:gd name="connsiteY99" fmla="*/ 46298 h 110081"/>
              <a:gd name="connsiteX100" fmla="*/ 413085 w 619003"/>
              <a:gd name="connsiteY100" fmla="*/ 46298 h 110081"/>
              <a:gd name="connsiteX101" fmla="*/ 426655 w 619003"/>
              <a:gd name="connsiteY101" fmla="*/ 41817 h 110081"/>
              <a:gd name="connsiteX102" fmla="*/ 432071 w 619003"/>
              <a:gd name="connsiteY102" fmla="*/ 28812 h 110081"/>
              <a:gd name="connsiteX103" fmla="*/ 427153 w 619003"/>
              <a:gd name="connsiteY103" fmla="*/ 16864 h 110081"/>
              <a:gd name="connsiteX104" fmla="*/ 412960 w 619003"/>
              <a:gd name="connsiteY104" fmla="*/ 12383 h 110081"/>
              <a:gd name="connsiteX105" fmla="*/ 398269 w 619003"/>
              <a:gd name="connsiteY105" fmla="*/ 15246 h 110081"/>
              <a:gd name="connsiteX106" fmla="*/ 384263 w 619003"/>
              <a:gd name="connsiteY106" fmla="*/ 24331 h 110081"/>
              <a:gd name="connsiteX107" fmla="*/ 384263 w 619003"/>
              <a:gd name="connsiteY107" fmla="*/ 9707 h 110081"/>
              <a:gd name="connsiteX108" fmla="*/ 413085 w 619003"/>
              <a:gd name="connsiteY108" fmla="*/ 0 h 110081"/>
              <a:gd name="connsiteX109" fmla="*/ 437112 w 619003"/>
              <a:gd name="connsiteY109" fmla="*/ 7779 h 110081"/>
              <a:gd name="connsiteX110" fmla="*/ 445952 w 619003"/>
              <a:gd name="connsiteY110" fmla="*/ 28065 h 110081"/>
              <a:gd name="connsiteX111" fmla="*/ 440287 w 619003"/>
              <a:gd name="connsiteY111" fmla="*/ 44244 h 110081"/>
              <a:gd name="connsiteX112" fmla="*/ 426966 w 619003"/>
              <a:gd name="connsiteY112" fmla="*/ 52147 h 110081"/>
              <a:gd name="connsiteX113" fmla="*/ 438481 w 619003"/>
              <a:gd name="connsiteY113" fmla="*/ 56441 h 110081"/>
              <a:gd name="connsiteX114" fmla="*/ 447135 w 619003"/>
              <a:gd name="connsiteY114" fmla="*/ 65153 h 110081"/>
              <a:gd name="connsiteX115" fmla="*/ 450434 w 619003"/>
              <a:gd name="connsiteY115" fmla="*/ 77661 h 110081"/>
              <a:gd name="connsiteX116" fmla="*/ 445516 w 619003"/>
              <a:gd name="connsiteY116" fmla="*/ 94836 h 110081"/>
              <a:gd name="connsiteX117" fmla="*/ 431884 w 619003"/>
              <a:gd name="connsiteY117" fmla="*/ 106224 h 110081"/>
              <a:gd name="connsiteX118" fmla="*/ 412025 w 619003"/>
              <a:gd name="connsiteY118" fmla="*/ 110082 h 110081"/>
              <a:gd name="connsiteX119" fmla="*/ 381586 w 619003"/>
              <a:gd name="connsiteY119" fmla="*/ 100997 h 110081"/>
              <a:gd name="connsiteX120" fmla="*/ 381586 w 619003"/>
              <a:gd name="connsiteY120" fmla="*/ 86062 h 110081"/>
              <a:gd name="connsiteX121" fmla="*/ 395281 w 619003"/>
              <a:gd name="connsiteY121" fmla="*/ 94711 h 110081"/>
              <a:gd name="connsiteX122" fmla="*/ 412212 w 619003"/>
              <a:gd name="connsiteY122" fmla="*/ 97823 h 110081"/>
              <a:gd name="connsiteX123" fmla="*/ 429518 w 619003"/>
              <a:gd name="connsiteY123" fmla="*/ 92596 h 110081"/>
              <a:gd name="connsiteX124" fmla="*/ 435930 w 619003"/>
              <a:gd name="connsiteY124" fmla="*/ 77972 h 110081"/>
              <a:gd name="connsiteX125" fmla="*/ 430141 w 619003"/>
              <a:gd name="connsiteY125" fmla="*/ 64095 h 110081"/>
              <a:gd name="connsiteX126" fmla="*/ 412462 w 619003"/>
              <a:gd name="connsiteY126" fmla="*/ 58992 h 110081"/>
              <a:gd name="connsiteX127" fmla="*/ 398767 w 619003"/>
              <a:gd name="connsiteY127" fmla="*/ 58992 h 110081"/>
              <a:gd name="connsiteX128" fmla="*/ 468610 w 619003"/>
              <a:gd name="connsiteY128" fmla="*/ 1493 h 110081"/>
              <a:gd name="connsiteX129" fmla="*/ 534034 w 619003"/>
              <a:gd name="connsiteY129" fmla="*/ 1493 h 110081"/>
              <a:gd name="connsiteX130" fmla="*/ 534034 w 619003"/>
              <a:gd name="connsiteY130" fmla="*/ 14374 h 110081"/>
              <a:gd name="connsiteX131" fmla="*/ 482679 w 619003"/>
              <a:gd name="connsiteY131" fmla="*/ 14374 h 110081"/>
              <a:gd name="connsiteX132" fmla="*/ 482679 w 619003"/>
              <a:gd name="connsiteY132" fmla="*/ 49907 h 110081"/>
              <a:gd name="connsiteX133" fmla="*/ 526315 w 619003"/>
              <a:gd name="connsiteY133" fmla="*/ 49907 h 110081"/>
              <a:gd name="connsiteX134" fmla="*/ 526315 w 619003"/>
              <a:gd name="connsiteY134" fmla="*/ 62601 h 110081"/>
              <a:gd name="connsiteX135" fmla="*/ 482679 w 619003"/>
              <a:gd name="connsiteY135" fmla="*/ 62601 h 110081"/>
              <a:gd name="connsiteX136" fmla="*/ 482679 w 619003"/>
              <a:gd name="connsiteY136" fmla="*/ 108588 h 110081"/>
              <a:gd name="connsiteX137" fmla="*/ 468610 w 619003"/>
              <a:gd name="connsiteY137" fmla="*/ 108588 h 110081"/>
              <a:gd name="connsiteX138" fmla="*/ 468610 w 619003"/>
              <a:gd name="connsiteY138" fmla="*/ 1493 h 110081"/>
              <a:gd name="connsiteX139" fmla="*/ 553517 w 619003"/>
              <a:gd name="connsiteY139" fmla="*/ 1493 h 110081"/>
              <a:gd name="connsiteX140" fmla="*/ 619003 w 619003"/>
              <a:gd name="connsiteY140" fmla="*/ 1493 h 110081"/>
              <a:gd name="connsiteX141" fmla="*/ 619003 w 619003"/>
              <a:gd name="connsiteY141" fmla="*/ 14374 h 110081"/>
              <a:gd name="connsiteX142" fmla="*/ 567586 w 619003"/>
              <a:gd name="connsiteY142" fmla="*/ 14374 h 110081"/>
              <a:gd name="connsiteX143" fmla="*/ 567586 w 619003"/>
              <a:gd name="connsiteY143" fmla="*/ 49907 h 110081"/>
              <a:gd name="connsiteX144" fmla="*/ 611222 w 619003"/>
              <a:gd name="connsiteY144" fmla="*/ 49907 h 110081"/>
              <a:gd name="connsiteX145" fmla="*/ 611222 w 619003"/>
              <a:gd name="connsiteY145" fmla="*/ 62601 h 110081"/>
              <a:gd name="connsiteX146" fmla="*/ 567586 w 619003"/>
              <a:gd name="connsiteY146" fmla="*/ 62601 h 110081"/>
              <a:gd name="connsiteX147" fmla="*/ 567586 w 619003"/>
              <a:gd name="connsiteY147" fmla="*/ 108588 h 110081"/>
              <a:gd name="connsiteX148" fmla="*/ 553517 w 619003"/>
              <a:gd name="connsiteY148" fmla="*/ 108588 h 110081"/>
              <a:gd name="connsiteX149" fmla="*/ 553517 w 619003"/>
              <a:gd name="connsiteY149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07816" y="1493"/>
                </a:moveTo>
                <a:lnTo>
                  <a:pt x="144107" y="1493"/>
                </a:lnTo>
                <a:cubicBezTo>
                  <a:pt x="155872" y="1493"/>
                  <a:pt x="164773" y="3484"/>
                  <a:pt x="170873" y="7467"/>
                </a:cubicBezTo>
                <a:cubicBezTo>
                  <a:pt x="177036" y="11450"/>
                  <a:pt x="180148" y="18170"/>
                  <a:pt x="180148" y="27629"/>
                </a:cubicBezTo>
                <a:cubicBezTo>
                  <a:pt x="180148" y="35283"/>
                  <a:pt x="178220" y="41133"/>
                  <a:pt x="174297" y="45116"/>
                </a:cubicBezTo>
                <a:cubicBezTo>
                  <a:pt x="170438" y="48974"/>
                  <a:pt x="165271" y="51649"/>
                  <a:pt x="158797" y="53018"/>
                </a:cubicBezTo>
                <a:cubicBezTo>
                  <a:pt x="167014" y="54014"/>
                  <a:pt x="173302" y="56441"/>
                  <a:pt x="177596" y="60361"/>
                </a:cubicBezTo>
                <a:cubicBezTo>
                  <a:pt x="181891" y="64157"/>
                  <a:pt x="184008" y="69882"/>
                  <a:pt x="184008" y="77661"/>
                </a:cubicBezTo>
                <a:cubicBezTo>
                  <a:pt x="184008" y="85066"/>
                  <a:pt x="182265" y="91040"/>
                  <a:pt x="178779" y="95583"/>
                </a:cubicBezTo>
                <a:cubicBezTo>
                  <a:pt x="175294" y="100188"/>
                  <a:pt x="170501" y="103486"/>
                  <a:pt x="164461" y="105601"/>
                </a:cubicBezTo>
                <a:cubicBezTo>
                  <a:pt x="158361" y="107592"/>
                  <a:pt x="151514" y="108588"/>
                  <a:pt x="143858" y="108588"/>
                </a:cubicBez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43110" y="47231"/>
                </a:moveTo>
                <a:cubicBezTo>
                  <a:pt x="149834" y="47231"/>
                  <a:pt x="155311" y="45738"/>
                  <a:pt x="159545" y="42751"/>
                </a:cubicBezTo>
                <a:cubicBezTo>
                  <a:pt x="163777" y="39639"/>
                  <a:pt x="165957" y="34848"/>
                  <a:pt x="165957" y="28376"/>
                </a:cubicBezTo>
                <a:cubicBezTo>
                  <a:pt x="165957" y="22900"/>
                  <a:pt x="164027" y="19228"/>
                  <a:pt x="160291" y="17361"/>
                </a:cubicBezTo>
                <a:cubicBezTo>
                  <a:pt x="156495" y="15370"/>
                  <a:pt x="151078" y="14374"/>
                  <a:pt x="144107" y="14374"/>
                </a:cubicBezTo>
                <a:lnTo>
                  <a:pt x="121884" y="14374"/>
                </a:lnTo>
                <a:lnTo>
                  <a:pt x="121884" y="47231"/>
                </a:lnTo>
                <a:lnTo>
                  <a:pt x="143110" y="47231"/>
                </a:lnTo>
                <a:close/>
                <a:moveTo>
                  <a:pt x="143858" y="95893"/>
                </a:moveTo>
                <a:cubicBezTo>
                  <a:pt x="151390" y="95893"/>
                  <a:pt x="157552" y="94587"/>
                  <a:pt x="162221" y="92035"/>
                </a:cubicBezTo>
                <a:cubicBezTo>
                  <a:pt x="166890" y="89422"/>
                  <a:pt x="169255" y="84755"/>
                  <a:pt x="169255" y="77972"/>
                </a:cubicBezTo>
                <a:cubicBezTo>
                  <a:pt x="169255" y="71189"/>
                  <a:pt x="167014" y="66522"/>
                  <a:pt x="162657" y="63908"/>
                </a:cubicBezTo>
                <a:cubicBezTo>
                  <a:pt x="158361" y="61233"/>
                  <a:pt x="151577" y="59926"/>
                  <a:pt x="142177" y="59926"/>
                </a:cubicBezTo>
                <a:lnTo>
                  <a:pt x="121884" y="59926"/>
                </a:lnTo>
                <a:lnTo>
                  <a:pt x="121884" y="95893"/>
                </a:lnTo>
                <a:lnTo>
                  <a:pt x="143858" y="95893"/>
                </a:lnTo>
                <a:close/>
                <a:moveTo>
                  <a:pt x="255034" y="108588"/>
                </a:moveTo>
                <a:lnTo>
                  <a:pt x="241900" y="108588"/>
                </a:lnTo>
                <a:lnTo>
                  <a:pt x="241900" y="83199"/>
                </a:lnTo>
                <a:lnTo>
                  <a:pt x="195586" y="83199"/>
                </a:lnTo>
                <a:lnTo>
                  <a:pt x="195586" y="73927"/>
                </a:lnTo>
                <a:lnTo>
                  <a:pt x="237418" y="1493"/>
                </a:lnTo>
                <a:lnTo>
                  <a:pt x="255034" y="1493"/>
                </a:lnTo>
                <a:lnTo>
                  <a:pt x="255034" y="71873"/>
                </a:lnTo>
                <a:lnTo>
                  <a:pt x="269538" y="71873"/>
                </a:lnTo>
                <a:lnTo>
                  <a:pt x="269538" y="83199"/>
                </a:lnTo>
                <a:lnTo>
                  <a:pt x="255034" y="83199"/>
                </a:lnTo>
                <a:lnTo>
                  <a:pt x="255034" y="108588"/>
                </a:lnTo>
                <a:close/>
                <a:moveTo>
                  <a:pt x="209219" y="71873"/>
                </a:moveTo>
                <a:lnTo>
                  <a:pt x="241900" y="71873"/>
                </a:lnTo>
                <a:lnTo>
                  <a:pt x="241900" y="16117"/>
                </a:lnTo>
                <a:lnTo>
                  <a:pt x="209219" y="71873"/>
                </a:lnTo>
                <a:close/>
                <a:moveTo>
                  <a:pt x="332720" y="110082"/>
                </a:moveTo>
                <a:cubicBezTo>
                  <a:pt x="322138" y="110082"/>
                  <a:pt x="312926" y="107904"/>
                  <a:pt x="304958" y="103486"/>
                </a:cubicBezTo>
                <a:cubicBezTo>
                  <a:pt x="297052" y="99129"/>
                  <a:pt x="290952" y="92844"/>
                  <a:pt x="286532" y="84693"/>
                </a:cubicBezTo>
                <a:cubicBezTo>
                  <a:pt x="282175" y="76416"/>
                  <a:pt x="279996" y="66584"/>
                  <a:pt x="279996" y="55134"/>
                </a:cubicBezTo>
                <a:cubicBezTo>
                  <a:pt x="279996" y="37897"/>
                  <a:pt x="284540" y="24455"/>
                  <a:pt x="293567" y="14810"/>
                </a:cubicBezTo>
                <a:cubicBezTo>
                  <a:pt x="302655" y="5040"/>
                  <a:pt x="315602" y="186"/>
                  <a:pt x="332410" y="186"/>
                </a:cubicBezTo>
                <a:cubicBezTo>
                  <a:pt x="338698" y="186"/>
                  <a:pt x="344673" y="871"/>
                  <a:pt x="350337" y="2240"/>
                </a:cubicBezTo>
                <a:cubicBezTo>
                  <a:pt x="356126" y="3547"/>
                  <a:pt x="360982" y="5414"/>
                  <a:pt x="364966" y="7902"/>
                </a:cubicBezTo>
                <a:lnTo>
                  <a:pt x="364966" y="21344"/>
                </a:lnTo>
                <a:cubicBezTo>
                  <a:pt x="360732" y="18669"/>
                  <a:pt x="355691" y="16615"/>
                  <a:pt x="349901" y="15121"/>
                </a:cubicBezTo>
                <a:cubicBezTo>
                  <a:pt x="344237" y="13628"/>
                  <a:pt x="338324" y="12881"/>
                  <a:pt x="332286" y="12881"/>
                </a:cubicBezTo>
                <a:cubicBezTo>
                  <a:pt x="319711" y="12881"/>
                  <a:pt x="310436" y="16366"/>
                  <a:pt x="304336" y="23459"/>
                </a:cubicBezTo>
                <a:cubicBezTo>
                  <a:pt x="298236" y="30554"/>
                  <a:pt x="295246" y="41071"/>
                  <a:pt x="295246" y="55134"/>
                </a:cubicBezTo>
                <a:cubicBezTo>
                  <a:pt x="295246" y="69260"/>
                  <a:pt x="298483" y="79839"/>
                  <a:pt x="305082" y="86933"/>
                </a:cubicBezTo>
                <a:cubicBezTo>
                  <a:pt x="311681" y="93902"/>
                  <a:pt x="321268" y="97387"/>
                  <a:pt x="333904" y="97387"/>
                </a:cubicBezTo>
                <a:cubicBezTo>
                  <a:pt x="345856" y="97387"/>
                  <a:pt x="356251" y="94089"/>
                  <a:pt x="364966" y="87555"/>
                </a:cubicBezTo>
                <a:lnTo>
                  <a:pt x="364966" y="100997"/>
                </a:lnTo>
                <a:cubicBezTo>
                  <a:pt x="361480" y="103734"/>
                  <a:pt x="356874" y="105974"/>
                  <a:pt x="351085" y="107717"/>
                </a:cubicBezTo>
                <a:cubicBezTo>
                  <a:pt x="345295" y="109273"/>
                  <a:pt x="339194" y="110082"/>
                  <a:pt x="332720" y="110082"/>
                </a:cubicBezTo>
                <a:close/>
                <a:moveTo>
                  <a:pt x="398767" y="58992"/>
                </a:moveTo>
                <a:lnTo>
                  <a:pt x="398767" y="46298"/>
                </a:lnTo>
                <a:lnTo>
                  <a:pt x="413085" y="46298"/>
                </a:lnTo>
                <a:cubicBezTo>
                  <a:pt x="418687" y="46298"/>
                  <a:pt x="423168" y="44804"/>
                  <a:pt x="426655" y="41817"/>
                </a:cubicBezTo>
                <a:cubicBezTo>
                  <a:pt x="430265" y="38768"/>
                  <a:pt x="432071" y="34412"/>
                  <a:pt x="432071" y="28812"/>
                </a:cubicBezTo>
                <a:cubicBezTo>
                  <a:pt x="432071" y="23771"/>
                  <a:pt x="430390" y="19788"/>
                  <a:pt x="427153" y="16864"/>
                </a:cubicBezTo>
                <a:cubicBezTo>
                  <a:pt x="423854" y="13877"/>
                  <a:pt x="419123" y="12383"/>
                  <a:pt x="412960" y="12383"/>
                </a:cubicBezTo>
                <a:cubicBezTo>
                  <a:pt x="407731" y="12383"/>
                  <a:pt x="402875" y="13379"/>
                  <a:pt x="398269" y="15246"/>
                </a:cubicBezTo>
                <a:cubicBezTo>
                  <a:pt x="393787" y="17113"/>
                  <a:pt x="389118" y="20162"/>
                  <a:pt x="384263" y="24331"/>
                </a:cubicBezTo>
                <a:lnTo>
                  <a:pt x="384263" y="9707"/>
                </a:lnTo>
                <a:cubicBezTo>
                  <a:pt x="392231" y="3235"/>
                  <a:pt x="401817" y="0"/>
                  <a:pt x="413085" y="0"/>
                </a:cubicBezTo>
                <a:cubicBezTo>
                  <a:pt x="423355" y="0"/>
                  <a:pt x="431386" y="2613"/>
                  <a:pt x="437112" y="7779"/>
                </a:cubicBezTo>
                <a:cubicBezTo>
                  <a:pt x="443025" y="12943"/>
                  <a:pt x="445952" y="19726"/>
                  <a:pt x="445952" y="28065"/>
                </a:cubicBezTo>
                <a:cubicBezTo>
                  <a:pt x="445952" y="34848"/>
                  <a:pt x="444085" y="40262"/>
                  <a:pt x="440287" y="44244"/>
                </a:cubicBezTo>
                <a:cubicBezTo>
                  <a:pt x="436615" y="48227"/>
                  <a:pt x="432132" y="50840"/>
                  <a:pt x="426966" y="52147"/>
                </a:cubicBezTo>
                <a:cubicBezTo>
                  <a:pt x="431136" y="52707"/>
                  <a:pt x="434996" y="54201"/>
                  <a:pt x="438481" y="56441"/>
                </a:cubicBezTo>
                <a:cubicBezTo>
                  <a:pt x="442092" y="58681"/>
                  <a:pt x="444955" y="61543"/>
                  <a:pt x="447135" y="65153"/>
                </a:cubicBezTo>
                <a:cubicBezTo>
                  <a:pt x="449312" y="68700"/>
                  <a:pt x="450434" y="72869"/>
                  <a:pt x="450434" y="77661"/>
                </a:cubicBezTo>
                <a:cubicBezTo>
                  <a:pt x="450434" y="84257"/>
                  <a:pt x="448816" y="89982"/>
                  <a:pt x="445516" y="94836"/>
                </a:cubicBezTo>
                <a:cubicBezTo>
                  <a:pt x="442217" y="99752"/>
                  <a:pt x="437673" y="103486"/>
                  <a:pt x="431884" y="106224"/>
                </a:cubicBezTo>
                <a:cubicBezTo>
                  <a:pt x="426218" y="108775"/>
                  <a:pt x="419621" y="110082"/>
                  <a:pt x="412025" y="110082"/>
                </a:cubicBezTo>
                <a:cubicBezTo>
                  <a:pt x="398892" y="110082"/>
                  <a:pt x="388744" y="107033"/>
                  <a:pt x="381586" y="100997"/>
                </a:cubicBezTo>
                <a:lnTo>
                  <a:pt x="381586" y="86062"/>
                </a:lnTo>
                <a:cubicBezTo>
                  <a:pt x="385322" y="89733"/>
                  <a:pt x="389928" y="92596"/>
                  <a:pt x="395281" y="94711"/>
                </a:cubicBezTo>
                <a:cubicBezTo>
                  <a:pt x="400697" y="96765"/>
                  <a:pt x="406299" y="97823"/>
                  <a:pt x="412212" y="97823"/>
                </a:cubicBezTo>
                <a:cubicBezTo>
                  <a:pt x="419559" y="97823"/>
                  <a:pt x="425348" y="96080"/>
                  <a:pt x="429518" y="92596"/>
                </a:cubicBezTo>
                <a:cubicBezTo>
                  <a:pt x="433813" y="89048"/>
                  <a:pt x="435930" y="84132"/>
                  <a:pt x="435930" y="77972"/>
                </a:cubicBezTo>
                <a:cubicBezTo>
                  <a:pt x="435930" y="71998"/>
                  <a:pt x="433999" y="67393"/>
                  <a:pt x="430141" y="64095"/>
                </a:cubicBezTo>
                <a:cubicBezTo>
                  <a:pt x="426343" y="60673"/>
                  <a:pt x="420430" y="58992"/>
                  <a:pt x="412462" y="58992"/>
                </a:cubicBezTo>
                <a:lnTo>
                  <a:pt x="398767" y="58992"/>
                </a:ln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4" name="Полилиния 943">
            <a:extLst>
              <a:ext uri="{FF2B5EF4-FFF2-40B4-BE49-F238E27FC236}">
                <a16:creationId xmlns:a16="http://schemas.microsoft.com/office/drawing/2014/main" id="{63084A66-69F2-E539-A795-B369CC8E276A}"/>
              </a:ext>
            </a:extLst>
          </p:cNvPr>
          <p:cNvSpPr/>
          <p:nvPr userDrawn="1"/>
        </p:nvSpPr>
        <p:spPr>
          <a:xfrm>
            <a:off x="6844904" y="10323656"/>
            <a:ext cx="255715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6E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5" name="Полилиния 944">
            <a:extLst>
              <a:ext uri="{FF2B5EF4-FFF2-40B4-BE49-F238E27FC236}">
                <a16:creationId xmlns:a16="http://schemas.microsoft.com/office/drawing/2014/main" id="{C1ABE780-BA3A-F681-309F-F15E0DDA9B63}"/>
              </a:ext>
            </a:extLst>
          </p:cNvPr>
          <p:cNvSpPr/>
          <p:nvPr userDrawn="1"/>
        </p:nvSpPr>
        <p:spPr>
          <a:xfrm>
            <a:off x="6968113" y="10625405"/>
            <a:ext cx="717966" cy="128468"/>
          </a:xfrm>
          <a:custGeom>
            <a:avLst/>
            <a:gdLst>
              <a:gd name="connsiteX0" fmla="*/ 22099 w 615206"/>
              <a:gd name="connsiteY0" fmla="*/ 108588 h 110081"/>
              <a:gd name="connsiteX1" fmla="*/ 10147 w 615206"/>
              <a:gd name="connsiteY1" fmla="*/ 108588 h 110081"/>
              <a:gd name="connsiteX2" fmla="*/ 16435 w 615206"/>
              <a:gd name="connsiteY2" fmla="*/ 77661 h 110081"/>
              <a:gd name="connsiteX3" fmla="*/ 0 w 615206"/>
              <a:gd name="connsiteY3" fmla="*/ 77661 h 110081"/>
              <a:gd name="connsiteX4" fmla="*/ 0 w 615206"/>
              <a:gd name="connsiteY4" fmla="*/ 67206 h 110081"/>
              <a:gd name="connsiteX5" fmla="*/ 18675 w 615206"/>
              <a:gd name="connsiteY5" fmla="*/ 67206 h 110081"/>
              <a:gd name="connsiteX6" fmla="*/ 24216 w 615206"/>
              <a:gd name="connsiteY6" fmla="*/ 40012 h 110081"/>
              <a:gd name="connsiteX7" fmla="*/ 4047 w 615206"/>
              <a:gd name="connsiteY7" fmla="*/ 40012 h 110081"/>
              <a:gd name="connsiteX8" fmla="*/ 4047 w 615206"/>
              <a:gd name="connsiteY8" fmla="*/ 29559 h 110081"/>
              <a:gd name="connsiteX9" fmla="*/ 26269 w 615206"/>
              <a:gd name="connsiteY9" fmla="*/ 29559 h 110081"/>
              <a:gd name="connsiteX10" fmla="*/ 32121 w 615206"/>
              <a:gd name="connsiteY10" fmla="*/ 1493 h 110081"/>
              <a:gd name="connsiteX11" fmla="*/ 44073 w 615206"/>
              <a:gd name="connsiteY11" fmla="*/ 1493 h 110081"/>
              <a:gd name="connsiteX12" fmla="*/ 38222 w 615206"/>
              <a:gd name="connsiteY12" fmla="*/ 29559 h 110081"/>
              <a:gd name="connsiteX13" fmla="*/ 60630 w 615206"/>
              <a:gd name="connsiteY13" fmla="*/ 29559 h 110081"/>
              <a:gd name="connsiteX14" fmla="*/ 66481 w 615206"/>
              <a:gd name="connsiteY14" fmla="*/ 1493 h 110081"/>
              <a:gd name="connsiteX15" fmla="*/ 78434 w 615206"/>
              <a:gd name="connsiteY15" fmla="*/ 1493 h 110081"/>
              <a:gd name="connsiteX16" fmla="*/ 72583 w 615206"/>
              <a:gd name="connsiteY16" fmla="*/ 29559 h 110081"/>
              <a:gd name="connsiteX17" fmla="*/ 89328 w 615206"/>
              <a:gd name="connsiteY17" fmla="*/ 29559 h 110081"/>
              <a:gd name="connsiteX18" fmla="*/ 89328 w 615206"/>
              <a:gd name="connsiteY18" fmla="*/ 40012 h 110081"/>
              <a:gd name="connsiteX19" fmla="*/ 70529 w 615206"/>
              <a:gd name="connsiteY19" fmla="*/ 40012 h 110081"/>
              <a:gd name="connsiteX20" fmla="*/ 64988 w 615206"/>
              <a:gd name="connsiteY20" fmla="*/ 67206 h 110081"/>
              <a:gd name="connsiteX21" fmla="*/ 85281 w 615206"/>
              <a:gd name="connsiteY21" fmla="*/ 67206 h 110081"/>
              <a:gd name="connsiteX22" fmla="*/ 85281 w 615206"/>
              <a:gd name="connsiteY22" fmla="*/ 77661 h 110081"/>
              <a:gd name="connsiteX23" fmla="*/ 62747 w 615206"/>
              <a:gd name="connsiteY23" fmla="*/ 77661 h 110081"/>
              <a:gd name="connsiteX24" fmla="*/ 56460 w 615206"/>
              <a:gd name="connsiteY24" fmla="*/ 108588 h 110081"/>
              <a:gd name="connsiteX25" fmla="*/ 44509 w 615206"/>
              <a:gd name="connsiteY25" fmla="*/ 108588 h 110081"/>
              <a:gd name="connsiteX26" fmla="*/ 50796 w 615206"/>
              <a:gd name="connsiteY26" fmla="*/ 77661 h 110081"/>
              <a:gd name="connsiteX27" fmla="*/ 28386 w 615206"/>
              <a:gd name="connsiteY27" fmla="*/ 77661 h 110081"/>
              <a:gd name="connsiteX28" fmla="*/ 22099 w 615206"/>
              <a:gd name="connsiteY28" fmla="*/ 108588 h 110081"/>
              <a:gd name="connsiteX29" fmla="*/ 30626 w 615206"/>
              <a:gd name="connsiteY29" fmla="*/ 67206 h 110081"/>
              <a:gd name="connsiteX30" fmla="*/ 53036 w 615206"/>
              <a:gd name="connsiteY30" fmla="*/ 67206 h 110081"/>
              <a:gd name="connsiteX31" fmla="*/ 58577 w 615206"/>
              <a:gd name="connsiteY31" fmla="*/ 40012 h 110081"/>
              <a:gd name="connsiteX32" fmla="*/ 36167 w 615206"/>
              <a:gd name="connsiteY32" fmla="*/ 40012 h 110081"/>
              <a:gd name="connsiteX33" fmla="*/ 30626 w 615206"/>
              <a:gd name="connsiteY33" fmla="*/ 67206 h 110081"/>
              <a:gd name="connsiteX34" fmla="*/ 107816 w 615206"/>
              <a:gd name="connsiteY34" fmla="*/ 1493 h 110081"/>
              <a:gd name="connsiteX35" fmla="*/ 174172 w 615206"/>
              <a:gd name="connsiteY35" fmla="*/ 1493 h 110081"/>
              <a:gd name="connsiteX36" fmla="*/ 174172 w 615206"/>
              <a:gd name="connsiteY36" fmla="*/ 14374 h 110081"/>
              <a:gd name="connsiteX37" fmla="*/ 121884 w 615206"/>
              <a:gd name="connsiteY37" fmla="*/ 14374 h 110081"/>
              <a:gd name="connsiteX38" fmla="*/ 121884 w 615206"/>
              <a:gd name="connsiteY38" fmla="*/ 46734 h 110081"/>
              <a:gd name="connsiteX39" fmla="*/ 166267 w 615206"/>
              <a:gd name="connsiteY39" fmla="*/ 46734 h 110081"/>
              <a:gd name="connsiteX40" fmla="*/ 166267 w 615206"/>
              <a:gd name="connsiteY40" fmla="*/ 59428 h 110081"/>
              <a:gd name="connsiteX41" fmla="*/ 121884 w 615206"/>
              <a:gd name="connsiteY41" fmla="*/ 59428 h 110081"/>
              <a:gd name="connsiteX42" fmla="*/ 121884 w 615206"/>
              <a:gd name="connsiteY42" fmla="*/ 95893 h 110081"/>
              <a:gd name="connsiteX43" fmla="*/ 174920 w 615206"/>
              <a:gd name="connsiteY43" fmla="*/ 95893 h 110081"/>
              <a:gd name="connsiteX44" fmla="*/ 174920 w 615206"/>
              <a:gd name="connsiteY44" fmla="*/ 108588 h 110081"/>
              <a:gd name="connsiteX45" fmla="*/ 107816 w 615206"/>
              <a:gd name="connsiteY45" fmla="*/ 108588 h 110081"/>
              <a:gd name="connsiteX46" fmla="*/ 107816 w 615206"/>
              <a:gd name="connsiteY46" fmla="*/ 1493 h 110081"/>
              <a:gd name="connsiteX47" fmla="*/ 262566 w 615206"/>
              <a:gd name="connsiteY47" fmla="*/ 73491 h 110081"/>
              <a:gd name="connsiteX48" fmla="*/ 257774 w 615206"/>
              <a:gd name="connsiteY48" fmla="*/ 92782 h 110081"/>
              <a:gd name="connsiteX49" fmla="*/ 245075 w 615206"/>
              <a:gd name="connsiteY49" fmla="*/ 105601 h 110081"/>
              <a:gd name="connsiteX50" fmla="*/ 227022 w 615206"/>
              <a:gd name="connsiteY50" fmla="*/ 110082 h 110081"/>
              <a:gd name="connsiteX51" fmla="*/ 205359 w 615206"/>
              <a:gd name="connsiteY51" fmla="*/ 104108 h 110081"/>
              <a:gd name="connsiteX52" fmla="*/ 193221 w 615206"/>
              <a:gd name="connsiteY52" fmla="*/ 87555 h 110081"/>
              <a:gd name="connsiteX53" fmla="*/ 189485 w 615206"/>
              <a:gd name="connsiteY53" fmla="*/ 63161 h 110081"/>
              <a:gd name="connsiteX54" fmla="*/ 193969 w 615206"/>
              <a:gd name="connsiteY54" fmla="*/ 30181 h 110081"/>
              <a:gd name="connsiteX55" fmla="*/ 208036 w 615206"/>
              <a:gd name="connsiteY55" fmla="*/ 8089 h 110081"/>
              <a:gd name="connsiteX56" fmla="*/ 232500 w 615206"/>
              <a:gd name="connsiteY56" fmla="*/ 0 h 110081"/>
              <a:gd name="connsiteX57" fmla="*/ 255096 w 615206"/>
              <a:gd name="connsiteY57" fmla="*/ 5538 h 110081"/>
              <a:gd name="connsiteX58" fmla="*/ 255096 w 615206"/>
              <a:gd name="connsiteY58" fmla="*/ 18855 h 110081"/>
              <a:gd name="connsiteX59" fmla="*/ 232500 w 615206"/>
              <a:gd name="connsiteY59" fmla="*/ 12259 h 110081"/>
              <a:gd name="connsiteX60" fmla="*/ 217001 w 615206"/>
              <a:gd name="connsiteY60" fmla="*/ 17361 h 110081"/>
              <a:gd name="connsiteX61" fmla="*/ 207102 w 615206"/>
              <a:gd name="connsiteY61" fmla="*/ 31238 h 110081"/>
              <a:gd name="connsiteX62" fmla="*/ 202932 w 615206"/>
              <a:gd name="connsiteY62" fmla="*/ 50778 h 110081"/>
              <a:gd name="connsiteX63" fmla="*/ 214323 w 615206"/>
              <a:gd name="connsiteY63" fmla="*/ 40759 h 110081"/>
              <a:gd name="connsiteX64" fmla="*/ 228329 w 615206"/>
              <a:gd name="connsiteY64" fmla="*/ 37523 h 110081"/>
              <a:gd name="connsiteX65" fmla="*/ 245696 w 615206"/>
              <a:gd name="connsiteY65" fmla="*/ 41693 h 110081"/>
              <a:gd name="connsiteX66" fmla="*/ 257897 w 615206"/>
              <a:gd name="connsiteY66" fmla="*/ 53952 h 110081"/>
              <a:gd name="connsiteX67" fmla="*/ 262566 w 615206"/>
              <a:gd name="connsiteY67" fmla="*/ 73491 h 110081"/>
              <a:gd name="connsiteX68" fmla="*/ 226525 w 615206"/>
              <a:gd name="connsiteY68" fmla="*/ 98134 h 110081"/>
              <a:gd name="connsiteX69" fmla="*/ 237294 w 615206"/>
              <a:gd name="connsiteY69" fmla="*/ 95458 h 110081"/>
              <a:gd name="connsiteX70" fmla="*/ 245199 w 615206"/>
              <a:gd name="connsiteY70" fmla="*/ 87244 h 110081"/>
              <a:gd name="connsiteX71" fmla="*/ 248374 w 615206"/>
              <a:gd name="connsiteY71" fmla="*/ 73803 h 110081"/>
              <a:gd name="connsiteX72" fmla="*/ 245385 w 615206"/>
              <a:gd name="connsiteY72" fmla="*/ 60174 h 110081"/>
              <a:gd name="connsiteX73" fmla="*/ 237728 w 615206"/>
              <a:gd name="connsiteY73" fmla="*/ 51961 h 110081"/>
              <a:gd name="connsiteX74" fmla="*/ 228019 w 615206"/>
              <a:gd name="connsiteY74" fmla="*/ 49160 h 110081"/>
              <a:gd name="connsiteX75" fmla="*/ 211460 w 615206"/>
              <a:gd name="connsiteY75" fmla="*/ 55570 h 110081"/>
              <a:gd name="connsiteX76" fmla="*/ 204862 w 615206"/>
              <a:gd name="connsiteY76" fmla="*/ 74114 h 110081"/>
              <a:gd name="connsiteX77" fmla="*/ 210713 w 615206"/>
              <a:gd name="connsiteY77" fmla="*/ 91538 h 110081"/>
              <a:gd name="connsiteX78" fmla="*/ 226525 w 615206"/>
              <a:gd name="connsiteY78" fmla="*/ 98134 h 110081"/>
              <a:gd name="connsiteX79" fmla="*/ 279249 w 615206"/>
              <a:gd name="connsiteY79" fmla="*/ 1493 h 110081"/>
              <a:gd name="connsiteX80" fmla="*/ 345606 w 615206"/>
              <a:gd name="connsiteY80" fmla="*/ 1493 h 110081"/>
              <a:gd name="connsiteX81" fmla="*/ 345606 w 615206"/>
              <a:gd name="connsiteY81" fmla="*/ 14374 h 110081"/>
              <a:gd name="connsiteX82" fmla="*/ 293318 w 615206"/>
              <a:gd name="connsiteY82" fmla="*/ 14374 h 110081"/>
              <a:gd name="connsiteX83" fmla="*/ 293318 w 615206"/>
              <a:gd name="connsiteY83" fmla="*/ 46734 h 110081"/>
              <a:gd name="connsiteX84" fmla="*/ 337638 w 615206"/>
              <a:gd name="connsiteY84" fmla="*/ 46734 h 110081"/>
              <a:gd name="connsiteX85" fmla="*/ 337638 w 615206"/>
              <a:gd name="connsiteY85" fmla="*/ 59428 h 110081"/>
              <a:gd name="connsiteX86" fmla="*/ 293318 w 615206"/>
              <a:gd name="connsiteY86" fmla="*/ 59428 h 110081"/>
              <a:gd name="connsiteX87" fmla="*/ 293318 w 615206"/>
              <a:gd name="connsiteY87" fmla="*/ 95893 h 110081"/>
              <a:gd name="connsiteX88" fmla="*/ 346354 w 615206"/>
              <a:gd name="connsiteY88" fmla="*/ 95893 h 110081"/>
              <a:gd name="connsiteX89" fmla="*/ 346354 w 615206"/>
              <a:gd name="connsiteY89" fmla="*/ 108588 h 110081"/>
              <a:gd name="connsiteX90" fmla="*/ 279249 w 615206"/>
              <a:gd name="connsiteY90" fmla="*/ 108588 h 110081"/>
              <a:gd name="connsiteX91" fmla="*/ 279249 w 615206"/>
              <a:gd name="connsiteY91" fmla="*/ 1493 h 110081"/>
              <a:gd name="connsiteX92" fmla="*/ 368513 w 615206"/>
              <a:gd name="connsiteY92" fmla="*/ 1493 h 110081"/>
              <a:gd name="connsiteX93" fmla="*/ 404867 w 615206"/>
              <a:gd name="connsiteY93" fmla="*/ 1493 h 110081"/>
              <a:gd name="connsiteX94" fmla="*/ 431572 w 615206"/>
              <a:gd name="connsiteY94" fmla="*/ 7467 h 110081"/>
              <a:gd name="connsiteX95" fmla="*/ 440847 w 615206"/>
              <a:gd name="connsiteY95" fmla="*/ 27629 h 110081"/>
              <a:gd name="connsiteX96" fmla="*/ 434996 w 615206"/>
              <a:gd name="connsiteY96" fmla="*/ 45116 h 110081"/>
              <a:gd name="connsiteX97" fmla="*/ 419497 w 615206"/>
              <a:gd name="connsiteY97" fmla="*/ 53018 h 110081"/>
              <a:gd name="connsiteX98" fmla="*/ 438296 w 615206"/>
              <a:gd name="connsiteY98" fmla="*/ 60361 h 110081"/>
              <a:gd name="connsiteX99" fmla="*/ 444706 w 615206"/>
              <a:gd name="connsiteY99" fmla="*/ 77661 h 110081"/>
              <a:gd name="connsiteX100" fmla="*/ 439478 w 615206"/>
              <a:gd name="connsiteY100" fmla="*/ 95583 h 110081"/>
              <a:gd name="connsiteX101" fmla="*/ 425161 w 615206"/>
              <a:gd name="connsiteY101" fmla="*/ 105601 h 110081"/>
              <a:gd name="connsiteX102" fmla="*/ 404556 w 615206"/>
              <a:gd name="connsiteY102" fmla="*/ 108588 h 110081"/>
              <a:gd name="connsiteX103" fmla="*/ 368513 w 615206"/>
              <a:gd name="connsiteY103" fmla="*/ 108588 h 110081"/>
              <a:gd name="connsiteX104" fmla="*/ 368513 w 615206"/>
              <a:gd name="connsiteY104" fmla="*/ 1493 h 110081"/>
              <a:gd name="connsiteX105" fmla="*/ 403810 w 615206"/>
              <a:gd name="connsiteY105" fmla="*/ 47231 h 110081"/>
              <a:gd name="connsiteX106" fmla="*/ 420243 w 615206"/>
              <a:gd name="connsiteY106" fmla="*/ 42751 h 110081"/>
              <a:gd name="connsiteX107" fmla="*/ 426655 w 615206"/>
              <a:gd name="connsiteY107" fmla="*/ 28376 h 110081"/>
              <a:gd name="connsiteX108" fmla="*/ 420990 w 615206"/>
              <a:gd name="connsiteY108" fmla="*/ 17361 h 110081"/>
              <a:gd name="connsiteX109" fmla="*/ 404867 w 615206"/>
              <a:gd name="connsiteY109" fmla="*/ 14374 h 110081"/>
              <a:gd name="connsiteX110" fmla="*/ 382582 w 615206"/>
              <a:gd name="connsiteY110" fmla="*/ 14374 h 110081"/>
              <a:gd name="connsiteX111" fmla="*/ 382582 w 615206"/>
              <a:gd name="connsiteY111" fmla="*/ 47231 h 110081"/>
              <a:gd name="connsiteX112" fmla="*/ 403810 w 615206"/>
              <a:gd name="connsiteY112" fmla="*/ 47231 h 110081"/>
              <a:gd name="connsiteX113" fmla="*/ 404556 w 615206"/>
              <a:gd name="connsiteY113" fmla="*/ 95893 h 110081"/>
              <a:gd name="connsiteX114" fmla="*/ 422919 w 615206"/>
              <a:gd name="connsiteY114" fmla="*/ 92035 h 110081"/>
              <a:gd name="connsiteX115" fmla="*/ 429954 w 615206"/>
              <a:gd name="connsiteY115" fmla="*/ 77972 h 110081"/>
              <a:gd name="connsiteX116" fmla="*/ 423355 w 615206"/>
              <a:gd name="connsiteY116" fmla="*/ 63908 h 110081"/>
              <a:gd name="connsiteX117" fmla="*/ 402875 w 615206"/>
              <a:gd name="connsiteY117" fmla="*/ 59926 h 110081"/>
              <a:gd name="connsiteX118" fmla="*/ 382582 w 615206"/>
              <a:gd name="connsiteY118" fmla="*/ 59926 h 110081"/>
              <a:gd name="connsiteX119" fmla="*/ 382582 w 615206"/>
              <a:gd name="connsiteY119" fmla="*/ 95893 h 110081"/>
              <a:gd name="connsiteX120" fmla="*/ 404556 w 615206"/>
              <a:gd name="connsiteY120" fmla="*/ 95893 h 110081"/>
              <a:gd name="connsiteX121" fmla="*/ 464812 w 615206"/>
              <a:gd name="connsiteY121" fmla="*/ 1493 h 110081"/>
              <a:gd name="connsiteX122" fmla="*/ 530298 w 615206"/>
              <a:gd name="connsiteY122" fmla="*/ 1493 h 110081"/>
              <a:gd name="connsiteX123" fmla="*/ 530298 w 615206"/>
              <a:gd name="connsiteY123" fmla="*/ 14374 h 110081"/>
              <a:gd name="connsiteX124" fmla="*/ 478881 w 615206"/>
              <a:gd name="connsiteY124" fmla="*/ 14374 h 110081"/>
              <a:gd name="connsiteX125" fmla="*/ 478881 w 615206"/>
              <a:gd name="connsiteY125" fmla="*/ 49907 h 110081"/>
              <a:gd name="connsiteX126" fmla="*/ 522517 w 615206"/>
              <a:gd name="connsiteY126" fmla="*/ 49907 h 110081"/>
              <a:gd name="connsiteX127" fmla="*/ 522517 w 615206"/>
              <a:gd name="connsiteY127" fmla="*/ 62601 h 110081"/>
              <a:gd name="connsiteX128" fmla="*/ 478881 w 615206"/>
              <a:gd name="connsiteY128" fmla="*/ 62601 h 110081"/>
              <a:gd name="connsiteX129" fmla="*/ 478881 w 615206"/>
              <a:gd name="connsiteY129" fmla="*/ 108588 h 110081"/>
              <a:gd name="connsiteX130" fmla="*/ 464812 w 615206"/>
              <a:gd name="connsiteY130" fmla="*/ 108588 h 110081"/>
              <a:gd name="connsiteX131" fmla="*/ 464812 w 615206"/>
              <a:gd name="connsiteY131" fmla="*/ 1493 h 110081"/>
              <a:gd name="connsiteX132" fmla="*/ 549721 w 615206"/>
              <a:gd name="connsiteY132" fmla="*/ 1493 h 110081"/>
              <a:gd name="connsiteX133" fmla="*/ 615207 w 615206"/>
              <a:gd name="connsiteY133" fmla="*/ 1493 h 110081"/>
              <a:gd name="connsiteX134" fmla="*/ 615207 w 615206"/>
              <a:gd name="connsiteY134" fmla="*/ 14374 h 110081"/>
              <a:gd name="connsiteX135" fmla="*/ 563789 w 615206"/>
              <a:gd name="connsiteY135" fmla="*/ 14374 h 110081"/>
              <a:gd name="connsiteX136" fmla="*/ 563789 w 615206"/>
              <a:gd name="connsiteY136" fmla="*/ 49907 h 110081"/>
              <a:gd name="connsiteX137" fmla="*/ 607426 w 615206"/>
              <a:gd name="connsiteY137" fmla="*/ 49907 h 110081"/>
              <a:gd name="connsiteX138" fmla="*/ 607426 w 615206"/>
              <a:gd name="connsiteY138" fmla="*/ 62601 h 110081"/>
              <a:gd name="connsiteX139" fmla="*/ 563789 w 615206"/>
              <a:gd name="connsiteY139" fmla="*/ 62601 h 110081"/>
              <a:gd name="connsiteX140" fmla="*/ 563789 w 615206"/>
              <a:gd name="connsiteY140" fmla="*/ 108588 h 110081"/>
              <a:gd name="connsiteX141" fmla="*/ 549721 w 615206"/>
              <a:gd name="connsiteY141" fmla="*/ 108588 h 110081"/>
              <a:gd name="connsiteX142" fmla="*/ 549721 w 615206"/>
              <a:gd name="connsiteY14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15206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07816" y="1493"/>
                </a:moveTo>
                <a:lnTo>
                  <a:pt x="174172" y="1493"/>
                </a:lnTo>
                <a:lnTo>
                  <a:pt x="174172" y="14374"/>
                </a:lnTo>
                <a:lnTo>
                  <a:pt x="121884" y="14374"/>
                </a:lnTo>
                <a:lnTo>
                  <a:pt x="121884" y="46734"/>
                </a:lnTo>
                <a:lnTo>
                  <a:pt x="166267" y="46734"/>
                </a:lnTo>
                <a:lnTo>
                  <a:pt x="166267" y="59428"/>
                </a:lnTo>
                <a:lnTo>
                  <a:pt x="121884" y="59428"/>
                </a:lnTo>
                <a:lnTo>
                  <a:pt x="121884" y="95893"/>
                </a:lnTo>
                <a:lnTo>
                  <a:pt x="174920" y="95893"/>
                </a:lnTo>
                <a:lnTo>
                  <a:pt x="174920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262566" y="73491"/>
                </a:moveTo>
                <a:cubicBezTo>
                  <a:pt x="262566" y="80772"/>
                  <a:pt x="260947" y="87182"/>
                  <a:pt x="257774" y="92782"/>
                </a:cubicBezTo>
                <a:cubicBezTo>
                  <a:pt x="254661" y="98258"/>
                  <a:pt x="250427" y="102490"/>
                  <a:pt x="245075" y="105601"/>
                </a:cubicBezTo>
                <a:cubicBezTo>
                  <a:pt x="239721" y="108588"/>
                  <a:pt x="233683" y="110082"/>
                  <a:pt x="227022" y="110082"/>
                </a:cubicBezTo>
                <a:cubicBezTo>
                  <a:pt x="218058" y="110082"/>
                  <a:pt x="210838" y="108091"/>
                  <a:pt x="205359" y="104108"/>
                </a:cubicBezTo>
                <a:cubicBezTo>
                  <a:pt x="199882" y="100125"/>
                  <a:pt x="195835" y="94587"/>
                  <a:pt x="193221" y="87555"/>
                </a:cubicBezTo>
                <a:cubicBezTo>
                  <a:pt x="190732" y="80461"/>
                  <a:pt x="189485" y="72372"/>
                  <a:pt x="189485" y="63161"/>
                </a:cubicBezTo>
                <a:cubicBezTo>
                  <a:pt x="189485" y="50653"/>
                  <a:pt x="190979" y="39639"/>
                  <a:pt x="193969" y="30181"/>
                </a:cubicBezTo>
                <a:cubicBezTo>
                  <a:pt x="197081" y="20722"/>
                  <a:pt x="201750" y="13379"/>
                  <a:pt x="208036" y="8089"/>
                </a:cubicBezTo>
                <a:cubicBezTo>
                  <a:pt x="214385" y="2675"/>
                  <a:pt x="222540" y="0"/>
                  <a:pt x="232500" y="0"/>
                </a:cubicBezTo>
                <a:cubicBezTo>
                  <a:pt x="241090" y="0"/>
                  <a:pt x="248622" y="1866"/>
                  <a:pt x="255096" y="5538"/>
                </a:cubicBezTo>
                <a:lnTo>
                  <a:pt x="255096" y="18855"/>
                </a:lnTo>
                <a:cubicBezTo>
                  <a:pt x="248622" y="14437"/>
                  <a:pt x="241090" y="12259"/>
                  <a:pt x="232500" y="12259"/>
                </a:cubicBezTo>
                <a:cubicBezTo>
                  <a:pt x="226338" y="12259"/>
                  <a:pt x="221171" y="13939"/>
                  <a:pt x="217001" y="17361"/>
                </a:cubicBezTo>
                <a:cubicBezTo>
                  <a:pt x="212829" y="20722"/>
                  <a:pt x="209531" y="25327"/>
                  <a:pt x="207102" y="31238"/>
                </a:cubicBezTo>
                <a:cubicBezTo>
                  <a:pt x="204862" y="37026"/>
                  <a:pt x="203429" y="43498"/>
                  <a:pt x="202932" y="50778"/>
                </a:cubicBezTo>
                <a:cubicBezTo>
                  <a:pt x="206232" y="46298"/>
                  <a:pt x="210028" y="42999"/>
                  <a:pt x="214323" y="40759"/>
                </a:cubicBezTo>
                <a:cubicBezTo>
                  <a:pt x="218557" y="38581"/>
                  <a:pt x="223288" y="37523"/>
                  <a:pt x="228329" y="37523"/>
                </a:cubicBezTo>
                <a:cubicBezTo>
                  <a:pt x="234803" y="37523"/>
                  <a:pt x="240593" y="38893"/>
                  <a:pt x="245696" y="41693"/>
                </a:cubicBezTo>
                <a:cubicBezTo>
                  <a:pt x="250864" y="44493"/>
                  <a:pt x="254909" y="48538"/>
                  <a:pt x="257897" y="53952"/>
                </a:cubicBezTo>
                <a:cubicBezTo>
                  <a:pt x="261009" y="59179"/>
                  <a:pt x="262566" y="65713"/>
                  <a:pt x="262566" y="73491"/>
                </a:cubicBezTo>
                <a:close/>
                <a:moveTo>
                  <a:pt x="226525" y="98134"/>
                </a:moveTo>
                <a:cubicBezTo>
                  <a:pt x="230446" y="98134"/>
                  <a:pt x="233994" y="97263"/>
                  <a:pt x="237294" y="95458"/>
                </a:cubicBezTo>
                <a:cubicBezTo>
                  <a:pt x="240593" y="93529"/>
                  <a:pt x="243207" y="90791"/>
                  <a:pt x="245199" y="87244"/>
                </a:cubicBezTo>
                <a:cubicBezTo>
                  <a:pt x="247315" y="83635"/>
                  <a:pt x="248374" y="79154"/>
                  <a:pt x="248374" y="73803"/>
                </a:cubicBezTo>
                <a:cubicBezTo>
                  <a:pt x="248374" y="68389"/>
                  <a:pt x="247377" y="63908"/>
                  <a:pt x="245385" y="60174"/>
                </a:cubicBezTo>
                <a:cubicBezTo>
                  <a:pt x="243394" y="56503"/>
                  <a:pt x="240841" y="53765"/>
                  <a:pt x="237728" y="51961"/>
                </a:cubicBezTo>
                <a:cubicBezTo>
                  <a:pt x="234678" y="50093"/>
                  <a:pt x="231441" y="49160"/>
                  <a:pt x="228019" y="49160"/>
                </a:cubicBezTo>
                <a:cubicBezTo>
                  <a:pt x="221482" y="49160"/>
                  <a:pt x="215941" y="51276"/>
                  <a:pt x="211460" y="55570"/>
                </a:cubicBezTo>
                <a:cubicBezTo>
                  <a:pt x="207102" y="59739"/>
                  <a:pt x="204862" y="65900"/>
                  <a:pt x="204862" y="74114"/>
                </a:cubicBezTo>
                <a:cubicBezTo>
                  <a:pt x="204862" y="81270"/>
                  <a:pt x="206853" y="87058"/>
                  <a:pt x="210713" y="91538"/>
                </a:cubicBezTo>
                <a:cubicBezTo>
                  <a:pt x="214572" y="95956"/>
                  <a:pt x="219864" y="98134"/>
                  <a:pt x="226525" y="98134"/>
                </a:cubicBezTo>
                <a:close/>
                <a:moveTo>
                  <a:pt x="279249" y="1493"/>
                </a:moveTo>
                <a:lnTo>
                  <a:pt x="345606" y="1493"/>
                </a:lnTo>
                <a:lnTo>
                  <a:pt x="345606" y="14374"/>
                </a:lnTo>
                <a:lnTo>
                  <a:pt x="293318" y="14374"/>
                </a:lnTo>
                <a:lnTo>
                  <a:pt x="293318" y="46734"/>
                </a:lnTo>
                <a:lnTo>
                  <a:pt x="337638" y="46734"/>
                </a:lnTo>
                <a:lnTo>
                  <a:pt x="337638" y="59428"/>
                </a:lnTo>
                <a:lnTo>
                  <a:pt x="293318" y="59428"/>
                </a:lnTo>
                <a:lnTo>
                  <a:pt x="293318" y="95893"/>
                </a:lnTo>
                <a:lnTo>
                  <a:pt x="346354" y="95893"/>
                </a:lnTo>
                <a:lnTo>
                  <a:pt x="346354" y="108588"/>
                </a:lnTo>
                <a:lnTo>
                  <a:pt x="279249" y="108588"/>
                </a:lnTo>
                <a:lnTo>
                  <a:pt x="279249" y="1493"/>
                </a:lnTo>
                <a:close/>
                <a:moveTo>
                  <a:pt x="368513" y="1493"/>
                </a:moveTo>
                <a:lnTo>
                  <a:pt x="404867" y="1493"/>
                </a:lnTo>
                <a:cubicBezTo>
                  <a:pt x="416569" y="1493"/>
                  <a:pt x="425534" y="3484"/>
                  <a:pt x="431572" y="7467"/>
                </a:cubicBezTo>
                <a:cubicBezTo>
                  <a:pt x="437735" y="11450"/>
                  <a:pt x="440847" y="18170"/>
                  <a:pt x="440847" y="27629"/>
                </a:cubicBezTo>
                <a:cubicBezTo>
                  <a:pt x="440847" y="35283"/>
                  <a:pt x="438917" y="41133"/>
                  <a:pt x="434996" y="45116"/>
                </a:cubicBezTo>
                <a:cubicBezTo>
                  <a:pt x="431136" y="48974"/>
                  <a:pt x="425969" y="51649"/>
                  <a:pt x="419497" y="53018"/>
                </a:cubicBezTo>
                <a:cubicBezTo>
                  <a:pt x="427775" y="54014"/>
                  <a:pt x="433999" y="56441"/>
                  <a:pt x="438296" y="60361"/>
                </a:cubicBezTo>
                <a:cubicBezTo>
                  <a:pt x="442591" y="64157"/>
                  <a:pt x="444706" y="69882"/>
                  <a:pt x="444706" y="77661"/>
                </a:cubicBezTo>
                <a:cubicBezTo>
                  <a:pt x="444706" y="85066"/>
                  <a:pt x="442965" y="91040"/>
                  <a:pt x="439478" y="95583"/>
                </a:cubicBezTo>
                <a:cubicBezTo>
                  <a:pt x="435992" y="100188"/>
                  <a:pt x="431261" y="103486"/>
                  <a:pt x="425161" y="105601"/>
                </a:cubicBezTo>
                <a:cubicBezTo>
                  <a:pt x="419060" y="107592"/>
                  <a:pt x="412212" y="108588"/>
                  <a:pt x="404556" y="108588"/>
                </a:cubicBezTo>
                <a:lnTo>
                  <a:pt x="368513" y="108588"/>
                </a:lnTo>
                <a:lnTo>
                  <a:pt x="368513" y="1493"/>
                </a:lnTo>
                <a:close/>
                <a:moveTo>
                  <a:pt x="403810" y="47231"/>
                </a:moveTo>
                <a:cubicBezTo>
                  <a:pt x="410594" y="47231"/>
                  <a:pt x="416073" y="45738"/>
                  <a:pt x="420243" y="42751"/>
                </a:cubicBezTo>
                <a:cubicBezTo>
                  <a:pt x="424538" y="39639"/>
                  <a:pt x="426655" y="34848"/>
                  <a:pt x="426655" y="28376"/>
                </a:cubicBezTo>
                <a:cubicBezTo>
                  <a:pt x="426655" y="22900"/>
                  <a:pt x="424787" y="19228"/>
                  <a:pt x="420990" y="17361"/>
                </a:cubicBezTo>
                <a:cubicBezTo>
                  <a:pt x="417193" y="15370"/>
                  <a:pt x="411840" y="14374"/>
                  <a:pt x="404867" y="14374"/>
                </a:cubicBezTo>
                <a:lnTo>
                  <a:pt x="382582" y="14374"/>
                </a:lnTo>
                <a:lnTo>
                  <a:pt x="382582" y="47231"/>
                </a:lnTo>
                <a:lnTo>
                  <a:pt x="403810" y="47231"/>
                </a:lnTo>
                <a:close/>
                <a:moveTo>
                  <a:pt x="404556" y="95893"/>
                </a:moveTo>
                <a:cubicBezTo>
                  <a:pt x="412088" y="95893"/>
                  <a:pt x="418250" y="94587"/>
                  <a:pt x="422919" y="92035"/>
                </a:cubicBezTo>
                <a:cubicBezTo>
                  <a:pt x="427588" y="89422"/>
                  <a:pt x="429954" y="84755"/>
                  <a:pt x="429954" y="77972"/>
                </a:cubicBezTo>
                <a:cubicBezTo>
                  <a:pt x="429954" y="71189"/>
                  <a:pt x="427775" y="66522"/>
                  <a:pt x="423355" y="63908"/>
                </a:cubicBezTo>
                <a:cubicBezTo>
                  <a:pt x="419060" y="61233"/>
                  <a:pt x="412275" y="59926"/>
                  <a:pt x="402875" y="59926"/>
                </a:cubicBezTo>
                <a:lnTo>
                  <a:pt x="382582" y="59926"/>
                </a:lnTo>
                <a:lnTo>
                  <a:pt x="382582" y="95893"/>
                </a:lnTo>
                <a:lnTo>
                  <a:pt x="404556" y="95893"/>
                </a:lnTo>
                <a:close/>
                <a:moveTo>
                  <a:pt x="464812" y="1493"/>
                </a:moveTo>
                <a:lnTo>
                  <a:pt x="530298" y="1493"/>
                </a:lnTo>
                <a:lnTo>
                  <a:pt x="530298" y="14374"/>
                </a:lnTo>
                <a:lnTo>
                  <a:pt x="478881" y="14374"/>
                </a:lnTo>
                <a:lnTo>
                  <a:pt x="478881" y="49907"/>
                </a:lnTo>
                <a:lnTo>
                  <a:pt x="522517" y="49907"/>
                </a:lnTo>
                <a:lnTo>
                  <a:pt x="522517" y="62601"/>
                </a:lnTo>
                <a:lnTo>
                  <a:pt x="478881" y="62601"/>
                </a:lnTo>
                <a:lnTo>
                  <a:pt x="478881" y="108588"/>
                </a:lnTo>
                <a:lnTo>
                  <a:pt x="464812" y="108588"/>
                </a:lnTo>
                <a:lnTo>
                  <a:pt x="464812" y="1493"/>
                </a:lnTo>
                <a:close/>
                <a:moveTo>
                  <a:pt x="549721" y="1493"/>
                </a:moveTo>
                <a:lnTo>
                  <a:pt x="615207" y="1493"/>
                </a:lnTo>
                <a:lnTo>
                  <a:pt x="615207" y="14374"/>
                </a:lnTo>
                <a:lnTo>
                  <a:pt x="563789" y="14374"/>
                </a:lnTo>
                <a:lnTo>
                  <a:pt x="563789" y="49907"/>
                </a:lnTo>
                <a:lnTo>
                  <a:pt x="607426" y="49907"/>
                </a:lnTo>
                <a:lnTo>
                  <a:pt x="607426" y="62601"/>
                </a:lnTo>
                <a:lnTo>
                  <a:pt x="563789" y="62601"/>
                </a:lnTo>
                <a:lnTo>
                  <a:pt x="563789" y="108588"/>
                </a:lnTo>
                <a:lnTo>
                  <a:pt x="549721" y="108588"/>
                </a:lnTo>
                <a:lnTo>
                  <a:pt x="549721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6" name="Полилиния 945">
            <a:extLst>
              <a:ext uri="{FF2B5EF4-FFF2-40B4-BE49-F238E27FC236}">
                <a16:creationId xmlns:a16="http://schemas.microsoft.com/office/drawing/2014/main" id="{93B2E14B-F1F6-00D7-D062-5DB93D42B0E5}"/>
              </a:ext>
            </a:extLst>
          </p:cNvPr>
          <p:cNvSpPr/>
          <p:nvPr userDrawn="1"/>
        </p:nvSpPr>
        <p:spPr>
          <a:xfrm>
            <a:off x="9547358" y="3787620"/>
            <a:ext cx="2557159" cy="726227"/>
          </a:xfrm>
          <a:custGeom>
            <a:avLst/>
            <a:gdLst>
              <a:gd name="connsiteX0" fmla="*/ 2604 w 2191162"/>
              <a:gd name="connsiteY0" fmla="*/ 1022 h 622284"/>
              <a:gd name="connsiteX1" fmla="*/ 2193767 w 2191162"/>
              <a:gd name="connsiteY1" fmla="*/ 1022 h 622284"/>
              <a:gd name="connsiteX2" fmla="*/ 2193767 w 2191162"/>
              <a:gd name="connsiteY2" fmla="*/ 623306 h 622284"/>
              <a:gd name="connsiteX3" fmla="*/ 2604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022"/>
                </a:moveTo>
                <a:lnTo>
                  <a:pt x="2193767" y="1022"/>
                </a:lnTo>
                <a:lnTo>
                  <a:pt x="2193767" y="623306"/>
                </a:lnTo>
                <a:lnTo>
                  <a:pt x="2604" y="623306"/>
                </a:lnTo>
                <a:close/>
              </a:path>
            </a:pathLst>
          </a:custGeom>
          <a:solidFill>
            <a:srgbClr val="0023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7" name="Полилиния 946">
            <a:extLst>
              <a:ext uri="{FF2B5EF4-FFF2-40B4-BE49-F238E27FC236}">
                <a16:creationId xmlns:a16="http://schemas.microsoft.com/office/drawing/2014/main" id="{0AE652F1-CA71-40C0-0E32-DC9319806A21}"/>
              </a:ext>
            </a:extLst>
          </p:cNvPr>
          <p:cNvSpPr/>
          <p:nvPr userDrawn="1"/>
        </p:nvSpPr>
        <p:spPr>
          <a:xfrm>
            <a:off x="9670565" y="4089368"/>
            <a:ext cx="676631" cy="128468"/>
          </a:xfrm>
          <a:custGeom>
            <a:avLst/>
            <a:gdLst>
              <a:gd name="connsiteX0" fmla="*/ 22099 w 579787"/>
              <a:gd name="connsiteY0" fmla="*/ 108588 h 110081"/>
              <a:gd name="connsiteX1" fmla="*/ 10147 w 579787"/>
              <a:gd name="connsiteY1" fmla="*/ 108588 h 110081"/>
              <a:gd name="connsiteX2" fmla="*/ 16435 w 579787"/>
              <a:gd name="connsiteY2" fmla="*/ 77661 h 110081"/>
              <a:gd name="connsiteX3" fmla="*/ 0 w 579787"/>
              <a:gd name="connsiteY3" fmla="*/ 77661 h 110081"/>
              <a:gd name="connsiteX4" fmla="*/ 0 w 579787"/>
              <a:gd name="connsiteY4" fmla="*/ 67206 h 110081"/>
              <a:gd name="connsiteX5" fmla="*/ 18675 w 579787"/>
              <a:gd name="connsiteY5" fmla="*/ 67206 h 110081"/>
              <a:gd name="connsiteX6" fmla="*/ 24216 w 579787"/>
              <a:gd name="connsiteY6" fmla="*/ 40012 h 110081"/>
              <a:gd name="connsiteX7" fmla="*/ 4047 w 579787"/>
              <a:gd name="connsiteY7" fmla="*/ 40012 h 110081"/>
              <a:gd name="connsiteX8" fmla="*/ 4047 w 579787"/>
              <a:gd name="connsiteY8" fmla="*/ 29559 h 110081"/>
              <a:gd name="connsiteX9" fmla="*/ 26269 w 579787"/>
              <a:gd name="connsiteY9" fmla="*/ 29559 h 110081"/>
              <a:gd name="connsiteX10" fmla="*/ 32121 w 579787"/>
              <a:gd name="connsiteY10" fmla="*/ 1493 h 110081"/>
              <a:gd name="connsiteX11" fmla="*/ 44073 w 579787"/>
              <a:gd name="connsiteY11" fmla="*/ 1493 h 110081"/>
              <a:gd name="connsiteX12" fmla="*/ 38222 w 579787"/>
              <a:gd name="connsiteY12" fmla="*/ 29559 h 110081"/>
              <a:gd name="connsiteX13" fmla="*/ 60630 w 579787"/>
              <a:gd name="connsiteY13" fmla="*/ 29559 h 110081"/>
              <a:gd name="connsiteX14" fmla="*/ 66481 w 579787"/>
              <a:gd name="connsiteY14" fmla="*/ 1493 h 110081"/>
              <a:gd name="connsiteX15" fmla="*/ 78434 w 579787"/>
              <a:gd name="connsiteY15" fmla="*/ 1493 h 110081"/>
              <a:gd name="connsiteX16" fmla="*/ 72583 w 579787"/>
              <a:gd name="connsiteY16" fmla="*/ 29559 h 110081"/>
              <a:gd name="connsiteX17" fmla="*/ 89328 w 579787"/>
              <a:gd name="connsiteY17" fmla="*/ 29559 h 110081"/>
              <a:gd name="connsiteX18" fmla="*/ 89328 w 579787"/>
              <a:gd name="connsiteY18" fmla="*/ 40012 h 110081"/>
              <a:gd name="connsiteX19" fmla="*/ 70529 w 579787"/>
              <a:gd name="connsiteY19" fmla="*/ 40012 h 110081"/>
              <a:gd name="connsiteX20" fmla="*/ 64988 w 579787"/>
              <a:gd name="connsiteY20" fmla="*/ 67206 h 110081"/>
              <a:gd name="connsiteX21" fmla="*/ 85281 w 579787"/>
              <a:gd name="connsiteY21" fmla="*/ 67206 h 110081"/>
              <a:gd name="connsiteX22" fmla="*/ 85281 w 579787"/>
              <a:gd name="connsiteY22" fmla="*/ 77661 h 110081"/>
              <a:gd name="connsiteX23" fmla="*/ 62747 w 579787"/>
              <a:gd name="connsiteY23" fmla="*/ 77661 h 110081"/>
              <a:gd name="connsiteX24" fmla="*/ 56460 w 579787"/>
              <a:gd name="connsiteY24" fmla="*/ 108588 h 110081"/>
              <a:gd name="connsiteX25" fmla="*/ 44509 w 579787"/>
              <a:gd name="connsiteY25" fmla="*/ 108588 h 110081"/>
              <a:gd name="connsiteX26" fmla="*/ 50796 w 579787"/>
              <a:gd name="connsiteY26" fmla="*/ 77661 h 110081"/>
              <a:gd name="connsiteX27" fmla="*/ 28386 w 579787"/>
              <a:gd name="connsiteY27" fmla="*/ 77661 h 110081"/>
              <a:gd name="connsiteX28" fmla="*/ 22099 w 579787"/>
              <a:gd name="connsiteY28" fmla="*/ 108588 h 110081"/>
              <a:gd name="connsiteX29" fmla="*/ 30626 w 579787"/>
              <a:gd name="connsiteY29" fmla="*/ 67206 h 110081"/>
              <a:gd name="connsiteX30" fmla="*/ 53036 w 579787"/>
              <a:gd name="connsiteY30" fmla="*/ 67206 h 110081"/>
              <a:gd name="connsiteX31" fmla="*/ 58577 w 579787"/>
              <a:gd name="connsiteY31" fmla="*/ 40012 h 110081"/>
              <a:gd name="connsiteX32" fmla="*/ 36167 w 579787"/>
              <a:gd name="connsiteY32" fmla="*/ 40012 h 110081"/>
              <a:gd name="connsiteX33" fmla="*/ 30626 w 579787"/>
              <a:gd name="connsiteY33" fmla="*/ 67206 h 110081"/>
              <a:gd name="connsiteX34" fmla="*/ 136636 w 579787"/>
              <a:gd name="connsiteY34" fmla="*/ 110082 h 110081"/>
              <a:gd name="connsiteX35" fmla="*/ 118460 w 579787"/>
              <a:gd name="connsiteY35" fmla="*/ 104233 h 110081"/>
              <a:gd name="connsiteX36" fmla="*/ 105761 w 579787"/>
              <a:gd name="connsiteY36" fmla="*/ 86311 h 110081"/>
              <a:gd name="connsiteX37" fmla="*/ 101279 w 579787"/>
              <a:gd name="connsiteY37" fmla="*/ 54947 h 110081"/>
              <a:gd name="connsiteX38" fmla="*/ 105761 w 579787"/>
              <a:gd name="connsiteY38" fmla="*/ 23584 h 110081"/>
              <a:gd name="connsiteX39" fmla="*/ 118460 w 579787"/>
              <a:gd name="connsiteY39" fmla="*/ 5849 h 110081"/>
              <a:gd name="connsiteX40" fmla="*/ 136636 w 579787"/>
              <a:gd name="connsiteY40" fmla="*/ 186 h 110081"/>
              <a:gd name="connsiteX41" fmla="*/ 154752 w 579787"/>
              <a:gd name="connsiteY41" fmla="*/ 5849 h 110081"/>
              <a:gd name="connsiteX42" fmla="*/ 167139 w 579787"/>
              <a:gd name="connsiteY42" fmla="*/ 23584 h 110081"/>
              <a:gd name="connsiteX43" fmla="*/ 171621 w 579787"/>
              <a:gd name="connsiteY43" fmla="*/ 54698 h 110081"/>
              <a:gd name="connsiteX44" fmla="*/ 167139 w 579787"/>
              <a:gd name="connsiteY44" fmla="*/ 86062 h 110081"/>
              <a:gd name="connsiteX45" fmla="*/ 154752 w 579787"/>
              <a:gd name="connsiteY45" fmla="*/ 104233 h 110081"/>
              <a:gd name="connsiteX46" fmla="*/ 136636 w 579787"/>
              <a:gd name="connsiteY46" fmla="*/ 110082 h 110081"/>
              <a:gd name="connsiteX47" fmla="*/ 136512 w 579787"/>
              <a:gd name="connsiteY47" fmla="*/ 98258 h 110081"/>
              <a:gd name="connsiteX48" fmla="*/ 147841 w 579787"/>
              <a:gd name="connsiteY48" fmla="*/ 94275 h 110081"/>
              <a:gd name="connsiteX49" fmla="*/ 155063 w 579787"/>
              <a:gd name="connsiteY49" fmla="*/ 80648 h 110081"/>
              <a:gd name="connsiteX50" fmla="*/ 157552 w 579787"/>
              <a:gd name="connsiteY50" fmla="*/ 55134 h 110081"/>
              <a:gd name="connsiteX51" fmla="*/ 155186 w 579787"/>
              <a:gd name="connsiteY51" fmla="*/ 29745 h 110081"/>
              <a:gd name="connsiteX52" fmla="*/ 148028 w 579787"/>
              <a:gd name="connsiteY52" fmla="*/ 16117 h 110081"/>
              <a:gd name="connsiteX53" fmla="*/ 136636 w 579787"/>
              <a:gd name="connsiteY53" fmla="*/ 11947 h 110081"/>
              <a:gd name="connsiteX54" fmla="*/ 125183 w 579787"/>
              <a:gd name="connsiteY54" fmla="*/ 16117 h 110081"/>
              <a:gd name="connsiteX55" fmla="*/ 117837 w 579787"/>
              <a:gd name="connsiteY55" fmla="*/ 29745 h 110081"/>
              <a:gd name="connsiteX56" fmla="*/ 115285 w 579787"/>
              <a:gd name="connsiteY56" fmla="*/ 55134 h 110081"/>
              <a:gd name="connsiteX57" fmla="*/ 117714 w 579787"/>
              <a:gd name="connsiteY57" fmla="*/ 80648 h 110081"/>
              <a:gd name="connsiteX58" fmla="*/ 124996 w 579787"/>
              <a:gd name="connsiteY58" fmla="*/ 94275 h 110081"/>
              <a:gd name="connsiteX59" fmla="*/ 136512 w 579787"/>
              <a:gd name="connsiteY59" fmla="*/ 98258 h 110081"/>
              <a:gd name="connsiteX60" fmla="*/ 218806 w 579787"/>
              <a:gd name="connsiteY60" fmla="*/ 110082 h 110081"/>
              <a:gd name="connsiteX61" fmla="*/ 200566 w 579787"/>
              <a:gd name="connsiteY61" fmla="*/ 104233 h 110081"/>
              <a:gd name="connsiteX62" fmla="*/ 187867 w 579787"/>
              <a:gd name="connsiteY62" fmla="*/ 86311 h 110081"/>
              <a:gd name="connsiteX63" fmla="*/ 183385 w 579787"/>
              <a:gd name="connsiteY63" fmla="*/ 54947 h 110081"/>
              <a:gd name="connsiteX64" fmla="*/ 187867 w 579787"/>
              <a:gd name="connsiteY64" fmla="*/ 23584 h 110081"/>
              <a:gd name="connsiteX65" fmla="*/ 200566 w 579787"/>
              <a:gd name="connsiteY65" fmla="*/ 5849 h 110081"/>
              <a:gd name="connsiteX66" fmla="*/ 218806 w 579787"/>
              <a:gd name="connsiteY66" fmla="*/ 186 h 110081"/>
              <a:gd name="connsiteX67" fmla="*/ 236858 w 579787"/>
              <a:gd name="connsiteY67" fmla="*/ 5849 h 110081"/>
              <a:gd name="connsiteX68" fmla="*/ 249245 w 579787"/>
              <a:gd name="connsiteY68" fmla="*/ 23584 h 110081"/>
              <a:gd name="connsiteX69" fmla="*/ 253727 w 579787"/>
              <a:gd name="connsiteY69" fmla="*/ 54698 h 110081"/>
              <a:gd name="connsiteX70" fmla="*/ 249245 w 579787"/>
              <a:gd name="connsiteY70" fmla="*/ 86062 h 110081"/>
              <a:gd name="connsiteX71" fmla="*/ 236858 w 579787"/>
              <a:gd name="connsiteY71" fmla="*/ 104233 h 110081"/>
              <a:gd name="connsiteX72" fmla="*/ 218806 w 579787"/>
              <a:gd name="connsiteY72" fmla="*/ 110082 h 110081"/>
              <a:gd name="connsiteX73" fmla="*/ 218619 w 579787"/>
              <a:gd name="connsiteY73" fmla="*/ 98258 h 110081"/>
              <a:gd name="connsiteX74" fmla="*/ 230010 w 579787"/>
              <a:gd name="connsiteY74" fmla="*/ 94275 h 110081"/>
              <a:gd name="connsiteX75" fmla="*/ 237169 w 579787"/>
              <a:gd name="connsiteY75" fmla="*/ 80648 h 110081"/>
              <a:gd name="connsiteX76" fmla="*/ 239721 w 579787"/>
              <a:gd name="connsiteY76" fmla="*/ 55134 h 110081"/>
              <a:gd name="connsiteX77" fmla="*/ 237294 w 579787"/>
              <a:gd name="connsiteY77" fmla="*/ 29745 h 110081"/>
              <a:gd name="connsiteX78" fmla="*/ 230134 w 579787"/>
              <a:gd name="connsiteY78" fmla="*/ 16117 h 110081"/>
              <a:gd name="connsiteX79" fmla="*/ 218806 w 579787"/>
              <a:gd name="connsiteY79" fmla="*/ 11947 h 110081"/>
              <a:gd name="connsiteX80" fmla="*/ 207289 w 579787"/>
              <a:gd name="connsiteY80" fmla="*/ 16117 h 110081"/>
              <a:gd name="connsiteX81" fmla="*/ 199944 w 579787"/>
              <a:gd name="connsiteY81" fmla="*/ 29745 h 110081"/>
              <a:gd name="connsiteX82" fmla="*/ 197453 w 579787"/>
              <a:gd name="connsiteY82" fmla="*/ 55134 h 110081"/>
              <a:gd name="connsiteX83" fmla="*/ 199820 w 579787"/>
              <a:gd name="connsiteY83" fmla="*/ 80648 h 110081"/>
              <a:gd name="connsiteX84" fmla="*/ 207165 w 579787"/>
              <a:gd name="connsiteY84" fmla="*/ 94275 h 110081"/>
              <a:gd name="connsiteX85" fmla="*/ 218619 w 579787"/>
              <a:gd name="connsiteY85" fmla="*/ 98258 h 110081"/>
              <a:gd name="connsiteX86" fmla="*/ 335149 w 579787"/>
              <a:gd name="connsiteY86" fmla="*/ 108588 h 110081"/>
              <a:gd name="connsiteX87" fmla="*/ 266862 w 579787"/>
              <a:gd name="connsiteY87" fmla="*/ 108588 h 110081"/>
              <a:gd name="connsiteX88" fmla="*/ 266862 w 579787"/>
              <a:gd name="connsiteY88" fmla="*/ 94400 h 110081"/>
              <a:gd name="connsiteX89" fmla="*/ 293006 w 579787"/>
              <a:gd name="connsiteY89" fmla="*/ 72433 h 110081"/>
              <a:gd name="connsiteX90" fmla="*/ 309005 w 579787"/>
              <a:gd name="connsiteY90" fmla="*/ 56628 h 110081"/>
              <a:gd name="connsiteX91" fmla="*/ 317096 w 579787"/>
              <a:gd name="connsiteY91" fmla="*/ 43933 h 110081"/>
              <a:gd name="connsiteX92" fmla="*/ 319462 w 579787"/>
              <a:gd name="connsiteY92" fmla="*/ 32109 h 110081"/>
              <a:gd name="connsiteX93" fmla="*/ 313921 w 579787"/>
              <a:gd name="connsiteY93" fmla="*/ 17610 h 110081"/>
              <a:gd name="connsiteX94" fmla="*/ 298670 w 579787"/>
              <a:gd name="connsiteY94" fmla="*/ 12383 h 110081"/>
              <a:gd name="connsiteX95" fmla="*/ 269725 w 579787"/>
              <a:gd name="connsiteY95" fmla="*/ 27194 h 110081"/>
              <a:gd name="connsiteX96" fmla="*/ 269725 w 579787"/>
              <a:gd name="connsiteY96" fmla="*/ 12134 h 110081"/>
              <a:gd name="connsiteX97" fmla="*/ 299169 w 579787"/>
              <a:gd name="connsiteY97" fmla="*/ 0 h 110081"/>
              <a:gd name="connsiteX98" fmla="*/ 324567 w 579787"/>
              <a:gd name="connsiteY98" fmla="*/ 8401 h 110081"/>
              <a:gd name="connsiteX99" fmla="*/ 333967 w 579787"/>
              <a:gd name="connsiteY99" fmla="*/ 30803 h 110081"/>
              <a:gd name="connsiteX100" fmla="*/ 331538 w 579787"/>
              <a:gd name="connsiteY100" fmla="*/ 44804 h 110081"/>
              <a:gd name="connsiteX101" fmla="*/ 323508 w 579787"/>
              <a:gd name="connsiteY101" fmla="*/ 58681 h 110081"/>
              <a:gd name="connsiteX102" fmla="*/ 307821 w 579787"/>
              <a:gd name="connsiteY102" fmla="*/ 74860 h 110081"/>
              <a:gd name="connsiteX103" fmla="*/ 282424 w 579787"/>
              <a:gd name="connsiteY103" fmla="*/ 95769 h 110081"/>
              <a:gd name="connsiteX104" fmla="*/ 335149 w 579787"/>
              <a:gd name="connsiteY104" fmla="*/ 95769 h 110081"/>
              <a:gd name="connsiteX105" fmla="*/ 335149 w 579787"/>
              <a:gd name="connsiteY105" fmla="*/ 108588 h 110081"/>
              <a:gd name="connsiteX106" fmla="*/ 366523 w 579787"/>
              <a:gd name="connsiteY106" fmla="*/ 58992 h 110081"/>
              <a:gd name="connsiteX107" fmla="*/ 366523 w 579787"/>
              <a:gd name="connsiteY107" fmla="*/ 46298 h 110081"/>
              <a:gd name="connsiteX108" fmla="*/ 380839 w 579787"/>
              <a:gd name="connsiteY108" fmla="*/ 46298 h 110081"/>
              <a:gd name="connsiteX109" fmla="*/ 394410 w 579787"/>
              <a:gd name="connsiteY109" fmla="*/ 41817 h 110081"/>
              <a:gd name="connsiteX110" fmla="*/ 399825 w 579787"/>
              <a:gd name="connsiteY110" fmla="*/ 28812 h 110081"/>
              <a:gd name="connsiteX111" fmla="*/ 394907 w 579787"/>
              <a:gd name="connsiteY111" fmla="*/ 16864 h 110081"/>
              <a:gd name="connsiteX112" fmla="*/ 380716 w 579787"/>
              <a:gd name="connsiteY112" fmla="*/ 12383 h 110081"/>
              <a:gd name="connsiteX113" fmla="*/ 366024 w 579787"/>
              <a:gd name="connsiteY113" fmla="*/ 15246 h 110081"/>
              <a:gd name="connsiteX114" fmla="*/ 352018 w 579787"/>
              <a:gd name="connsiteY114" fmla="*/ 24331 h 110081"/>
              <a:gd name="connsiteX115" fmla="*/ 352018 w 579787"/>
              <a:gd name="connsiteY115" fmla="*/ 9707 h 110081"/>
              <a:gd name="connsiteX116" fmla="*/ 380839 w 579787"/>
              <a:gd name="connsiteY116" fmla="*/ 0 h 110081"/>
              <a:gd name="connsiteX117" fmla="*/ 404867 w 579787"/>
              <a:gd name="connsiteY117" fmla="*/ 7779 h 110081"/>
              <a:gd name="connsiteX118" fmla="*/ 413706 w 579787"/>
              <a:gd name="connsiteY118" fmla="*/ 28065 h 110081"/>
              <a:gd name="connsiteX119" fmla="*/ 408042 w 579787"/>
              <a:gd name="connsiteY119" fmla="*/ 44244 h 110081"/>
              <a:gd name="connsiteX120" fmla="*/ 394722 w 579787"/>
              <a:gd name="connsiteY120" fmla="*/ 52147 h 110081"/>
              <a:gd name="connsiteX121" fmla="*/ 406237 w 579787"/>
              <a:gd name="connsiteY121" fmla="*/ 56441 h 110081"/>
              <a:gd name="connsiteX122" fmla="*/ 414890 w 579787"/>
              <a:gd name="connsiteY122" fmla="*/ 65153 h 110081"/>
              <a:gd name="connsiteX123" fmla="*/ 418188 w 579787"/>
              <a:gd name="connsiteY123" fmla="*/ 77661 h 110081"/>
              <a:gd name="connsiteX124" fmla="*/ 413272 w 579787"/>
              <a:gd name="connsiteY124" fmla="*/ 94836 h 110081"/>
              <a:gd name="connsiteX125" fmla="*/ 399638 w 579787"/>
              <a:gd name="connsiteY125" fmla="*/ 106224 h 110081"/>
              <a:gd name="connsiteX126" fmla="*/ 379781 w 579787"/>
              <a:gd name="connsiteY126" fmla="*/ 110082 h 110081"/>
              <a:gd name="connsiteX127" fmla="*/ 349342 w 579787"/>
              <a:gd name="connsiteY127" fmla="*/ 100997 h 110081"/>
              <a:gd name="connsiteX128" fmla="*/ 349342 w 579787"/>
              <a:gd name="connsiteY128" fmla="*/ 86062 h 110081"/>
              <a:gd name="connsiteX129" fmla="*/ 363036 w 579787"/>
              <a:gd name="connsiteY129" fmla="*/ 94711 h 110081"/>
              <a:gd name="connsiteX130" fmla="*/ 379968 w 579787"/>
              <a:gd name="connsiteY130" fmla="*/ 97823 h 110081"/>
              <a:gd name="connsiteX131" fmla="*/ 397273 w 579787"/>
              <a:gd name="connsiteY131" fmla="*/ 92596 h 110081"/>
              <a:gd name="connsiteX132" fmla="*/ 403685 w 579787"/>
              <a:gd name="connsiteY132" fmla="*/ 77972 h 110081"/>
              <a:gd name="connsiteX133" fmla="*/ 397895 w 579787"/>
              <a:gd name="connsiteY133" fmla="*/ 64095 h 110081"/>
              <a:gd name="connsiteX134" fmla="*/ 380217 w 579787"/>
              <a:gd name="connsiteY134" fmla="*/ 58992 h 110081"/>
              <a:gd name="connsiteX135" fmla="*/ 366523 w 579787"/>
              <a:gd name="connsiteY135" fmla="*/ 58992 h 110081"/>
              <a:gd name="connsiteX136" fmla="*/ 460268 w 579787"/>
              <a:gd name="connsiteY136" fmla="*/ 110082 h 110081"/>
              <a:gd name="connsiteX137" fmla="*/ 431759 w 579787"/>
              <a:gd name="connsiteY137" fmla="*/ 102490 h 110081"/>
              <a:gd name="connsiteX138" fmla="*/ 431759 w 579787"/>
              <a:gd name="connsiteY138" fmla="*/ 87804 h 110081"/>
              <a:gd name="connsiteX139" fmla="*/ 444893 w 579787"/>
              <a:gd name="connsiteY139" fmla="*/ 95458 h 110081"/>
              <a:gd name="connsiteX140" fmla="*/ 460268 w 579787"/>
              <a:gd name="connsiteY140" fmla="*/ 97823 h 110081"/>
              <a:gd name="connsiteX141" fmla="*/ 477325 w 579787"/>
              <a:gd name="connsiteY141" fmla="*/ 91102 h 110081"/>
              <a:gd name="connsiteX142" fmla="*/ 483426 w 579787"/>
              <a:gd name="connsiteY142" fmla="*/ 73491 h 110081"/>
              <a:gd name="connsiteX143" fmla="*/ 477449 w 579787"/>
              <a:gd name="connsiteY143" fmla="*/ 56441 h 110081"/>
              <a:gd name="connsiteX144" fmla="*/ 462385 w 579787"/>
              <a:gd name="connsiteY144" fmla="*/ 51089 h 110081"/>
              <a:gd name="connsiteX145" fmla="*/ 451741 w 579787"/>
              <a:gd name="connsiteY145" fmla="*/ 53329 h 110081"/>
              <a:gd name="connsiteX146" fmla="*/ 445641 w 579787"/>
              <a:gd name="connsiteY146" fmla="*/ 57810 h 110081"/>
              <a:gd name="connsiteX147" fmla="*/ 434747 w 579787"/>
              <a:gd name="connsiteY147" fmla="*/ 57810 h 110081"/>
              <a:gd name="connsiteX148" fmla="*/ 434747 w 579787"/>
              <a:gd name="connsiteY148" fmla="*/ 1493 h 110081"/>
              <a:gd name="connsiteX149" fmla="*/ 492701 w 579787"/>
              <a:gd name="connsiteY149" fmla="*/ 1493 h 110081"/>
              <a:gd name="connsiteX150" fmla="*/ 492701 w 579787"/>
              <a:gd name="connsiteY150" fmla="*/ 14374 h 110081"/>
              <a:gd name="connsiteX151" fmla="*/ 447010 w 579787"/>
              <a:gd name="connsiteY151" fmla="*/ 14374 h 110081"/>
              <a:gd name="connsiteX152" fmla="*/ 447010 w 579787"/>
              <a:gd name="connsiteY152" fmla="*/ 44991 h 110081"/>
              <a:gd name="connsiteX153" fmla="*/ 454293 w 579787"/>
              <a:gd name="connsiteY153" fmla="*/ 41071 h 110081"/>
              <a:gd name="connsiteX154" fmla="*/ 464627 w 579787"/>
              <a:gd name="connsiteY154" fmla="*/ 39266 h 110081"/>
              <a:gd name="connsiteX155" fmla="*/ 481372 w 579787"/>
              <a:gd name="connsiteY155" fmla="*/ 43186 h 110081"/>
              <a:gd name="connsiteX156" fmla="*/ 493136 w 579787"/>
              <a:gd name="connsiteY156" fmla="*/ 54512 h 110081"/>
              <a:gd name="connsiteX157" fmla="*/ 497618 w 579787"/>
              <a:gd name="connsiteY157" fmla="*/ 73181 h 110081"/>
              <a:gd name="connsiteX158" fmla="*/ 493011 w 579787"/>
              <a:gd name="connsiteY158" fmla="*/ 92596 h 110081"/>
              <a:gd name="connsiteX159" fmla="*/ 480127 w 579787"/>
              <a:gd name="connsiteY159" fmla="*/ 105601 h 110081"/>
              <a:gd name="connsiteX160" fmla="*/ 460268 w 579787"/>
              <a:gd name="connsiteY160" fmla="*/ 110082 h 110081"/>
              <a:gd name="connsiteX161" fmla="*/ 542438 w 579787"/>
              <a:gd name="connsiteY161" fmla="*/ 110082 h 110081"/>
              <a:gd name="connsiteX162" fmla="*/ 513865 w 579787"/>
              <a:gd name="connsiteY162" fmla="*/ 102490 h 110081"/>
              <a:gd name="connsiteX163" fmla="*/ 513865 w 579787"/>
              <a:gd name="connsiteY163" fmla="*/ 87804 h 110081"/>
              <a:gd name="connsiteX164" fmla="*/ 527061 w 579787"/>
              <a:gd name="connsiteY164" fmla="*/ 95458 h 110081"/>
              <a:gd name="connsiteX165" fmla="*/ 542438 w 579787"/>
              <a:gd name="connsiteY165" fmla="*/ 97823 h 110081"/>
              <a:gd name="connsiteX166" fmla="*/ 559432 w 579787"/>
              <a:gd name="connsiteY166" fmla="*/ 91102 h 110081"/>
              <a:gd name="connsiteX167" fmla="*/ 565595 w 579787"/>
              <a:gd name="connsiteY167" fmla="*/ 73491 h 110081"/>
              <a:gd name="connsiteX168" fmla="*/ 559619 w 579787"/>
              <a:gd name="connsiteY168" fmla="*/ 56441 h 110081"/>
              <a:gd name="connsiteX169" fmla="*/ 544491 w 579787"/>
              <a:gd name="connsiteY169" fmla="*/ 51089 h 110081"/>
              <a:gd name="connsiteX170" fmla="*/ 533909 w 579787"/>
              <a:gd name="connsiteY170" fmla="*/ 53329 h 110081"/>
              <a:gd name="connsiteX171" fmla="*/ 527809 w 579787"/>
              <a:gd name="connsiteY171" fmla="*/ 57810 h 110081"/>
              <a:gd name="connsiteX172" fmla="*/ 516853 w 579787"/>
              <a:gd name="connsiteY172" fmla="*/ 57810 h 110081"/>
              <a:gd name="connsiteX173" fmla="*/ 516853 w 579787"/>
              <a:gd name="connsiteY173" fmla="*/ 1493 h 110081"/>
              <a:gd name="connsiteX174" fmla="*/ 574870 w 579787"/>
              <a:gd name="connsiteY174" fmla="*/ 1493 h 110081"/>
              <a:gd name="connsiteX175" fmla="*/ 574870 w 579787"/>
              <a:gd name="connsiteY175" fmla="*/ 14374 h 110081"/>
              <a:gd name="connsiteX176" fmla="*/ 529116 w 579787"/>
              <a:gd name="connsiteY176" fmla="*/ 14374 h 110081"/>
              <a:gd name="connsiteX177" fmla="*/ 529116 w 579787"/>
              <a:gd name="connsiteY177" fmla="*/ 44991 h 110081"/>
              <a:gd name="connsiteX178" fmla="*/ 536461 w 579787"/>
              <a:gd name="connsiteY178" fmla="*/ 41071 h 110081"/>
              <a:gd name="connsiteX179" fmla="*/ 546733 w 579787"/>
              <a:gd name="connsiteY179" fmla="*/ 39266 h 110081"/>
              <a:gd name="connsiteX180" fmla="*/ 563478 w 579787"/>
              <a:gd name="connsiteY180" fmla="*/ 43186 h 110081"/>
              <a:gd name="connsiteX181" fmla="*/ 575304 w 579787"/>
              <a:gd name="connsiteY181" fmla="*/ 54512 h 110081"/>
              <a:gd name="connsiteX182" fmla="*/ 579788 w 579787"/>
              <a:gd name="connsiteY182" fmla="*/ 73181 h 110081"/>
              <a:gd name="connsiteX183" fmla="*/ 575119 w 579787"/>
              <a:gd name="connsiteY183" fmla="*/ 92596 h 110081"/>
              <a:gd name="connsiteX184" fmla="*/ 562295 w 579787"/>
              <a:gd name="connsiteY184" fmla="*/ 105601 h 110081"/>
              <a:gd name="connsiteX185" fmla="*/ 542438 w 579787"/>
              <a:gd name="connsiteY18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7978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35149" y="108588"/>
                </a:moveTo>
                <a:lnTo>
                  <a:pt x="266862" y="108588"/>
                </a:lnTo>
                <a:lnTo>
                  <a:pt x="266862" y="94400"/>
                </a:lnTo>
                <a:cubicBezTo>
                  <a:pt x="277506" y="85812"/>
                  <a:pt x="286221" y="78532"/>
                  <a:pt x="293006" y="72433"/>
                </a:cubicBezTo>
                <a:cubicBezTo>
                  <a:pt x="299915" y="66397"/>
                  <a:pt x="305207" y="61108"/>
                  <a:pt x="309005" y="56628"/>
                </a:cubicBezTo>
                <a:cubicBezTo>
                  <a:pt x="312863" y="52023"/>
                  <a:pt x="315602" y="47791"/>
                  <a:pt x="317096" y="43933"/>
                </a:cubicBezTo>
                <a:cubicBezTo>
                  <a:pt x="318652" y="40012"/>
                  <a:pt x="319462" y="36092"/>
                  <a:pt x="319462" y="32109"/>
                </a:cubicBezTo>
                <a:cubicBezTo>
                  <a:pt x="319462" y="25949"/>
                  <a:pt x="317594" y="21095"/>
                  <a:pt x="313921" y="17610"/>
                </a:cubicBezTo>
                <a:cubicBezTo>
                  <a:pt x="310249" y="14125"/>
                  <a:pt x="305144" y="12383"/>
                  <a:pt x="298670" y="12383"/>
                </a:cubicBezTo>
                <a:cubicBezTo>
                  <a:pt x="288338" y="12383"/>
                  <a:pt x="278689" y="17361"/>
                  <a:pt x="269725" y="27194"/>
                </a:cubicBezTo>
                <a:lnTo>
                  <a:pt x="269725" y="12134"/>
                </a:lnTo>
                <a:cubicBezTo>
                  <a:pt x="278005" y="4044"/>
                  <a:pt x="287777" y="0"/>
                  <a:pt x="299169" y="0"/>
                </a:cubicBezTo>
                <a:cubicBezTo>
                  <a:pt x="309875" y="0"/>
                  <a:pt x="318342" y="2800"/>
                  <a:pt x="324567" y="8401"/>
                </a:cubicBezTo>
                <a:cubicBezTo>
                  <a:pt x="330792" y="13877"/>
                  <a:pt x="333967" y="21344"/>
                  <a:pt x="333967" y="30803"/>
                </a:cubicBezTo>
                <a:cubicBezTo>
                  <a:pt x="333967" y="35657"/>
                  <a:pt x="333157" y="40324"/>
                  <a:pt x="331538" y="44804"/>
                </a:cubicBezTo>
                <a:cubicBezTo>
                  <a:pt x="330044" y="49222"/>
                  <a:pt x="327368" y="53827"/>
                  <a:pt x="323508" y="58681"/>
                </a:cubicBezTo>
                <a:cubicBezTo>
                  <a:pt x="319711" y="63473"/>
                  <a:pt x="314482" y="68887"/>
                  <a:pt x="307821" y="74860"/>
                </a:cubicBezTo>
                <a:cubicBezTo>
                  <a:pt x="301161" y="80835"/>
                  <a:pt x="292695" y="87804"/>
                  <a:pt x="282424" y="95769"/>
                </a:cubicBezTo>
                <a:lnTo>
                  <a:pt x="335149" y="95769"/>
                </a:lnTo>
                <a:lnTo>
                  <a:pt x="335149" y="108588"/>
                </a:lnTo>
                <a:close/>
                <a:moveTo>
                  <a:pt x="366523" y="58992"/>
                </a:moveTo>
                <a:lnTo>
                  <a:pt x="366523" y="46298"/>
                </a:lnTo>
                <a:lnTo>
                  <a:pt x="380839" y="46298"/>
                </a:lnTo>
                <a:cubicBezTo>
                  <a:pt x="386442" y="46298"/>
                  <a:pt x="390924" y="44804"/>
                  <a:pt x="394410" y="41817"/>
                </a:cubicBezTo>
                <a:cubicBezTo>
                  <a:pt x="398019" y="38768"/>
                  <a:pt x="399825" y="34412"/>
                  <a:pt x="399825" y="28812"/>
                </a:cubicBezTo>
                <a:cubicBezTo>
                  <a:pt x="399825" y="23771"/>
                  <a:pt x="398144" y="19788"/>
                  <a:pt x="394907" y="16864"/>
                </a:cubicBezTo>
                <a:cubicBezTo>
                  <a:pt x="391609" y="13877"/>
                  <a:pt x="386878" y="12383"/>
                  <a:pt x="380716" y="12383"/>
                </a:cubicBezTo>
                <a:cubicBezTo>
                  <a:pt x="375486" y="12383"/>
                  <a:pt x="370630" y="13379"/>
                  <a:pt x="366024" y="15246"/>
                </a:cubicBezTo>
                <a:cubicBezTo>
                  <a:pt x="361542" y="17113"/>
                  <a:pt x="356874" y="20162"/>
                  <a:pt x="352018" y="24331"/>
                </a:cubicBezTo>
                <a:lnTo>
                  <a:pt x="352018" y="9707"/>
                </a:lnTo>
                <a:cubicBezTo>
                  <a:pt x="359986" y="3235"/>
                  <a:pt x="369573" y="0"/>
                  <a:pt x="380839" y="0"/>
                </a:cubicBezTo>
                <a:cubicBezTo>
                  <a:pt x="391111" y="0"/>
                  <a:pt x="399141" y="2613"/>
                  <a:pt x="404867" y="7779"/>
                </a:cubicBezTo>
                <a:cubicBezTo>
                  <a:pt x="410781" y="12943"/>
                  <a:pt x="413706" y="19726"/>
                  <a:pt x="413706" y="28065"/>
                </a:cubicBezTo>
                <a:cubicBezTo>
                  <a:pt x="413706" y="34848"/>
                  <a:pt x="411840" y="40262"/>
                  <a:pt x="408042" y="44244"/>
                </a:cubicBezTo>
                <a:cubicBezTo>
                  <a:pt x="404369" y="48227"/>
                  <a:pt x="399887" y="50840"/>
                  <a:pt x="394722" y="52147"/>
                </a:cubicBezTo>
                <a:cubicBezTo>
                  <a:pt x="398892" y="52707"/>
                  <a:pt x="402750" y="54201"/>
                  <a:pt x="406237" y="56441"/>
                </a:cubicBezTo>
                <a:cubicBezTo>
                  <a:pt x="409848" y="58681"/>
                  <a:pt x="412711" y="61543"/>
                  <a:pt x="414890" y="65153"/>
                </a:cubicBezTo>
                <a:cubicBezTo>
                  <a:pt x="417068" y="68700"/>
                  <a:pt x="418188" y="72869"/>
                  <a:pt x="418188" y="77661"/>
                </a:cubicBezTo>
                <a:cubicBezTo>
                  <a:pt x="418188" y="84257"/>
                  <a:pt x="416569" y="89982"/>
                  <a:pt x="413272" y="94836"/>
                </a:cubicBezTo>
                <a:cubicBezTo>
                  <a:pt x="409972" y="99752"/>
                  <a:pt x="405428" y="103486"/>
                  <a:pt x="399638" y="106224"/>
                </a:cubicBezTo>
                <a:cubicBezTo>
                  <a:pt x="393974" y="108775"/>
                  <a:pt x="387375" y="110082"/>
                  <a:pt x="379781" y="110082"/>
                </a:cubicBezTo>
                <a:cubicBezTo>
                  <a:pt x="366647" y="110082"/>
                  <a:pt x="356500" y="107033"/>
                  <a:pt x="349342" y="100997"/>
                </a:cubicBezTo>
                <a:lnTo>
                  <a:pt x="349342" y="86062"/>
                </a:lnTo>
                <a:cubicBezTo>
                  <a:pt x="353076" y="89733"/>
                  <a:pt x="357682" y="92596"/>
                  <a:pt x="363036" y="94711"/>
                </a:cubicBezTo>
                <a:cubicBezTo>
                  <a:pt x="368451" y="96765"/>
                  <a:pt x="374054" y="97823"/>
                  <a:pt x="379968" y="97823"/>
                </a:cubicBezTo>
                <a:cubicBezTo>
                  <a:pt x="387313" y="97823"/>
                  <a:pt x="393103" y="96080"/>
                  <a:pt x="397273" y="92596"/>
                </a:cubicBezTo>
                <a:cubicBezTo>
                  <a:pt x="401568" y="89048"/>
                  <a:pt x="403685" y="84132"/>
                  <a:pt x="403685" y="77972"/>
                </a:cubicBezTo>
                <a:cubicBezTo>
                  <a:pt x="403685" y="71998"/>
                  <a:pt x="401755" y="67393"/>
                  <a:pt x="397895" y="64095"/>
                </a:cubicBezTo>
                <a:cubicBezTo>
                  <a:pt x="394098" y="60673"/>
                  <a:pt x="388185" y="58992"/>
                  <a:pt x="380217" y="58992"/>
                </a:cubicBezTo>
                <a:lnTo>
                  <a:pt x="366523" y="58992"/>
                </a:lnTo>
                <a:close/>
                <a:moveTo>
                  <a:pt x="460268" y="110082"/>
                </a:moveTo>
                <a:cubicBezTo>
                  <a:pt x="448317" y="110082"/>
                  <a:pt x="438793" y="107530"/>
                  <a:pt x="431759" y="102490"/>
                </a:cubicBezTo>
                <a:lnTo>
                  <a:pt x="431759" y="87804"/>
                </a:lnTo>
                <a:cubicBezTo>
                  <a:pt x="435930" y="91226"/>
                  <a:pt x="440287" y="93778"/>
                  <a:pt x="444893" y="95458"/>
                </a:cubicBezTo>
                <a:cubicBezTo>
                  <a:pt x="449499" y="97014"/>
                  <a:pt x="454604" y="97823"/>
                  <a:pt x="460268" y="97823"/>
                </a:cubicBezTo>
                <a:cubicBezTo>
                  <a:pt x="467677" y="97823"/>
                  <a:pt x="473341" y="95583"/>
                  <a:pt x="477325" y="91102"/>
                </a:cubicBezTo>
                <a:cubicBezTo>
                  <a:pt x="481372" y="86621"/>
                  <a:pt x="483426" y="80772"/>
                  <a:pt x="483426" y="73491"/>
                </a:cubicBezTo>
                <a:cubicBezTo>
                  <a:pt x="483426" y="65713"/>
                  <a:pt x="481434" y="60050"/>
                  <a:pt x="477449" y="56441"/>
                </a:cubicBezTo>
                <a:cubicBezTo>
                  <a:pt x="473466" y="52894"/>
                  <a:pt x="468423" y="51089"/>
                  <a:pt x="462385" y="51089"/>
                </a:cubicBezTo>
                <a:cubicBezTo>
                  <a:pt x="457966" y="51089"/>
                  <a:pt x="454480" y="51836"/>
                  <a:pt x="451741" y="53329"/>
                </a:cubicBezTo>
                <a:cubicBezTo>
                  <a:pt x="449065" y="54698"/>
                  <a:pt x="447010" y="56192"/>
                  <a:pt x="445641" y="57810"/>
                </a:cubicBezTo>
                <a:lnTo>
                  <a:pt x="434747" y="57810"/>
                </a:lnTo>
                <a:lnTo>
                  <a:pt x="434747" y="1493"/>
                </a:lnTo>
                <a:lnTo>
                  <a:pt x="492701" y="1493"/>
                </a:lnTo>
                <a:lnTo>
                  <a:pt x="492701" y="14374"/>
                </a:lnTo>
                <a:lnTo>
                  <a:pt x="447010" y="14374"/>
                </a:lnTo>
                <a:lnTo>
                  <a:pt x="447010" y="44991"/>
                </a:lnTo>
                <a:cubicBezTo>
                  <a:pt x="449002" y="43498"/>
                  <a:pt x="451430" y="42190"/>
                  <a:pt x="454293" y="41071"/>
                </a:cubicBezTo>
                <a:cubicBezTo>
                  <a:pt x="457218" y="39888"/>
                  <a:pt x="460642" y="39266"/>
                  <a:pt x="464627" y="39266"/>
                </a:cubicBezTo>
                <a:cubicBezTo>
                  <a:pt x="470790" y="39266"/>
                  <a:pt x="476391" y="40572"/>
                  <a:pt x="481372" y="43186"/>
                </a:cubicBezTo>
                <a:cubicBezTo>
                  <a:pt x="486352" y="45675"/>
                  <a:pt x="490273" y="49471"/>
                  <a:pt x="493136" y="54512"/>
                </a:cubicBezTo>
                <a:cubicBezTo>
                  <a:pt x="496124" y="59490"/>
                  <a:pt x="497618" y="65713"/>
                  <a:pt x="497618" y="73181"/>
                </a:cubicBezTo>
                <a:cubicBezTo>
                  <a:pt x="497618" y="80586"/>
                  <a:pt x="496062" y="87058"/>
                  <a:pt x="493011" y="92596"/>
                </a:cubicBezTo>
                <a:cubicBezTo>
                  <a:pt x="490024" y="98196"/>
                  <a:pt x="485729" y="102490"/>
                  <a:pt x="480127" y="105601"/>
                </a:cubicBezTo>
                <a:cubicBezTo>
                  <a:pt x="474586" y="108588"/>
                  <a:pt x="467925" y="110082"/>
                  <a:pt x="460268" y="110082"/>
                </a:cubicBezTo>
                <a:close/>
                <a:moveTo>
                  <a:pt x="542438" y="110082"/>
                </a:moveTo>
                <a:cubicBezTo>
                  <a:pt x="530485" y="110082"/>
                  <a:pt x="520961" y="107530"/>
                  <a:pt x="513865" y="102490"/>
                </a:cubicBezTo>
                <a:lnTo>
                  <a:pt x="513865" y="87804"/>
                </a:lnTo>
                <a:cubicBezTo>
                  <a:pt x="518098" y="91226"/>
                  <a:pt x="522455" y="93778"/>
                  <a:pt x="527061" y="95458"/>
                </a:cubicBezTo>
                <a:cubicBezTo>
                  <a:pt x="531607" y="97014"/>
                  <a:pt x="536773" y="97823"/>
                  <a:pt x="542438" y="97823"/>
                </a:cubicBezTo>
                <a:cubicBezTo>
                  <a:pt x="549783" y="97823"/>
                  <a:pt x="555447" y="95583"/>
                  <a:pt x="559432" y="91102"/>
                </a:cubicBezTo>
                <a:cubicBezTo>
                  <a:pt x="563540" y="86621"/>
                  <a:pt x="565595" y="80772"/>
                  <a:pt x="565595" y="73491"/>
                </a:cubicBezTo>
                <a:cubicBezTo>
                  <a:pt x="565595" y="65713"/>
                  <a:pt x="563602" y="60050"/>
                  <a:pt x="559619" y="56441"/>
                </a:cubicBezTo>
                <a:cubicBezTo>
                  <a:pt x="555634" y="52894"/>
                  <a:pt x="550592" y="51089"/>
                  <a:pt x="544491" y="51089"/>
                </a:cubicBezTo>
                <a:cubicBezTo>
                  <a:pt x="540134" y="51089"/>
                  <a:pt x="536586" y="51836"/>
                  <a:pt x="533909" y="53329"/>
                </a:cubicBezTo>
                <a:cubicBezTo>
                  <a:pt x="531233" y="54698"/>
                  <a:pt x="529178" y="56192"/>
                  <a:pt x="527809" y="57810"/>
                </a:cubicBezTo>
                <a:lnTo>
                  <a:pt x="516853" y="57810"/>
                </a:lnTo>
                <a:lnTo>
                  <a:pt x="516853" y="1493"/>
                </a:lnTo>
                <a:lnTo>
                  <a:pt x="574870" y="1493"/>
                </a:lnTo>
                <a:lnTo>
                  <a:pt x="574870" y="14374"/>
                </a:lnTo>
                <a:lnTo>
                  <a:pt x="529116" y="14374"/>
                </a:lnTo>
                <a:lnTo>
                  <a:pt x="529116" y="44991"/>
                </a:lnTo>
                <a:cubicBezTo>
                  <a:pt x="531108" y="43498"/>
                  <a:pt x="533536" y="42190"/>
                  <a:pt x="536461" y="41071"/>
                </a:cubicBezTo>
                <a:cubicBezTo>
                  <a:pt x="539326" y="39888"/>
                  <a:pt x="542748" y="39266"/>
                  <a:pt x="546733" y="39266"/>
                </a:cubicBezTo>
                <a:cubicBezTo>
                  <a:pt x="552958" y="39266"/>
                  <a:pt x="558497" y="40572"/>
                  <a:pt x="563478" y="43186"/>
                </a:cubicBezTo>
                <a:cubicBezTo>
                  <a:pt x="568458" y="45675"/>
                  <a:pt x="572379" y="49471"/>
                  <a:pt x="575304" y="54512"/>
                </a:cubicBezTo>
                <a:cubicBezTo>
                  <a:pt x="578294" y="59490"/>
                  <a:pt x="579788" y="65713"/>
                  <a:pt x="579788" y="73181"/>
                </a:cubicBezTo>
                <a:cubicBezTo>
                  <a:pt x="579788" y="80586"/>
                  <a:pt x="578231" y="87058"/>
                  <a:pt x="575119" y="92596"/>
                </a:cubicBezTo>
                <a:cubicBezTo>
                  <a:pt x="572131" y="98196"/>
                  <a:pt x="567897" y="102490"/>
                  <a:pt x="562295" y="105601"/>
                </a:cubicBezTo>
                <a:cubicBezTo>
                  <a:pt x="556692" y="108588"/>
                  <a:pt x="550095" y="110082"/>
                  <a:pt x="542438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8" name="Полилиния 947">
            <a:extLst>
              <a:ext uri="{FF2B5EF4-FFF2-40B4-BE49-F238E27FC236}">
                <a16:creationId xmlns:a16="http://schemas.microsoft.com/office/drawing/2014/main" id="{422C79D8-8655-B16C-7E56-1A5613EA8B8B}"/>
              </a:ext>
            </a:extLst>
          </p:cNvPr>
          <p:cNvSpPr/>
          <p:nvPr userDrawn="1"/>
        </p:nvSpPr>
        <p:spPr>
          <a:xfrm>
            <a:off x="9547358" y="4513847"/>
            <a:ext cx="2557159" cy="726227"/>
          </a:xfrm>
          <a:custGeom>
            <a:avLst/>
            <a:gdLst>
              <a:gd name="connsiteX0" fmla="*/ 2604 w 2191162"/>
              <a:gd name="connsiteY0" fmla="*/ 1122 h 622284"/>
              <a:gd name="connsiteX1" fmla="*/ 2193767 w 2191162"/>
              <a:gd name="connsiteY1" fmla="*/ 1122 h 622284"/>
              <a:gd name="connsiteX2" fmla="*/ 2193767 w 2191162"/>
              <a:gd name="connsiteY2" fmla="*/ 623406 h 622284"/>
              <a:gd name="connsiteX3" fmla="*/ 2604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122"/>
                </a:moveTo>
                <a:lnTo>
                  <a:pt x="2193767" y="1122"/>
                </a:lnTo>
                <a:lnTo>
                  <a:pt x="2193767" y="623406"/>
                </a:lnTo>
                <a:lnTo>
                  <a:pt x="2604" y="623406"/>
                </a:lnTo>
                <a:close/>
              </a:path>
            </a:pathLst>
          </a:custGeom>
          <a:solidFill>
            <a:srgbClr val="0032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9" name="Полилиния 948">
            <a:extLst>
              <a:ext uri="{FF2B5EF4-FFF2-40B4-BE49-F238E27FC236}">
                <a16:creationId xmlns:a16="http://schemas.microsoft.com/office/drawing/2014/main" id="{D25952C4-BB97-63E6-20F7-B04F3155A7FB}"/>
              </a:ext>
            </a:extLst>
          </p:cNvPr>
          <p:cNvSpPr/>
          <p:nvPr userDrawn="1"/>
        </p:nvSpPr>
        <p:spPr>
          <a:xfrm>
            <a:off x="9670565" y="4815595"/>
            <a:ext cx="678736" cy="128468"/>
          </a:xfrm>
          <a:custGeom>
            <a:avLst/>
            <a:gdLst>
              <a:gd name="connsiteX0" fmla="*/ 22099 w 581591"/>
              <a:gd name="connsiteY0" fmla="*/ 108588 h 110081"/>
              <a:gd name="connsiteX1" fmla="*/ 10147 w 581591"/>
              <a:gd name="connsiteY1" fmla="*/ 108588 h 110081"/>
              <a:gd name="connsiteX2" fmla="*/ 16435 w 581591"/>
              <a:gd name="connsiteY2" fmla="*/ 77661 h 110081"/>
              <a:gd name="connsiteX3" fmla="*/ 0 w 581591"/>
              <a:gd name="connsiteY3" fmla="*/ 77661 h 110081"/>
              <a:gd name="connsiteX4" fmla="*/ 0 w 581591"/>
              <a:gd name="connsiteY4" fmla="*/ 67206 h 110081"/>
              <a:gd name="connsiteX5" fmla="*/ 18675 w 581591"/>
              <a:gd name="connsiteY5" fmla="*/ 67206 h 110081"/>
              <a:gd name="connsiteX6" fmla="*/ 24216 w 581591"/>
              <a:gd name="connsiteY6" fmla="*/ 40012 h 110081"/>
              <a:gd name="connsiteX7" fmla="*/ 4047 w 581591"/>
              <a:gd name="connsiteY7" fmla="*/ 40012 h 110081"/>
              <a:gd name="connsiteX8" fmla="*/ 4047 w 581591"/>
              <a:gd name="connsiteY8" fmla="*/ 29559 h 110081"/>
              <a:gd name="connsiteX9" fmla="*/ 26269 w 581591"/>
              <a:gd name="connsiteY9" fmla="*/ 29559 h 110081"/>
              <a:gd name="connsiteX10" fmla="*/ 32121 w 581591"/>
              <a:gd name="connsiteY10" fmla="*/ 1493 h 110081"/>
              <a:gd name="connsiteX11" fmla="*/ 44073 w 581591"/>
              <a:gd name="connsiteY11" fmla="*/ 1493 h 110081"/>
              <a:gd name="connsiteX12" fmla="*/ 38222 w 581591"/>
              <a:gd name="connsiteY12" fmla="*/ 29559 h 110081"/>
              <a:gd name="connsiteX13" fmla="*/ 60630 w 581591"/>
              <a:gd name="connsiteY13" fmla="*/ 29559 h 110081"/>
              <a:gd name="connsiteX14" fmla="*/ 66481 w 581591"/>
              <a:gd name="connsiteY14" fmla="*/ 1493 h 110081"/>
              <a:gd name="connsiteX15" fmla="*/ 78434 w 581591"/>
              <a:gd name="connsiteY15" fmla="*/ 1493 h 110081"/>
              <a:gd name="connsiteX16" fmla="*/ 72583 w 581591"/>
              <a:gd name="connsiteY16" fmla="*/ 29559 h 110081"/>
              <a:gd name="connsiteX17" fmla="*/ 89328 w 581591"/>
              <a:gd name="connsiteY17" fmla="*/ 29559 h 110081"/>
              <a:gd name="connsiteX18" fmla="*/ 89328 w 581591"/>
              <a:gd name="connsiteY18" fmla="*/ 40012 h 110081"/>
              <a:gd name="connsiteX19" fmla="*/ 70529 w 581591"/>
              <a:gd name="connsiteY19" fmla="*/ 40012 h 110081"/>
              <a:gd name="connsiteX20" fmla="*/ 64988 w 581591"/>
              <a:gd name="connsiteY20" fmla="*/ 67206 h 110081"/>
              <a:gd name="connsiteX21" fmla="*/ 85281 w 581591"/>
              <a:gd name="connsiteY21" fmla="*/ 67206 h 110081"/>
              <a:gd name="connsiteX22" fmla="*/ 85281 w 581591"/>
              <a:gd name="connsiteY22" fmla="*/ 77661 h 110081"/>
              <a:gd name="connsiteX23" fmla="*/ 62747 w 581591"/>
              <a:gd name="connsiteY23" fmla="*/ 77661 h 110081"/>
              <a:gd name="connsiteX24" fmla="*/ 56460 w 581591"/>
              <a:gd name="connsiteY24" fmla="*/ 108588 h 110081"/>
              <a:gd name="connsiteX25" fmla="*/ 44509 w 581591"/>
              <a:gd name="connsiteY25" fmla="*/ 108588 h 110081"/>
              <a:gd name="connsiteX26" fmla="*/ 50796 w 581591"/>
              <a:gd name="connsiteY26" fmla="*/ 77661 h 110081"/>
              <a:gd name="connsiteX27" fmla="*/ 28386 w 581591"/>
              <a:gd name="connsiteY27" fmla="*/ 77661 h 110081"/>
              <a:gd name="connsiteX28" fmla="*/ 22099 w 581591"/>
              <a:gd name="connsiteY28" fmla="*/ 108588 h 110081"/>
              <a:gd name="connsiteX29" fmla="*/ 30626 w 581591"/>
              <a:gd name="connsiteY29" fmla="*/ 67206 h 110081"/>
              <a:gd name="connsiteX30" fmla="*/ 53036 w 581591"/>
              <a:gd name="connsiteY30" fmla="*/ 67206 h 110081"/>
              <a:gd name="connsiteX31" fmla="*/ 58577 w 581591"/>
              <a:gd name="connsiteY31" fmla="*/ 40012 h 110081"/>
              <a:gd name="connsiteX32" fmla="*/ 36167 w 581591"/>
              <a:gd name="connsiteY32" fmla="*/ 40012 h 110081"/>
              <a:gd name="connsiteX33" fmla="*/ 30626 w 581591"/>
              <a:gd name="connsiteY33" fmla="*/ 67206 h 110081"/>
              <a:gd name="connsiteX34" fmla="*/ 136636 w 581591"/>
              <a:gd name="connsiteY34" fmla="*/ 110082 h 110081"/>
              <a:gd name="connsiteX35" fmla="*/ 118460 w 581591"/>
              <a:gd name="connsiteY35" fmla="*/ 104233 h 110081"/>
              <a:gd name="connsiteX36" fmla="*/ 105761 w 581591"/>
              <a:gd name="connsiteY36" fmla="*/ 86311 h 110081"/>
              <a:gd name="connsiteX37" fmla="*/ 101279 w 581591"/>
              <a:gd name="connsiteY37" fmla="*/ 54947 h 110081"/>
              <a:gd name="connsiteX38" fmla="*/ 105761 w 581591"/>
              <a:gd name="connsiteY38" fmla="*/ 23584 h 110081"/>
              <a:gd name="connsiteX39" fmla="*/ 118460 w 581591"/>
              <a:gd name="connsiteY39" fmla="*/ 5849 h 110081"/>
              <a:gd name="connsiteX40" fmla="*/ 136636 w 581591"/>
              <a:gd name="connsiteY40" fmla="*/ 186 h 110081"/>
              <a:gd name="connsiteX41" fmla="*/ 154752 w 581591"/>
              <a:gd name="connsiteY41" fmla="*/ 5849 h 110081"/>
              <a:gd name="connsiteX42" fmla="*/ 167139 w 581591"/>
              <a:gd name="connsiteY42" fmla="*/ 23584 h 110081"/>
              <a:gd name="connsiteX43" fmla="*/ 171621 w 581591"/>
              <a:gd name="connsiteY43" fmla="*/ 54698 h 110081"/>
              <a:gd name="connsiteX44" fmla="*/ 167139 w 581591"/>
              <a:gd name="connsiteY44" fmla="*/ 86062 h 110081"/>
              <a:gd name="connsiteX45" fmla="*/ 154752 w 581591"/>
              <a:gd name="connsiteY45" fmla="*/ 104233 h 110081"/>
              <a:gd name="connsiteX46" fmla="*/ 136636 w 581591"/>
              <a:gd name="connsiteY46" fmla="*/ 110082 h 110081"/>
              <a:gd name="connsiteX47" fmla="*/ 136512 w 581591"/>
              <a:gd name="connsiteY47" fmla="*/ 98258 h 110081"/>
              <a:gd name="connsiteX48" fmla="*/ 147841 w 581591"/>
              <a:gd name="connsiteY48" fmla="*/ 94275 h 110081"/>
              <a:gd name="connsiteX49" fmla="*/ 155063 w 581591"/>
              <a:gd name="connsiteY49" fmla="*/ 80648 h 110081"/>
              <a:gd name="connsiteX50" fmla="*/ 157552 w 581591"/>
              <a:gd name="connsiteY50" fmla="*/ 55134 h 110081"/>
              <a:gd name="connsiteX51" fmla="*/ 155186 w 581591"/>
              <a:gd name="connsiteY51" fmla="*/ 29745 h 110081"/>
              <a:gd name="connsiteX52" fmla="*/ 148028 w 581591"/>
              <a:gd name="connsiteY52" fmla="*/ 16117 h 110081"/>
              <a:gd name="connsiteX53" fmla="*/ 136636 w 581591"/>
              <a:gd name="connsiteY53" fmla="*/ 11947 h 110081"/>
              <a:gd name="connsiteX54" fmla="*/ 125183 w 581591"/>
              <a:gd name="connsiteY54" fmla="*/ 16117 h 110081"/>
              <a:gd name="connsiteX55" fmla="*/ 117837 w 581591"/>
              <a:gd name="connsiteY55" fmla="*/ 29745 h 110081"/>
              <a:gd name="connsiteX56" fmla="*/ 115285 w 581591"/>
              <a:gd name="connsiteY56" fmla="*/ 55134 h 110081"/>
              <a:gd name="connsiteX57" fmla="*/ 117714 w 581591"/>
              <a:gd name="connsiteY57" fmla="*/ 80648 h 110081"/>
              <a:gd name="connsiteX58" fmla="*/ 124996 w 581591"/>
              <a:gd name="connsiteY58" fmla="*/ 94275 h 110081"/>
              <a:gd name="connsiteX59" fmla="*/ 136512 w 581591"/>
              <a:gd name="connsiteY59" fmla="*/ 98258 h 110081"/>
              <a:gd name="connsiteX60" fmla="*/ 218806 w 581591"/>
              <a:gd name="connsiteY60" fmla="*/ 110082 h 110081"/>
              <a:gd name="connsiteX61" fmla="*/ 200566 w 581591"/>
              <a:gd name="connsiteY61" fmla="*/ 104233 h 110081"/>
              <a:gd name="connsiteX62" fmla="*/ 187867 w 581591"/>
              <a:gd name="connsiteY62" fmla="*/ 86311 h 110081"/>
              <a:gd name="connsiteX63" fmla="*/ 183385 w 581591"/>
              <a:gd name="connsiteY63" fmla="*/ 54947 h 110081"/>
              <a:gd name="connsiteX64" fmla="*/ 187867 w 581591"/>
              <a:gd name="connsiteY64" fmla="*/ 23584 h 110081"/>
              <a:gd name="connsiteX65" fmla="*/ 200566 w 581591"/>
              <a:gd name="connsiteY65" fmla="*/ 5849 h 110081"/>
              <a:gd name="connsiteX66" fmla="*/ 218806 w 581591"/>
              <a:gd name="connsiteY66" fmla="*/ 186 h 110081"/>
              <a:gd name="connsiteX67" fmla="*/ 236858 w 581591"/>
              <a:gd name="connsiteY67" fmla="*/ 5849 h 110081"/>
              <a:gd name="connsiteX68" fmla="*/ 249245 w 581591"/>
              <a:gd name="connsiteY68" fmla="*/ 23584 h 110081"/>
              <a:gd name="connsiteX69" fmla="*/ 253727 w 581591"/>
              <a:gd name="connsiteY69" fmla="*/ 54698 h 110081"/>
              <a:gd name="connsiteX70" fmla="*/ 249245 w 581591"/>
              <a:gd name="connsiteY70" fmla="*/ 86062 h 110081"/>
              <a:gd name="connsiteX71" fmla="*/ 236858 w 581591"/>
              <a:gd name="connsiteY71" fmla="*/ 104233 h 110081"/>
              <a:gd name="connsiteX72" fmla="*/ 218806 w 581591"/>
              <a:gd name="connsiteY72" fmla="*/ 110082 h 110081"/>
              <a:gd name="connsiteX73" fmla="*/ 218619 w 581591"/>
              <a:gd name="connsiteY73" fmla="*/ 98258 h 110081"/>
              <a:gd name="connsiteX74" fmla="*/ 230010 w 581591"/>
              <a:gd name="connsiteY74" fmla="*/ 94275 h 110081"/>
              <a:gd name="connsiteX75" fmla="*/ 237169 w 581591"/>
              <a:gd name="connsiteY75" fmla="*/ 80648 h 110081"/>
              <a:gd name="connsiteX76" fmla="*/ 239721 w 581591"/>
              <a:gd name="connsiteY76" fmla="*/ 55134 h 110081"/>
              <a:gd name="connsiteX77" fmla="*/ 237294 w 581591"/>
              <a:gd name="connsiteY77" fmla="*/ 29745 h 110081"/>
              <a:gd name="connsiteX78" fmla="*/ 230134 w 581591"/>
              <a:gd name="connsiteY78" fmla="*/ 16117 h 110081"/>
              <a:gd name="connsiteX79" fmla="*/ 218806 w 581591"/>
              <a:gd name="connsiteY79" fmla="*/ 11947 h 110081"/>
              <a:gd name="connsiteX80" fmla="*/ 207289 w 581591"/>
              <a:gd name="connsiteY80" fmla="*/ 16117 h 110081"/>
              <a:gd name="connsiteX81" fmla="*/ 199944 w 581591"/>
              <a:gd name="connsiteY81" fmla="*/ 29745 h 110081"/>
              <a:gd name="connsiteX82" fmla="*/ 197453 w 581591"/>
              <a:gd name="connsiteY82" fmla="*/ 55134 h 110081"/>
              <a:gd name="connsiteX83" fmla="*/ 199820 w 581591"/>
              <a:gd name="connsiteY83" fmla="*/ 80648 h 110081"/>
              <a:gd name="connsiteX84" fmla="*/ 207165 w 581591"/>
              <a:gd name="connsiteY84" fmla="*/ 94275 h 110081"/>
              <a:gd name="connsiteX85" fmla="*/ 218619 w 581591"/>
              <a:gd name="connsiteY85" fmla="*/ 98258 h 110081"/>
              <a:gd name="connsiteX86" fmla="*/ 284353 w 581591"/>
              <a:gd name="connsiteY86" fmla="*/ 58992 h 110081"/>
              <a:gd name="connsiteX87" fmla="*/ 284353 w 581591"/>
              <a:gd name="connsiteY87" fmla="*/ 46298 h 110081"/>
              <a:gd name="connsiteX88" fmla="*/ 298670 w 581591"/>
              <a:gd name="connsiteY88" fmla="*/ 46298 h 110081"/>
              <a:gd name="connsiteX89" fmla="*/ 312303 w 581591"/>
              <a:gd name="connsiteY89" fmla="*/ 41817 h 110081"/>
              <a:gd name="connsiteX90" fmla="*/ 317657 w 581591"/>
              <a:gd name="connsiteY90" fmla="*/ 28812 h 110081"/>
              <a:gd name="connsiteX91" fmla="*/ 312739 w 581591"/>
              <a:gd name="connsiteY91" fmla="*/ 16864 h 110081"/>
              <a:gd name="connsiteX92" fmla="*/ 298546 w 581591"/>
              <a:gd name="connsiteY92" fmla="*/ 12383 h 110081"/>
              <a:gd name="connsiteX93" fmla="*/ 283918 w 581591"/>
              <a:gd name="connsiteY93" fmla="*/ 15246 h 110081"/>
              <a:gd name="connsiteX94" fmla="*/ 269850 w 581591"/>
              <a:gd name="connsiteY94" fmla="*/ 24331 h 110081"/>
              <a:gd name="connsiteX95" fmla="*/ 269850 w 581591"/>
              <a:gd name="connsiteY95" fmla="*/ 9707 h 110081"/>
              <a:gd name="connsiteX96" fmla="*/ 298670 w 581591"/>
              <a:gd name="connsiteY96" fmla="*/ 0 h 110081"/>
              <a:gd name="connsiteX97" fmla="*/ 322761 w 581591"/>
              <a:gd name="connsiteY97" fmla="*/ 7779 h 110081"/>
              <a:gd name="connsiteX98" fmla="*/ 331538 w 581591"/>
              <a:gd name="connsiteY98" fmla="*/ 28065 h 110081"/>
              <a:gd name="connsiteX99" fmla="*/ 325874 w 581591"/>
              <a:gd name="connsiteY99" fmla="*/ 44244 h 110081"/>
              <a:gd name="connsiteX100" fmla="*/ 312614 w 581591"/>
              <a:gd name="connsiteY100" fmla="*/ 52147 h 110081"/>
              <a:gd name="connsiteX101" fmla="*/ 324068 w 581591"/>
              <a:gd name="connsiteY101" fmla="*/ 56441 h 110081"/>
              <a:gd name="connsiteX102" fmla="*/ 332783 w 581591"/>
              <a:gd name="connsiteY102" fmla="*/ 65153 h 110081"/>
              <a:gd name="connsiteX103" fmla="*/ 336020 w 581591"/>
              <a:gd name="connsiteY103" fmla="*/ 77661 h 110081"/>
              <a:gd name="connsiteX104" fmla="*/ 331102 w 581591"/>
              <a:gd name="connsiteY104" fmla="*/ 94836 h 110081"/>
              <a:gd name="connsiteX105" fmla="*/ 317532 w 581591"/>
              <a:gd name="connsiteY105" fmla="*/ 106224 h 110081"/>
              <a:gd name="connsiteX106" fmla="*/ 297675 w 581591"/>
              <a:gd name="connsiteY106" fmla="*/ 110082 h 110081"/>
              <a:gd name="connsiteX107" fmla="*/ 267172 w 581591"/>
              <a:gd name="connsiteY107" fmla="*/ 100997 h 110081"/>
              <a:gd name="connsiteX108" fmla="*/ 267172 w 581591"/>
              <a:gd name="connsiteY108" fmla="*/ 86062 h 110081"/>
              <a:gd name="connsiteX109" fmla="*/ 280930 w 581591"/>
              <a:gd name="connsiteY109" fmla="*/ 94711 h 110081"/>
              <a:gd name="connsiteX110" fmla="*/ 297800 w 581591"/>
              <a:gd name="connsiteY110" fmla="*/ 97823 h 110081"/>
              <a:gd name="connsiteX111" fmla="*/ 315105 w 581591"/>
              <a:gd name="connsiteY111" fmla="*/ 92596 h 110081"/>
              <a:gd name="connsiteX112" fmla="*/ 321579 w 581591"/>
              <a:gd name="connsiteY112" fmla="*/ 77972 h 110081"/>
              <a:gd name="connsiteX113" fmla="*/ 315726 w 581591"/>
              <a:gd name="connsiteY113" fmla="*/ 64095 h 110081"/>
              <a:gd name="connsiteX114" fmla="*/ 298111 w 581591"/>
              <a:gd name="connsiteY114" fmla="*/ 58992 h 110081"/>
              <a:gd name="connsiteX115" fmla="*/ 284353 w 581591"/>
              <a:gd name="connsiteY115" fmla="*/ 58992 h 110081"/>
              <a:gd name="connsiteX116" fmla="*/ 417317 w 581591"/>
              <a:gd name="connsiteY116" fmla="*/ 108588 h 110081"/>
              <a:gd name="connsiteX117" fmla="*/ 349030 w 581591"/>
              <a:gd name="connsiteY117" fmla="*/ 108588 h 110081"/>
              <a:gd name="connsiteX118" fmla="*/ 349030 w 581591"/>
              <a:gd name="connsiteY118" fmla="*/ 94400 h 110081"/>
              <a:gd name="connsiteX119" fmla="*/ 375175 w 581591"/>
              <a:gd name="connsiteY119" fmla="*/ 72433 h 110081"/>
              <a:gd name="connsiteX120" fmla="*/ 391173 w 581591"/>
              <a:gd name="connsiteY120" fmla="*/ 56628 h 110081"/>
              <a:gd name="connsiteX121" fmla="*/ 399203 w 581591"/>
              <a:gd name="connsiteY121" fmla="*/ 43933 h 110081"/>
              <a:gd name="connsiteX122" fmla="*/ 401630 w 581591"/>
              <a:gd name="connsiteY122" fmla="*/ 32109 h 110081"/>
              <a:gd name="connsiteX123" fmla="*/ 396091 w 581591"/>
              <a:gd name="connsiteY123" fmla="*/ 17610 h 110081"/>
              <a:gd name="connsiteX124" fmla="*/ 380839 w 581591"/>
              <a:gd name="connsiteY124" fmla="*/ 12383 h 110081"/>
              <a:gd name="connsiteX125" fmla="*/ 351831 w 581591"/>
              <a:gd name="connsiteY125" fmla="*/ 27194 h 110081"/>
              <a:gd name="connsiteX126" fmla="*/ 351831 w 581591"/>
              <a:gd name="connsiteY126" fmla="*/ 12134 h 110081"/>
              <a:gd name="connsiteX127" fmla="*/ 381275 w 581591"/>
              <a:gd name="connsiteY127" fmla="*/ 0 h 110081"/>
              <a:gd name="connsiteX128" fmla="*/ 406673 w 581591"/>
              <a:gd name="connsiteY128" fmla="*/ 8401 h 110081"/>
              <a:gd name="connsiteX129" fmla="*/ 416073 w 581591"/>
              <a:gd name="connsiteY129" fmla="*/ 30803 h 110081"/>
              <a:gd name="connsiteX130" fmla="*/ 413706 w 581591"/>
              <a:gd name="connsiteY130" fmla="*/ 44804 h 110081"/>
              <a:gd name="connsiteX131" fmla="*/ 405615 w 581591"/>
              <a:gd name="connsiteY131" fmla="*/ 58681 h 110081"/>
              <a:gd name="connsiteX132" fmla="*/ 389928 w 581591"/>
              <a:gd name="connsiteY132" fmla="*/ 74860 h 110081"/>
              <a:gd name="connsiteX133" fmla="*/ 364530 w 581591"/>
              <a:gd name="connsiteY133" fmla="*/ 95769 h 110081"/>
              <a:gd name="connsiteX134" fmla="*/ 417317 w 581591"/>
              <a:gd name="connsiteY134" fmla="*/ 95769 h 110081"/>
              <a:gd name="connsiteX135" fmla="*/ 417317 w 581591"/>
              <a:gd name="connsiteY135" fmla="*/ 108588 h 110081"/>
              <a:gd name="connsiteX136" fmla="*/ 465373 w 581591"/>
              <a:gd name="connsiteY136" fmla="*/ 110082 h 110081"/>
              <a:gd name="connsiteX137" fmla="*/ 446699 w 581591"/>
              <a:gd name="connsiteY137" fmla="*/ 106473 h 110081"/>
              <a:gd name="connsiteX138" fmla="*/ 433999 w 581591"/>
              <a:gd name="connsiteY138" fmla="*/ 96205 h 110081"/>
              <a:gd name="connsiteX139" fmla="*/ 429331 w 581591"/>
              <a:gd name="connsiteY139" fmla="*/ 79777 h 110081"/>
              <a:gd name="connsiteX140" fmla="*/ 434747 w 581591"/>
              <a:gd name="connsiteY140" fmla="*/ 62291 h 110081"/>
              <a:gd name="connsiteX141" fmla="*/ 449499 w 581591"/>
              <a:gd name="connsiteY141" fmla="*/ 51711 h 110081"/>
              <a:gd name="connsiteX142" fmla="*/ 437548 w 581591"/>
              <a:gd name="connsiteY142" fmla="*/ 42564 h 110081"/>
              <a:gd name="connsiteX143" fmla="*/ 433253 w 581591"/>
              <a:gd name="connsiteY143" fmla="*/ 27504 h 110081"/>
              <a:gd name="connsiteX144" fmla="*/ 437423 w 581591"/>
              <a:gd name="connsiteY144" fmla="*/ 12570 h 110081"/>
              <a:gd name="connsiteX145" fmla="*/ 448940 w 581591"/>
              <a:gd name="connsiteY145" fmla="*/ 3298 h 110081"/>
              <a:gd name="connsiteX146" fmla="*/ 465373 w 581591"/>
              <a:gd name="connsiteY146" fmla="*/ 186 h 110081"/>
              <a:gd name="connsiteX147" fmla="*/ 481496 w 581591"/>
              <a:gd name="connsiteY147" fmla="*/ 3298 h 110081"/>
              <a:gd name="connsiteX148" fmla="*/ 492824 w 581591"/>
              <a:gd name="connsiteY148" fmla="*/ 12259 h 110081"/>
              <a:gd name="connsiteX149" fmla="*/ 497183 w 581591"/>
              <a:gd name="connsiteY149" fmla="*/ 27194 h 110081"/>
              <a:gd name="connsiteX150" fmla="*/ 492701 w 581591"/>
              <a:gd name="connsiteY150" fmla="*/ 42439 h 110081"/>
              <a:gd name="connsiteX151" fmla="*/ 480873 w 581591"/>
              <a:gd name="connsiteY151" fmla="*/ 51711 h 110081"/>
              <a:gd name="connsiteX152" fmla="*/ 495253 w 581591"/>
              <a:gd name="connsiteY152" fmla="*/ 61855 h 110081"/>
              <a:gd name="connsiteX153" fmla="*/ 500792 w 581591"/>
              <a:gd name="connsiteY153" fmla="*/ 79341 h 110081"/>
              <a:gd name="connsiteX154" fmla="*/ 496124 w 581591"/>
              <a:gd name="connsiteY154" fmla="*/ 95893 h 110081"/>
              <a:gd name="connsiteX155" fmla="*/ 483426 w 581591"/>
              <a:gd name="connsiteY155" fmla="*/ 106473 h 110081"/>
              <a:gd name="connsiteX156" fmla="*/ 465373 w 581591"/>
              <a:gd name="connsiteY156" fmla="*/ 110082 h 110081"/>
              <a:gd name="connsiteX157" fmla="*/ 465373 w 581591"/>
              <a:gd name="connsiteY157" fmla="*/ 46298 h 110081"/>
              <a:gd name="connsiteX158" fmla="*/ 478384 w 581591"/>
              <a:gd name="connsiteY158" fmla="*/ 41817 h 110081"/>
              <a:gd name="connsiteX159" fmla="*/ 483612 w 581591"/>
              <a:gd name="connsiteY159" fmla="*/ 29122 h 110081"/>
              <a:gd name="connsiteX160" fmla="*/ 478384 w 581591"/>
              <a:gd name="connsiteY160" fmla="*/ 16615 h 110081"/>
              <a:gd name="connsiteX161" fmla="*/ 465373 w 581591"/>
              <a:gd name="connsiteY161" fmla="*/ 11947 h 110081"/>
              <a:gd name="connsiteX162" fmla="*/ 452053 w 581591"/>
              <a:gd name="connsiteY162" fmla="*/ 16615 h 110081"/>
              <a:gd name="connsiteX163" fmla="*/ 446823 w 581591"/>
              <a:gd name="connsiteY163" fmla="*/ 29122 h 110081"/>
              <a:gd name="connsiteX164" fmla="*/ 452053 w 581591"/>
              <a:gd name="connsiteY164" fmla="*/ 41817 h 110081"/>
              <a:gd name="connsiteX165" fmla="*/ 465373 w 581591"/>
              <a:gd name="connsiteY165" fmla="*/ 46298 h 110081"/>
              <a:gd name="connsiteX166" fmla="*/ 465373 w 581591"/>
              <a:gd name="connsiteY166" fmla="*/ 98258 h 110081"/>
              <a:gd name="connsiteX167" fmla="*/ 480749 w 581591"/>
              <a:gd name="connsiteY167" fmla="*/ 92907 h 110081"/>
              <a:gd name="connsiteX168" fmla="*/ 487036 w 581591"/>
              <a:gd name="connsiteY168" fmla="*/ 77536 h 110081"/>
              <a:gd name="connsiteX169" fmla="*/ 480749 w 581591"/>
              <a:gd name="connsiteY169" fmla="*/ 62291 h 110081"/>
              <a:gd name="connsiteX170" fmla="*/ 465373 w 581591"/>
              <a:gd name="connsiteY170" fmla="*/ 56752 h 110081"/>
              <a:gd name="connsiteX171" fmla="*/ 449375 w 581591"/>
              <a:gd name="connsiteY171" fmla="*/ 62291 h 110081"/>
              <a:gd name="connsiteX172" fmla="*/ 443088 w 581591"/>
              <a:gd name="connsiteY172" fmla="*/ 77536 h 110081"/>
              <a:gd name="connsiteX173" fmla="*/ 449375 w 581591"/>
              <a:gd name="connsiteY173" fmla="*/ 92907 h 110081"/>
              <a:gd name="connsiteX174" fmla="*/ 465373 w 581591"/>
              <a:gd name="connsiteY174" fmla="*/ 98258 h 110081"/>
              <a:gd name="connsiteX175" fmla="*/ 581592 w 581591"/>
              <a:gd name="connsiteY175" fmla="*/ 108588 h 110081"/>
              <a:gd name="connsiteX176" fmla="*/ 513305 w 581591"/>
              <a:gd name="connsiteY176" fmla="*/ 108588 h 110081"/>
              <a:gd name="connsiteX177" fmla="*/ 513305 w 581591"/>
              <a:gd name="connsiteY177" fmla="*/ 94400 h 110081"/>
              <a:gd name="connsiteX178" fmla="*/ 539450 w 581591"/>
              <a:gd name="connsiteY178" fmla="*/ 72433 h 110081"/>
              <a:gd name="connsiteX179" fmla="*/ 555447 w 581591"/>
              <a:gd name="connsiteY179" fmla="*/ 56628 h 110081"/>
              <a:gd name="connsiteX180" fmla="*/ 563478 w 581591"/>
              <a:gd name="connsiteY180" fmla="*/ 43933 h 110081"/>
              <a:gd name="connsiteX181" fmla="*/ 565906 w 581591"/>
              <a:gd name="connsiteY181" fmla="*/ 32109 h 110081"/>
              <a:gd name="connsiteX182" fmla="*/ 560365 w 581591"/>
              <a:gd name="connsiteY182" fmla="*/ 17610 h 110081"/>
              <a:gd name="connsiteX183" fmla="*/ 545114 w 581591"/>
              <a:gd name="connsiteY183" fmla="*/ 12383 h 110081"/>
              <a:gd name="connsiteX184" fmla="*/ 516107 w 581591"/>
              <a:gd name="connsiteY184" fmla="*/ 27194 h 110081"/>
              <a:gd name="connsiteX185" fmla="*/ 516107 w 581591"/>
              <a:gd name="connsiteY185" fmla="*/ 12134 h 110081"/>
              <a:gd name="connsiteX186" fmla="*/ 545551 w 581591"/>
              <a:gd name="connsiteY186" fmla="*/ 0 h 110081"/>
              <a:gd name="connsiteX187" fmla="*/ 570947 w 581591"/>
              <a:gd name="connsiteY187" fmla="*/ 8401 h 110081"/>
              <a:gd name="connsiteX188" fmla="*/ 580347 w 581591"/>
              <a:gd name="connsiteY188" fmla="*/ 30803 h 110081"/>
              <a:gd name="connsiteX189" fmla="*/ 577982 w 581591"/>
              <a:gd name="connsiteY189" fmla="*/ 44804 h 110081"/>
              <a:gd name="connsiteX190" fmla="*/ 569889 w 581591"/>
              <a:gd name="connsiteY190" fmla="*/ 58681 h 110081"/>
              <a:gd name="connsiteX191" fmla="*/ 554203 w 581591"/>
              <a:gd name="connsiteY191" fmla="*/ 74860 h 110081"/>
              <a:gd name="connsiteX192" fmla="*/ 528805 w 581591"/>
              <a:gd name="connsiteY192" fmla="*/ 95769 h 110081"/>
              <a:gd name="connsiteX193" fmla="*/ 581592 w 581591"/>
              <a:gd name="connsiteY193" fmla="*/ 95769 h 110081"/>
              <a:gd name="connsiteX194" fmla="*/ 581592 w 581591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91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284353" y="58992"/>
                </a:moveTo>
                <a:lnTo>
                  <a:pt x="284353" y="46298"/>
                </a:lnTo>
                <a:lnTo>
                  <a:pt x="298670" y="46298"/>
                </a:lnTo>
                <a:cubicBezTo>
                  <a:pt x="304274" y="46298"/>
                  <a:pt x="308818" y="44804"/>
                  <a:pt x="312303" y="41817"/>
                </a:cubicBezTo>
                <a:cubicBezTo>
                  <a:pt x="315851" y="38768"/>
                  <a:pt x="317657" y="34412"/>
                  <a:pt x="317657" y="28812"/>
                </a:cubicBezTo>
                <a:cubicBezTo>
                  <a:pt x="317657" y="23771"/>
                  <a:pt x="316038" y="19788"/>
                  <a:pt x="312739" y="16864"/>
                </a:cubicBezTo>
                <a:cubicBezTo>
                  <a:pt x="309439" y="13877"/>
                  <a:pt x="304708" y="12383"/>
                  <a:pt x="298546" y="12383"/>
                </a:cubicBezTo>
                <a:cubicBezTo>
                  <a:pt x="293380" y="12383"/>
                  <a:pt x="288462" y="13379"/>
                  <a:pt x="283918" y="15246"/>
                </a:cubicBezTo>
                <a:cubicBezTo>
                  <a:pt x="279436" y="17113"/>
                  <a:pt x="274768" y="20162"/>
                  <a:pt x="269850" y="24331"/>
                </a:cubicBezTo>
                <a:lnTo>
                  <a:pt x="269850" y="9707"/>
                </a:lnTo>
                <a:cubicBezTo>
                  <a:pt x="277818" y="3235"/>
                  <a:pt x="287465" y="0"/>
                  <a:pt x="298670" y="0"/>
                </a:cubicBezTo>
                <a:cubicBezTo>
                  <a:pt x="308942" y="0"/>
                  <a:pt x="316971" y="2613"/>
                  <a:pt x="322761" y="7779"/>
                </a:cubicBezTo>
                <a:cubicBezTo>
                  <a:pt x="328612" y="12943"/>
                  <a:pt x="331538" y="19726"/>
                  <a:pt x="331538" y="28065"/>
                </a:cubicBezTo>
                <a:cubicBezTo>
                  <a:pt x="331538" y="34848"/>
                  <a:pt x="329670" y="40262"/>
                  <a:pt x="325874" y="44244"/>
                </a:cubicBezTo>
                <a:cubicBezTo>
                  <a:pt x="322201" y="48227"/>
                  <a:pt x="317781" y="50840"/>
                  <a:pt x="312614" y="52147"/>
                </a:cubicBezTo>
                <a:cubicBezTo>
                  <a:pt x="316786" y="52707"/>
                  <a:pt x="320582" y="54201"/>
                  <a:pt x="324068" y="56441"/>
                </a:cubicBezTo>
                <a:cubicBezTo>
                  <a:pt x="327679" y="58681"/>
                  <a:pt x="330543" y="61543"/>
                  <a:pt x="332783" y="65153"/>
                </a:cubicBezTo>
                <a:cubicBezTo>
                  <a:pt x="334962" y="68700"/>
                  <a:pt x="336020" y="72869"/>
                  <a:pt x="336020" y="77661"/>
                </a:cubicBezTo>
                <a:cubicBezTo>
                  <a:pt x="336020" y="84257"/>
                  <a:pt x="334401" y="89982"/>
                  <a:pt x="331102" y="94836"/>
                </a:cubicBezTo>
                <a:cubicBezTo>
                  <a:pt x="327804" y="99752"/>
                  <a:pt x="323321" y="103486"/>
                  <a:pt x="317532" y="106224"/>
                </a:cubicBezTo>
                <a:cubicBezTo>
                  <a:pt x="311868" y="108775"/>
                  <a:pt x="305207" y="110082"/>
                  <a:pt x="297675" y="110082"/>
                </a:cubicBezTo>
                <a:cubicBezTo>
                  <a:pt x="284477" y="110082"/>
                  <a:pt x="274332" y="107033"/>
                  <a:pt x="267172" y="100997"/>
                </a:cubicBezTo>
                <a:lnTo>
                  <a:pt x="267172" y="86062"/>
                </a:lnTo>
                <a:cubicBezTo>
                  <a:pt x="270970" y="89733"/>
                  <a:pt x="275514" y="92596"/>
                  <a:pt x="280930" y="94711"/>
                </a:cubicBezTo>
                <a:cubicBezTo>
                  <a:pt x="286283" y="96765"/>
                  <a:pt x="291948" y="97823"/>
                  <a:pt x="297800" y="97823"/>
                </a:cubicBezTo>
                <a:cubicBezTo>
                  <a:pt x="305144" y="97823"/>
                  <a:pt x="310933" y="96080"/>
                  <a:pt x="315105" y="92596"/>
                </a:cubicBezTo>
                <a:cubicBezTo>
                  <a:pt x="319400" y="89048"/>
                  <a:pt x="321579" y="84132"/>
                  <a:pt x="321579" y="77972"/>
                </a:cubicBezTo>
                <a:cubicBezTo>
                  <a:pt x="321579" y="71998"/>
                  <a:pt x="319587" y="67393"/>
                  <a:pt x="315726" y="64095"/>
                </a:cubicBezTo>
                <a:cubicBezTo>
                  <a:pt x="311930" y="60673"/>
                  <a:pt x="306078" y="58992"/>
                  <a:pt x="298111" y="58992"/>
                </a:cubicBezTo>
                <a:lnTo>
                  <a:pt x="284353" y="58992"/>
                </a:lnTo>
                <a:close/>
                <a:moveTo>
                  <a:pt x="417317" y="108588"/>
                </a:moveTo>
                <a:lnTo>
                  <a:pt x="349030" y="108588"/>
                </a:lnTo>
                <a:lnTo>
                  <a:pt x="349030" y="94400"/>
                </a:lnTo>
                <a:cubicBezTo>
                  <a:pt x="359675" y="85812"/>
                  <a:pt x="368389" y="78532"/>
                  <a:pt x="375175" y="72433"/>
                </a:cubicBezTo>
                <a:cubicBezTo>
                  <a:pt x="382023" y="66397"/>
                  <a:pt x="387375" y="61108"/>
                  <a:pt x="391173" y="56628"/>
                </a:cubicBezTo>
                <a:cubicBezTo>
                  <a:pt x="395032" y="52023"/>
                  <a:pt x="397709" y="47791"/>
                  <a:pt x="399203" y="43933"/>
                </a:cubicBezTo>
                <a:cubicBezTo>
                  <a:pt x="400822" y="40012"/>
                  <a:pt x="401630" y="36092"/>
                  <a:pt x="401630" y="32109"/>
                </a:cubicBezTo>
                <a:cubicBezTo>
                  <a:pt x="401630" y="25949"/>
                  <a:pt x="399763" y="21095"/>
                  <a:pt x="396091" y="17610"/>
                </a:cubicBezTo>
                <a:cubicBezTo>
                  <a:pt x="392418" y="14125"/>
                  <a:pt x="387313" y="12383"/>
                  <a:pt x="380839" y="12383"/>
                </a:cubicBezTo>
                <a:cubicBezTo>
                  <a:pt x="370506" y="12383"/>
                  <a:pt x="360795" y="17361"/>
                  <a:pt x="351831" y="27194"/>
                </a:cubicBezTo>
                <a:lnTo>
                  <a:pt x="351831" y="12134"/>
                </a:lnTo>
                <a:cubicBezTo>
                  <a:pt x="360111" y="4044"/>
                  <a:pt x="369945" y="0"/>
                  <a:pt x="381275" y="0"/>
                </a:cubicBezTo>
                <a:cubicBezTo>
                  <a:pt x="392044" y="0"/>
                  <a:pt x="400510" y="2800"/>
                  <a:pt x="406673" y="8401"/>
                </a:cubicBezTo>
                <a:cubicBezTo>
                  <a:pt x="412960" y="13877"/>
                  <a:pt x="416073" y="21344"/>
                  <a:pt x="416073" y="30803"/>
                </a:cubicBezTo>
                <a:cubicBezTo>
                  <a:pt x="416073" y="35657"/>
                  <a:pt x="415325" y="40324"/>
                  <a:pt x="413706" y="44804"/>
                </a:cubicBezTo>
                <a:cubicBezTo>
                  <a:pt x="412212" y="49222"/>
                  <a:pt x="409536" y="53827"/>
                  <a:pt x="405615" y="58681"/>
                </a:cubicBezTo>
                <a:cubicBezTo>
                  <a:pt x="401880" y="63473"/>
                  <a:pt x="396650" y="68887"/>
                  <a:pt x="389928" y="74860"/>
                </a:cubicBezTo>
                <a:cubicBezTo>
                  <a:pt x="383267" y="80835"/>
                  <a:pt x="374801" y="87804"/>
                  <a:pt x="364530" y="95769"/>
                </a:cubicBezTo>
                <a:lnTo>
                  <a:pt x="417317" y="95769"/>
                </a:lnTo>
                <a:lnTo>
                  <a:pt x="417317" y="108588"/>
                </a:lnTo>
                <a:close/>
                <a:moveTo>
                  <a:pt x="465373" y="110082"/>
                </a:moveTo>
                <a:cubicBezTo>
                  <a:pt x="458402" y="110082"/>
                  <a:pt x="452177" y="108900"/>
                  <a:pt x="446699" y="106473"/>
                </a:cubicBezTo>
                <a:cubicBezTo>
                  <a:pt x="441284" y="104108"/>
                  <a:pt x="437050" y="100685"/>
                  <a:pt x="433999" y="96205"/>
                </a:cubicBezTo>
                <a:cubicBezTo>
                  <a:pt x="430887" y="91600"/>
                  <a:pt x="429331" y="86124"/>
                  <a:pt x="429331" y="79777"/>
                </a:cubicBezTo>
                <a:cubicBezTo>
                  <a:pt x="429331" y="72869"/>
                  <a:pt x="431136" y="67082"/>
                  <a:pt x="434747" y="62291"/>
                </a:cubicBezTo>
                <a:cubicBezTo>
                  <a:pt x="438419" y="57437"/>
                  <a:pt x="443337" y="53889"/>
                  <a:pt x="449499" y="51711"/>
                </a:cubicBezTo>
                <a:cubicBezTo>
                  <a:pt x="444521" y="49720"/>
                  <a:pt x="440536" y="46671"/>
                  <a:pt x="437548" y="42564"/>
                </a:cubicBezTo>
                <a:cubicBezTo>
                  <a:pt x="434685" y="38519"/>
                  <a:pt x="433253" y="33479"/>
                  <a:pt x="433253" y="27504"/>
                </a:cubicBezTo>
                <a:cubicBezTo>
                  <a:pt x="433253" y="21593"/>
                  <a:pt x="434623" y="16615"/>
                  <a:pt x="437423" y="12570"/>
                </a:cubicBezTo>
                <a:cubicBezTo>
                  <a:pt x="440224" y="8463"/>
                  <a:pt x="444022" y="5414"/>
                  <a:pt x="448940" y="3298"/>
                </a:cubicBezTo>
                <a:cubicBezTo>
                  <a:pt x="453796" y="1182"/>
                  <a:pt x="459273" y="186"/>
                  <a:pt x="465373" y="186"/>
                </a:cubicBezTo>
                <a:cubicBezTo>
                  <a:pt x="471349" y="186"/>
                  <a:pt x="476703" y="1182"/>
                  <a:pt x="481496" y="3298"/>
                </a:cubicBezTo>
                <a:cubicBezTo>
                  <a:pt x="486290" y="5289"/>
                  <a:pt x="490086" y="8276"/>
                  <a:pt x="492824" y="12259"/>
                </a:cubicBezTo>
                <a:cubicBezTo>
                  <a:pt x="495751" y="16242"/>
                  <a:pt x="497183" y="21219"/>
                  <a:pt x="497183" y="27194"/>
                </a:cubicBezTo>
                <a:cubicBezTo>
                  <a:pt x="497183" y="33292"/>
                  <a:pt x="495689" y="38332"/>
                  <a:pt x="492701" y="42439"/>
                </a:cubicBezTo>
                <a:cubicBezTo>
                  <a:pt x="489712" y="46484"/>
                  <a:pt x="485791" y="49596"/>
                  <a:pt x="480873" y="51711"/>
                </a:cubicBezTo>
                <a:cubicBezTo>
                  <a:pt x="486849" y="53765"/>
                  <a:pt x="491642" y="57188"/>
                  <a:pt x="495253" y="61855"/>
                </a:cubicBezTo>
                <a:cubicBezTo>
                  <a:pt x="498926" y="66522"/>
                  <a:pt x="500792" y="72372"/>
                  <a:pt x="500792" y="79341"/>
                </a:cubicBezTo>
                <a:cubicBezTo>
                  <a:pt x="500792" y="85688"/>
                  <a:pt x="499236" y="91226"/>
                  <a:pt x="496124" y="95893"/>
                </a:cubicBezTo>
                <a:cubicBezTo>
                  <a:pt x="493074" y="100498"/>
                  <a:pt x="488841" y="103983"/>
                  <a:pt x="483426" y="106473"/>
                </a:cubicBezTo>
                <a:cubicBezTo>
                  <a:pt x="478135" y="108900"/>
                  <a:pt x="472159" y="110082"/>
                  <a:pt x="465373" y="110082"/>
                </a:cubicBezTo>
                <a:close/>
                <a:moveTo>
                  <a:pt x="465373" y="46298"/>
                </a:moveTo>
                <a:cubicBezTo>
                  <a:pt x="470665" y="46298"/>
                  <a:pt x="474960" y="44804"/>
                  <a:pt x="478384" y="41817"/>
                </a:cubicBezTo>
                <a:cubicBezTo>
                  <a:pt x="481870" y="38768"/>
                  <a:pt x="483612" y="34536"/>
                  <a:pt x="483612" y="29122"/>
                </a:cubicBezTo>
                <a:cubicBezTo>
                  <a:pt x="483612" y="23771"/>
                  <a:pt x="481870" y="19601"/>
                  <a:pt x="478384" y="16615"/>
                </a:cubicBezTo>
                <a:cubicBezTo>
                  <a:pt x="474960" y="13503"/>
                  <a:pt x="470665" y="11947"/>
                  <a:pt x="465373" y="11947"/>
                </a:cubicBezTo>
                <a:cubicBezTo>
                  <a:pt x="460083" y="11947"/>
                  <a:pt x="455662" y="13503"/>
                  <a:pt x="452053" y="16615"/>
                </a:cubicBezTo>
                <a:cubicBezTo>
                  <a:pt x="448566" y="19601"/>
                  <a:pt x="446823" y="23771"/>
                  <a:pt x="446823" y="29122"/>
                </a:cubicBezTo>
                <a:cubicBezTo>
                  <a:pt x="446823" y="34536"/>
                  <a:pt x="448566" y="38768"/>
                  <a:pt x="452053" y="41817"/>
                </a:cubicBezTo>
                <a:cubicBezTo>
                  <a:pt x="455662" y="44804"/>
                  <a:pt x="460083" y="46298"/>
                  <a:pt x="465373" y="46298"/>
                </a:cubicBezTo>
                <a:close/>
                <a:moveTo>
                  <a:pt x="465373" y="98258"/>
                </a:moveTo>
                <a:cubicBezTo>
                  <a:pt x="471536" y="98258"/>
                  <a:pt x="476641" y="96516"/>
                  <a:pt x="480749" y="92907"/>
                </a:cubicBezTo>
                <a:cubicBezTo>
                  <a:pt x="484920" y="89235"/>
                  <a:pt x="487036" y="84071"/>
                  <a:pt x="487036" y="77536"/>
                </a:cubicBezTo>
                <a:cubicBezTo>
                  <a:pt x="487036" y="70940"/>
                  <a:pt x="484920" y="65900"/>
                  <a:pt x="480749" y="62291"/>
                </a:cubicBezTo>
                <a:cubicBezTo>
                  <a:pt x="476641" y="58619"/>
                  <a:pt x="471536" y="56752"/>
                  <a:pt x="465373" y="56752"/>
                </a:cubicBezTo>
                <a:cubicBezTo>
                  <a:pt x="458961" y="56752"/>
                  <a:pt x="453671" y="58619"/>
                  <a:pt x="449375" y="62291"/>
                </a:cubicBezTo>
                <a:cubicBezTo>
                  <a:pt x="445205" y="65900"/>
                  <a:pt x="443088" y="70940"/>
                  <a:pt x="443088" y="77536"/>
                </a:cubicBezTo>
                <a:cubicBezTo>
                  <a:pt x="443088" y="84071"/>
                  <a:pt x="445205" y="89235"/>
                  <a:pt x="449375" y="92907"/>
                </a:cubicBezTo>
                <a:cubicBezTo>
                  <a:pt x="453671" y="96516"/>
                  <a:pt x="458961" y="98258"/>
                  <a:pt x="465373" y="98258"/>
                </a:cubicBezTo>
                <a:close/>
                <a:moveTo>
                  <a:pt x="581592" y="108588"/>
                </a:moveTo>
                <a:lnTo>
                  <a:pt x="513305" y="108588"/>
                </a:lnTo>
                <a:lnTo>
                  <a:pt x="513305" y="94400"/>
                </a:lnTo>
                <a:cubicBezTo>
                  <a:pt x="523949" y="85812"/>
                  <a:pt x="532665" y="78532"/>
                  <a:pt x="539450" y="72433"/>
                </a:cubicBezTo>
                <a:cubicBezTo>
                  <a:pt x="546297" y="66397"/>
                  <a:pt x="551651" y="61108"/>
                  <a:pt x="555447" y="56628"/>
                </a:cubicBezTo>
                <a:cubicBezTo>
                  <a:pt x="559307" y="52023"/>
                  <a:pt x="561984" y="47791"/>
                  <a:pt x="563478" y="43933"/>
                </a:cubicBezTo>
                <a:cubicBezTo>
                  <a:pt x="565096" y="40012"/>
                  <a:pt x="565906" y="36092"/>
                  <a:pt x="565906" y="32109"/>
                </a:cubicBezTo>
                <a:cubicBezTo>
                  <a:pt x="565906" y="25949"/>
                  <a:pt x="564038" y="21095"/>
                  <a:pt x="560365" y="17610"/>
                </a:cubicBezTo>
                <a:cubicBezTo>
                  <a:pt x="556692" y="14125"/>
                  <a:pt x="551589" y="12383"/>
                  <a:pt x="545114" y="12383"/>
                </a:cubicBezTo>
                <a:cubicBezTo>
                  <a:pt x="534782" y="12383"/>
                  <a:pt x="525071" y="17361"/>
                  <a:pt x="516107" y="27194"/>
                </a:cubicBezTo>
                <a:lnTo>
                  <a:pt x="516107" y="12134"/>
                </a:lnTo>
                <a:cubicBezTo>
                  <a:pt x="524385" y="4044"/>
                  <a:pt x="534221" y="0"/>
                  <a:pt x="545551" y="0"/>
                </a:cubicBezTo>
                <a:cubicBezTo>
                  <a:pt x="556320" y="0"/>
                  <a:pt x="564785" y="2800"/>
                  <a:pt x="570947" y="8401"/>
                </a:cubicBezTo>
                <a:cubicBezTo>
                  <a:pt x="577234" y="13877"/>
                  <a:pt x="580347" y="21344"/>
                  <a:pt x="580347" y="30803"/>
                </a:cubicBezTo>
                <a:cubicBezTo>
                  <a:pt x="580347" y="35657"/>
                  <a:pt x="579601" y="40324"/>
                  <a:pt x="577982" y="44804"/>
                </a:cubicBezTo>
                <a:cubicBezTo>
                  <a:pt x="576488" y="49222"/>
                  <a:pt x="573810" y="53827"/>
                  <a:pt x="569889" y="58681"/>
                </a:cubicBezTo>
                <a:cubicBezTo>
                  <a:pt x="566154" y="63473"/>
                  <a:pt x="560926" y="68887"/>
                  <a:pt x="554203" y="74860"/>
                </a:cubicBezTo>
                <a:cubicBezTo>
                  <a:pt x="547542" y="80835"/>
                  <a:pt x="539077" y="87804"/>
                  <a:pt x="528805" y="95769"/>
                </a:cubicBezTo>
                <a:lnTo>
                  <a:pt x="581592" y="95769"/>
                </a:lnTo>
                <a:lnTo>
                  <a:pt x="581592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0" name="Полилиния 949">
            <a:extLst>
              <a:ext uri="{FF2B5EF4-FFF2-40B4-BE49-F238E27FC236}">
                <a16:creationId xmlns:a16="http://schemas.microsoft.com/office/drawing/2014/main" id="{AB463912-8AE4-C482-BEBB-5C000BED7C6D}"/>
              </a:ext>
            </a:extLst>
          </p:cNvPr>
          <p:cNvSpPr/>
          <p:nvPr userDrawn="1"/>
        </p:nvSpPr>
        <p:spPr>
          <a:xfrm>
            <a:off x="9547358" y="5240073"/>
            <a:ext cx="2557159" cy="726227"/>
          </a:xfrm>
          <a:custGeom>
            <a:avLst/>
            <a:gdLst>
              <a:gd name="connsiteX0" fmla="*/ 2604 w 2191162"/>
              <a:gd name="connsiteY0" fmla="*/ 1222 h 622284"/>
              <a:gd name="connsiteX1" fmla="*/ 2193767 w 2191162"/>
              <a:gd name="connsiteY1" fmla="*/ 1222 h 622284"/>
              <a:gd name="connsiteX2" fmla="*/ 2193767 w 2191162"/>
              <a:gd name="connsiteY2" fmla="*/ 623506 h 622284"/>
              <a:gd name="connsiteX3" fmla="*/ 2604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222"/>
                </a:moveTo>
                <a:lnTo>
                  <a:pt x="2193767" y="1222"/>
                </a:lnTo>
                <a:lnTo>
                  <a:pt x="2193767" y="623506"/>
                </a:lnTo>
                <a:lnTo>
                  <a:pt x="2604" y="623506"/>
                </a:lnTo>
                <a:close/>
              </a:path>
            </a:pathLst>
          </a:custGeom>
          <a:solidFill>
            <a:srgbClr val="0046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1" name="Полилиния 950">
            <a:extLst>
              <a:ext uri="{FF2B5EF4-FFF2-40B4-BE49-F238E27FC236}">
                <a16:creationId xmlns:a16="http://schemas.microsoft.com/office/drawing/2014/main" id="{523923EE-04AA-1AF3-05D3-87222E0710FC}"/>
              </a:ext>
            </a:extLst>
          </p:cNvPr>
          <p:cNvSpPr/>
          <p:nvPr userDrawn="1"/>
        </p:nvSpPr>
        <p:spPr>
          <a:xfrm>
            <a:off x="9670565" y="5541820"/>
            <a:ext cx="706342" cy="128468"/>
          </a:xfrm>
          <a:custGeom>
            <a:avLst/>
            <a:gdLst>
              <a:gd name="connsiteX0" fmla="*/ 22099 w 605246"/>
              <a:gd name="connsiteY0" fmla="*/ 108588 h 110081"/>
              <a:gd name="connsiteX1" fmla="*/ 10147 w 605246"/>
              <a:gd name="connsiteY1" fmla="*/ 108588 h 110081"/>
              <a:gd name="connsiteX2" fmla="*/ 16435 w 605246"/>
              <a:gd name="connsiteY2" fmla="*/ 77661 h 110081"/>
              <a:gd name="connsiteX3" fmla="*/ 0 w 605246"/>
              <a:gd name="connsiteY3" fmla="*/ 77661 h 110081"/>
              <a:gd name="connsiteX4" fmla="*/ 0 w 605246"/>
              <a:gd name="connsiteY4" fmla="*/ 67206 h 110081"/>
              <a:gd name="connsiteX5" fmla="*/ 18675 w 605246"/>
              <a:gd name="connsiteY5" fmla="*/ 67206 h 110081"/>
              <a:gd name="connsiteX6" fmla="*/ 24216 w 605246"/>
              <a:gd name="connsiteY6" fmla="*/ 40012 h 110081"/>
              <a:gd name="connsiteX7" fmla="*/ 4047 w 605246"/>
              <a:gd name="connsiteY7" fmla="*/ 40012 h 110081"/>
              <a:gd name="connsiteX8" fmla="*/ 4047 w 605246"/>
              <a:gd name="connsiteY8" fmla="*/ 29559 h 110081"/>
              <a:gd name="connsiteX9" fmla="*/ 26269 w 605246"/>
              <a:gd name="connsiteY9" fmla="*/ 29559 h 110081"/>
              <a:gd name="connsiteX10" fmla="*/ 32121 w 605246"/>
              <a:gd name="connsiteY10" fmla="*/ 1493 h 110081"/>
              <a:gd name="connsiteX11" fmla="*/ 44073 w 605246"/>
              <a:gd name="connsiteY11" fmla="*/ 1493 h 110081"/>
              <a:gd name="connsiteX12" fmla="*/ 38222 w 605246"/>
              <a:gd name="connsiteY12" fmla="*/ 29559 h 110081"/>
              <a:gd name="connsiteX13" fmla="*/ 60630 w 605246"/>
              <a:gd name="connsiteY13" fmla="*/ 29559 h 110081"/>
              <a:gd name="connsiteX14" fmla="*/ 66481 w 605246"/>
              <a:gd name="connsiteY14" fmla="*/ 1493 h 110081"/>
              <a:gd name="connsiteX15" fmla="*/ 78434 w 605246"/>
              <a:gd name="connsiteY15" fmla="*/ 1493 h 110081"/>
              <a:gd name="connsiteX16" fmla="*/ 72583 w 605246"/>
              <a:gd name="connsiteY16" fmla="*/ 29559 h 110081"/>
              <a:gd name="connsiteX17" fmla="*/ 89328 w 605246"/>
              <a:gd name="connsiteY17" fmla="*/ 29559 h 110081"/>
              <a:gd name="connsiteX18" fmla="*/ 89328 w 605246"/>
              <a:gd name="connsiteY18" fmla="*/ 40012 h 110081"/>
              <a:gd name="connsiteX19" fmla="*/ 70529 w 605246"/>
              <a:gd name="connsiteY19" fmla="*/ 40012 h 110081"/>
              <a:gd name="connsiteX20" fmla="*/ 64988 w 605246"/>
              <a:gd name="connsiteY20" fmla="*/ 67206 h 110081"/>
              <a:gd name="connsiteX21" fmla="*/ 85281 w 605246"/>
              <a:gd name="connsiteY21" fmla="*/ 67206 h 110081"/>
              <a:gd name="connsiteX22" fmla="*/ 85281 w 605246"/>
              <a:gd name="connsiteY22" fmla="*/ 77661 h 110081"/>
              <a:gd name="connsiteX23" fmla="*/ 62747 w 605246"/>
              <a:gd name="connsiteY23" fmla="*/ 77661 h 110081"/>
              <a:gd name="connsiteX24" fmla="*/ 56460 w 605246"/>
              <a:gd name="connsiteY24" fmla="*/ 108588 h 110081"/>
              <a:gd name="connsiteX25" fmla="*/ 44509 w 605246"/>
              <a:gd name="connsiteY25" fmla="*/ 108588 h 110081"/>
              <a:gd name="connsiteX26" fmla="*/ 50796 w 605246"/>
              <a:gd name="connsiteY26" fmla="*/ 77661 h 110081"/>
              <a:gd name="connsiteX27" fmla="*/ 28386 w 605246"/>
              <a:gd name="connsiteY27" fmla="*/ 77661 h 110081"/>
              <a:gd name="connsiteX28" fmla="*/ 22099 w 605246"/>
              <a:gd name="connsiteY28" fmla="*/ 108588 h 110081"/>
              <a:gd name="connsiteX29" fmla="*/ 30626 w 605246"/>
              <a:gd name="connsiteY29" fmla="*/ 67206 h 110081"/>
              <a:gd name="connsiteX30" fmla="*/ 53036 w 605246"/>
              <a:gd name="connsiteY30" fmla="*/ 67206 h 110081"/>
              <a:gd name="connsiteX31" fmla="*/ 58577 w 605246"/>
              <a:gd name="connsiteY31" fmla="*/ 40012 h 110081"/>
              <a:gd name="connsiteX32" fmla="*/ 36167 w 605246"/>
              <a:gd name="connsiteY32" fmla="*/ 40012 h 110081"/>
              <a:gd name="connsiteX33" fmla="*/ 30626 w 605246"/>
              <a:gd name="connsiteY33" fmla="*/ 67206 h 110081"/>
              <a:gd name="connsiteX34" fmla="*/ 136636 w 605246"/>
              <a:gd name="connsiteY34" fmla="*/ 110082 h 110081"/>
              <a:gd name="connsiteX35" fmla="*/ 118460 w 605246"/>
              <a:gd name="connsiteY35" fmla="*/ 104233 h 110081"/>
              <a:gd name="connsiteX36" fmla="*/ 105761 w 605246"/>
              <a:gd name="connsiteY36" fmla="*/ 86311 h 110081"/>
              <a:gd name="connsiteX37" fmla="*/ 101279 w 605246"/>
              <a:gd name="connsiteY37" fmla="*/ 54947 h 110081"/>
              <a:gd name="connsiteX38" fmla="*/ 105761 w 605246"/>
              <a:gd name="connsiteY38" fmla="*/ 23584 h 110081"/>
              <a:gd name="connsiteX39" fmla="*/ 118460 w 605246"/>
              <a:gd name="connsiteY39" fmla="*/ 5849 h 110081"/>
              <a:gd name="connsiteX40" fmla="*/ 136636 w 605246"/>
              <a:gd name="connsiteY40" fmla="*/ 186 h 110081"/>
              <a:gd name="connsiteX41" fmla="*/ 154752 w 605246"/>
              <a:gd name="connsiteY41" fmla="*/ 5849 h 110081"/>
              <a:gd name="connsiteX42" fmla="*/ 167139 w 605246"/>
              <a:gd name="connsiteY42" fmla="*/ 23584 h 110081"/>
              <a:gd name="connsiteX43" fmla="*/ 171621 w 605246"/>
              <a:gd name="connsiteY43" fmla="*/ 54698 h 110081"/>
              <a:gd name="connsiteX44" fmla="*/ 167139 w 605246"/>
              <a:gd name="connsiteY44" fmla="*/ 86062 h 110081"/>
              <a:gd name="connsiteX45" fmla="*/ 154752 w 605246"/>
              <a:gd name="connsiteY45" fmla="*/ 104233 h 110081"/>
              <a:gd name="connsiteX46" fmla="*/ 136636 w 605246"/>
              <a:gd name="connsiteY46" fmla="*/ 110082 h 110081"/>
              <a:gd name="connsiteX47" fmla="*/ 136512 w 605246"/>
              <a:gd name="connsiteY47" fmla="*/ 98258 h 110081"/>
              <a:gd name="connsiteX48" fmla="*/ 147841 w 605246"/>
              <a:gd name="connsiteY48" fmla="*/ 94275 h 110081"/>
              <a:gd name="connsiteX49" fmla="*/ 155063 w 605246"/>
              <a:gd name="connsiteY49" fmla="*/ 80648 h 110081"/>
              <a:gd name="connsiteX50" fmla="*/ 157552 w 605246"/>
              <a:gd name="connsiteY50" fmla="*/ 55134 h 110081"/>
              <a:gd name="connsiteX51" fmla="*/ 155186 w 605246"/>
              <a:gd name="connsiteY51" fmla="*/ 29745 h 110081"/>
              <a:gd name="connsiteX52" fmla="*/ 148028 w 605246"/>
              <a:gd name="connsiteY52" fmla="*/ 16117 h 110081"/>
              <a:gd name="connsiteX53" fmla="*/ 136636 w 605246"/>
              <a:gd name="connsiteY53" fmla="*/ 11947 h 110081"/>
              <a:gd name="connsiteX54" fmla="*/ 125183 w 605246"/>
              <a:gd name="connsiteY54" fmla="*/ 16117 h 110081"/>
              <a:gd name="connsiteX55" fmla="*/ 117837 w 605246"/>
              <a:gd name="connsiteY55" fmla="*/ 29745 h 110081"/>
              <a:gd name="connsiteX56" fmla="*/ 115285 w 605246"/>
              <a:gd name="connsiteY56" fmla="*/ 55134 h 110081"/>
              <a:gd name="connsiteX57" fmla="*/ 117714 w 605246"/>
              <a:gd name="connsiteY57" fmla="*/ 80648 h 110081"/>
              <a:gd name="connsiteX58" fmla="*/ 124996 w 605246"/>
              <a:gd name="connsiteY58" fmla="*/ 94275 h 110081"/>
              <a:gd name="connsiteX59" fmla="*/ 136512 w 605246"/>
              <a:gd name="connsiteY59" fmla="*/ 98258 h 110081"/>
              <a:gd name="connsiteX60" fmla="*/ 218806 w 605246"/>
              <a:gd name="connsiteY60" fmla="*/ 110082 h 110081"/>
              <a:gd name="connsiteX61" fmla="*/ 200566 w 605246"/>
              <a:gd name="connsiteY61" fmla="*/ 104233 h 110081"/>
              <a:gd name="connsiteX62" fmla="*/ 187867 w 605246"/>
              <a:gd name="connsiteY62" fmla="*/ 86311 h 110081"/>
              <a:gd name="connsiteX63" fmla="*/ 183385 w 605246"/>
              <a:gd name="connsiteY63" fmla="*/ 54947 h 110081"/>
              <a:gd name="connsiteX64" fmla="*/ 187867 w 605246"/>
              <a:gd name="connsiteY64" fmla="*/ 23584 h 110081"/>
              <a:gd name="connsiteX65" fmla="*/ 200566 w 605246"/>
              <a:gd name="connsiteY65" fmla="*/ 5849 h 110081"/>
              <a:gd name="connsiteX66" fmla="*/ 218806 w 605246"/>
              <a:gd name="connsiteY66" fmla="*/ 186 h 110081"/>
              <a:gd name="connsiteX67" fmla="*/ 236858 w 605246"/>
              <a:gd name="connsiteY67" fmla="*/ 5849 h 110081"/>
              <a:gd name="connsiteX68" fmla="*/ 249245 w 605246"/>
              <a:gd name="connsiteY68" fmla="*/ 23584 h 110081"/>
              <a:gd name="connsiteX69" fmla="*/ 253727 w 605246"/>
              <a:gd name="connsiteY69" fmla="*/ 54698 h 110081"/>
              <a:gd name="connsiteX70" fmla="*/ 249245 w 605246"/>
              <a:gd name="connsiteY70" fmla="*/ 86062 h 110081"/>
              <a:gd name="connsiteX71" fmla="*/ 236858 w 605246"/>
              <a:gd name="connsiteY71" fmla="*/ 104233 h 110081"/>
              <a:gd name="connsiteX72" fmla="*/ 218806 w 605246"/>
              <a:gd name="connsiteY72" fmla="*/ 110082 h 110081"/>
              <a:gd name="connsiteX73" fmla="*/ 218619 w 605246"/>
              <a:gd name="connsiteY73" fmla="*/ 98258 h 110081"/>
              <a:gd name="connsiteX74" fmla="*/ 230010 w 605246"/>
              <a:gd name="connsiteY74" fmla="*/ 94275 h 110081"/>
              <a:gd name="connsiteX75" fmla="*/ 237169 w 605246"/>
              <a:gd name="connsiteY75" fmla="*/ 80648 h 110081"/>
              <a:gd name="connsiteX76" fmla="*/ 239721 w 605246"/>
              <a:gd name="connsiteY76" fmla="*/ 55134 h 110081"/>
              <a:gd name="connsiteX77" fmla="*/ 237294 w 605246"/>
              <a:gd name="connsiteY77" fmla="*/ 29745 h 110081"/>
              <a:gd name="connsiteX78" fmla="*/ 230134 w 605246"/>
              <a:gd name="connsiteY78" fmla="*/ 16117 h 110081"/>
              <a:gd name="connsiteX79" fmla="*/ 218806 w 605246"/>
              <a:gd name="connsiteY79" fmla="*/ 11947 h 110081"/>
              <a:gd name="connsiteX80" fmla="*/ 207289 w 605246"/>
              <a:gd name="connsiteY80" fmla="*/ 16117 h 110081"/>
              <a:gd name="connsiteX81" fmla="*/ 199944 w 605246"/>
              <a:gd name="connsiteY81" fmla="*/ 29745 h 110081"/>
              <a:gd name="connsiteX82" fmla="*/ 197453 w 605246"/>
              <a:gd name="connsiteY82" fmla="*/ 55134 h 110081"/>
              <a:gd name="connsiteX83" fmla="*/ 199820 w 605246"/>
              <a:gd name="connsiteY83" fmla="*/ 80648 h 110081"/>
              <a:gd name="connsiteX84" fmla="*/ 207165 w 605246"/>
              <a:gd name="connsiteY84" fmla="*/ 94275 h 110081"/>
              <a:gd name="connsiteX85" fmla="*/ 218619 w 605246"/>
              <a:gd name="connsiteY85" fmla="*/ 98258 h 110081"/>
              <a:gd name="connsiteX86" fmla="*/ 323073 w 605246"/>
              <a:gd name="connsiteY86" fmla="*/ 108588 h 110081"/>
              <a:gd name="connsiteX87" fmla="*/ 309875 w 605246"/>
              <a:gd name="connsiteY87" fmla="*/ 108588 h 110081"/>
              <a:gd name="connsiteX88" fmla="*/ 309875 w 605246"/>
              <a:gd name="connsiteY88" fmla="*/ 83199 h 110081"/>
              <a:gd name="connsiteX89" fmla="*/ 263563 w 605246"/>
              <a:gd name="connsiteY89" fmla="*/ 83199 h 110081"/>
              <a:gd name="connsiteX90" fmla="*/ 263563 w 605246"/>
              <a:gd name="connsiteY90" fmla="*/ 73927 h 110081"/>
              <a:gd name="connsiteX91" fmla="*/ 305394 w 605246"/>
              <a:gd name="connsiteY91" fmla="*/ 1493 h 110081"/>
              <a:gd name="connsiteX92" fmla="*/ 323073 w 605246"/>
              <a:gd name="connsiteY92" fmla="*/ 1493 h 110081"/>
              <a:gd name="connsiteX93" fmla="*/ 323073 w 605246"/>
              <a:gd name="connsiteY93" fmla="*/ 71873 h 110081"/>
              <a:gd name="connsiteX94" fmla="*/ 337514 w 605246"/>
              <a:gd name="connsiteY94" fmla="*/ 71873 h 110081"/>
              <a:gd name="connsiteX95" fmla="*/ 337514 w 605246"/>
              <a:gd name="connsiteY95" fmla="*/ 83199 h 110081"/>
              <a:gd name="connsiteX96" fmla="*/ 323073 w 605246"/>
              <a:gd name="connsiteY96" fmla="*/ 83199 h 110081"/>
              <a:gd name="connsiteX97" fmla="*/ 323073 w 605246"/>
              <a:gd name="connsiteY97" fmla="*/ 108588 h 110081"/>
              <a:gd name="connsiteX98" fmla="*/ 277195 w 605246"/>
              <a:gd name="connsiteY98" fmla="*/ 71873 h 110081"/>
              <a:gd name="connsiteX99" fmla="*/ 309875 w 605246"/>
              <a:gd name="connsiteY99" fmla="*/ 71873 h 110081"/>
              <a:gd name="connsiteX100" fmla="*/ 309875 w 605246"/>
              <a:gd name="connsiteY100" fmla="*/ 16117 h 110081"/>
              <a:gd name="connsiteX101" fmla="*/ 277195 w 605246"/>
              <a:gd name="connsiteY101" fmla="*/ 71873 h 110081"/>
              <a:gd name="connsiteX102" fmla="*/ 419682 w 605246"/>
              <a:gd name="connsiteY102" fmla="*/ 73491 h 110081"/>
              <a:gd name="connsiteX103" fmla="*/ 414890 w 605246"/>
              <a:gd name="connsiteY103" fmla="*/ 92782 h 110081"/>
              <a:gd name="connsiteX104" fmla="*/ 402191 w 605246"/>
              <a:gd name="connsiteY104" fmla="*/ 105601 h 110081"/>
              <a:gd name="connsiteX105" fmla="*/ 384138 w 605246"/>
              <a:gd name="connsiteY105" fmla="*/ 110082 h 110081"/>
              <a:gd name="connsiteX106" fmla="*/ 362476 w 605246"/>
              <a:gd name="connsiteY106" fmla="*/ 104108 h 110081"/>
              <a:gd name="connsiteX107" fmla="*/ 350337 w 605246"/>
              <a:gd name="connsiteY107" fmla="*/ 87555 h 110081"/>
              <a:gd name="connsiteX108" fmla="*/ 346602 w 605246"/>
              <a:gd name="connsiteY108" fmla="*/ 63161 h 110081"/>
              <a:gd name="connsiteX109" fmla="*/ 351085 w 605246"/>
              <a:gd name="connsiteY109" fmla="*/ 30181 h 110081"/>
              <a:gd name="connsiteX110" fmla="*/ 365153 w 605246"/>
              <a:gd name="connsiteY110" fmla="*/ 8089 h 110081"/>
              <a:gd name="connsiteX111" fmla="*/ 389679 w 605246"/>
              <a:gd name="connsiteY111" fmla="*/ 0 h 110081"/>
              <a:gd name="connsiteX112" fmla="*/ 412212 w 605246"/>
              <a:gd name="connsiteY112" fmla="*/ 5538 h 110081"/>
              <a:gd name="connsiteX113" fmla="*/ 412212 w 605246"/>
              <a:gd name="connsiteY113" fmla="*/ 18855 h 110081"/>
              <a:gd name="connsiteX114" fmla="*/ 389679 w 605246"/>
              <a:gd name="connsiteY114" fmla="*/ 12259 h 110081"/>
              <a:gd name="connsiteX115" fmla="*/ 374117 w 605246"/>
              <a:gd name="connsiteY115" fmla="*/ 17361 h 110081"/>
              <a:gd name="connsiteX116" fmla="*/ 364281 w 605246"/>
              <a:gd name="connsiteY116" fmla="*/ 31238 h 110081"/>
              <a:gd name="connsiteX117" fmla="*/ 360048 w 605246"/>
              <a:gd name="connsiteY117" fmla="*/ 50778 h 110081"/>
              <a:gd name="connsiteX118" fmla="*/ 371439 w 605246"/>
              <a:gd name="connsiteY118" fmla="*/ 40759 h 110081"/>
              <a:gd name="connsiteX119" fmla="*/ 385445 w 605246"/>
              <a:gd name="connsiteY119" fmla="*/ 37523 h 110081"/>
              <a:gd name="connsiteX120" fmla="*/ 402813 w 605246"/>
              <a:gd name="connsiteY120" fmla="*/ 41693 h 110081"/>
              <a:gd name="connsiteX121" fmla="*/ 415076 w 605246"/>
              <a:gd name="connsiteY121" fmla="*/ 53952 h 110081"/>
              <a:gd name="connsiteX122" fmla="*/ 419682 w 605246"/>
              <a:gd name="connsiteY122" fmla="*/ 73491 h 110081"/>
              <a:gd name="connsiteX123" fmla="*/ 383703 w 605246"/>
              <a:gd name="connsiteY123" fmla="*/ 98134 h 110081"/>
              <a:gd name="connsiteX124" fmla="*/ 394410 w 605246"/>
              <a:gd name="connsiteY124" fmla="*/ 95458 h 110081"/>
              <a:gd name="connsiteX125" fmla="*/ 402378 w 605246"/>
              <a:gd name="connsiteY125" fmla="*/ 87244 h 110081"/>
              <a:gd name="connsiteX126" fmla="*/ 405491 w 605246"/>
              <a:gd name="connsiteY126" fmla="*/ 73803 h 110081"/>
              <a:gd name="connsiteX127" fmla="*/ 402503 w 605246"/>
              <a:gd name="connsiteY127" fmla="*/ 60174 h 110081"/>
              <a:gd name="connsiteX128" fmla="*/ 394907 w 605246"/>
              <a:gd name="connsiteY128" fmla="*/ 51961 h 110081"/>
              <a:gd name="connsiteX129" fmla="*/ 385197 w 605246"/>
              <a:gd name="connsiteY129" fmla="*/ 49160 h 110081"/>
              <a:gd name="connsiteX130" fmla="*/ 368576 w 605246"/>
              <a:gd name="connsiteY130" fmla="*/ 55570 h 110081"/>
              <a:gd name="connsiteX131" fmla="*/ 362041 w 605246"/>
              <a:gd name="connsiteY131" fmla="*/ 74114 h 110081"/>
              <a:gd name="connsiteX132" fmla="*/ 367830 w 605246"/>
              <a:gd name="connsiteY132" fmla="*/ 91538 h 110081"/>
              <a:gd name="connsiteX133" fmla="*/ 383703 w 605246"/>
              <a:gd name="connsiteY133" fmla="*/ 98134 h 110081"/>
              <a:gd name="connsiteX134" fmla="*/ 524198 w 605246"/>
              <a:gd name="connsiteY134" fmla="*/ 108588 h 110081"/>
              <a:gd name="connsiteX135" fmla="*/ 509259 w 605246"/>
              <a:gd name="connsiteY135" fmla="*/ 108588 h 110081"/>
              <a:gd name="connsiteX136" fmla="*/ 498241 w 605246"/>
              <a:gd name="connsiteY136" fmla="*/ 77972 h 110081"/>
              <a:gd name="connsiteX137" fmla="*/ 450869 w 605246"/>
              <a:gd name="connsiteY137" fmla="*/ 77972 h 110081"/>
              <a:gd name="connsiteX138" fmla="*/ 439975 w 605246"/>
              <a:gd name="connsiteY138" fmla="*/ 108588 h 110081"/>
              <a:gd name="connsiteX139" fmla="*/ 426841 w 605246"/>
              <a:gd name="connsiteY139" fmla="*/ 108588 h 110081"/>
              <a:gd name="connsiteX140" fmla="*/ 464937 w 605246"/>
              <a:gd name="connsiteY140" fmla="*/ 1493 h 110081"/>
              <a:gd name="connsiteX141" fmla="*/ 485853 w 605246"/>
              <a:gd name="connsiteY141" fmla="*/ 1493 h 110081"/>
              <a:gd name="connsiteX142" fmla="*/ 524198 w 605246"/>
              <a:gd name="connsiteY142" fmla="*/ 108588 h 110081"/>
              <a:gd name="connsiteX143" fmla="*/ 455475 w 605246"/>
              <a:gd name="connsiteY143" fmla="*/ 65278 h 110081"/>
              <a:gd name="connsiteX144" fmla="*/ 493759 w 605246"/>
              <a:gd name="connsiteY144" fmla="*/ 65278 h 110081"/>
              <a:gd name="connsiteX145" fmla="*/ 474648 w 605246"/>
              <a:gd name="connsiteY145" fmla="*/ 11947 h 110081"/>
              <a:gd name="connsiteX146" fmla="*/ 455475 w 605246"/>
              <a:gd name="connsiteY146" fmla="*/ 65278 h 110081"/>
              <a:gd name="connsiteX147" fmla="*/ 539823 w 605246"/>
              <a:gd name="connsiteY147" fmla="*/ 1493 h 110081"/>
              <a:gd name="connsiteX148" fmla="*/ 605246 w 605246"/>
              <a:gd name="connsiteY148" fmla="*/ 1493 h 110081"/>
              <a:gd name="connsiteX149" fmla="*/ 605246 w 605246"/>
              <a:gd name="connsiteY149" fmla="*/ 14374 h 110081"/>
              <a:gd name="connsiteX150" fmla="*/ 553891 w 605246"/>
              <a:gd name="connsiteY150" fmla="*/ 14374 h 110081"/>
              <a:gd name="connsiteX151" fmla="*/ 553891 w 605246"/>
              <a:gd name="connsiteY151" fmla="*/ 49907 h 110081"/>
              <a:gd name="connsiteX152" fmla="*/ 597465 w 605246"/>
              <a:gd name="connsiteY152" fmla="*/ 49907 h 110081"/>
              <a:gd name="connsiteX153" fmla="*/ 597465 w 605246"/>
              <a:gd name="connsiteY153" fmla="*/ 62601 h 110081"/>
              <a:gd name="connsiteX154" fmla="*/ 553891 w 605246"/>
              <a:gd name="connsiteY154" fmla="*/ 62601 h 110081"/>
              <a:gd name="connsiteX155" fmla="*/ 553891 w 605246"/>
              <a:gd name="connsiteY155" fmla="*/ 108588 h 110081"/>
              <a:gd name="connsiteX156" fmla="*/ 539823 w 605246"/>
              <a:gd name="connsiteY156" fmla="*/ 108588 h 110081"/>
              <a:gd name="connsiteX157" fmla="*/ 539823 w 605246"/>
              <a:gd name="connsiteY157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605246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23073" y="108588"/>
                </a:moveTo>
                <a:lnTo>
                  <a:pt x="309875" y="108588"/>
                </a:lnTo>
                <a:lnTo>
                  <a:pt x="309875" y="83199"/>
                </a:lnTo>
                <a:lnTo>
                  <a:pt x="263563" y="83199"/>
                </a:lnTo>
                <a:lnTo>
                  <a:pt x="263563" y="73927"/>
                </a:lnTo>
                <a:lnTo>
                  <a:pt x="305394" y="1493"/>
                </a:lnTo>
                <a:lnTo>
                  <a:pt x="323073" y="1493"/>
                </a:lnTo>
                <a:lnTo>
                  <a:pt x="323073" y="71873"/>
                </a:lnTo>
                <a:lnTo>
                  <a:pt x="337514" y="71873"/>
                </a:lnTo>
                <a:lnTo>
                  <a:pt x="337514" y="83199"/>
                </a:lnTo>
                <a:lnTo>
                  <a:pt x="323073" y="83199"/>
                </a:lnTo>
                <a:lnTo>
                  <a:pt x="323073" y="108588"/>
                </a:lnTo>
                <a:close/>
                <a:moveTo>
                  <a:pt x="277195" y="71873"/>
                </a:moveTo>
                <a:lnTo>
                  <a:pt x="309875" y="71873"/>
                </a:lnTo>
                <a:lnTo>
                  <a:pt x="309875" y="16117"/>
                </a:lnTo>
                <a:lnTo>
                  <a:pt x="277195" y="71873"/>
                </a:lnTo>
                <a:close/>
                <a:moveTo>
                  <a:pt x="419682" y="73491"/>
                </a:moveTo>
                <a:cubicBezTo>
                  <a:pt x="419682" y="80772"/>
                  <a:pt x="418065" y="87182"/>
                  <a:pt x="414890" y="92782"/>
                </a:cubicBezTo>
                <a:cubicBezTo>
                  <a:pt x="411840" y="98258"/>
                  <a:pt x="407606" y="102490"/>
                  <a:pt x="402191" y="105601"/>
                </a:cubicBezTo>
                <a:cubicBezTo>
                  <a:pt x="396837" y="108588"/>
                  <a:pt x="390799" y="110082"/>
                  <a:pt x="384138" y="110082"/>
                </a:cubicBezTo>
                <a:cubicBezTo>
                  <a:pt x="375175" y="110082"/>
                  <a:pt x="367954" y="108091"/>
                  <a:pt x="362476" y="104108"/>
                </a:cubicBezTo>
                <a:cubicBezTo>
                  <a:pt x="356998" y="100125"/>
                  <a:pt x="352951" y="94587"/>
                  <a:pt x="350337" y="87555"/>
                </a:cubicBezTo>
                <a:cubicBezTo>
                  <a:pt x="347848" y="80461"/>
                  <a:pt x="346602" y="72372"/>
                  <a:pt x="346602" y="63161"/>
                </a:cubicBezTo>
                <a:cubicBezTo>
                  <a:pt x="346602" y="50653"/>
                  <a:pt x="348096" y="39639"/>
                  <a:pt x="351085" y="30181"/>
                </a:cubicBezTo>
                <a:cubicBezTo>
                  <a:pt x="354197" y="20722"/>
                  <a:pt x="358866" y="13379"/>
                  <a:pt x="365153" y="8089"/>
                </a:cubicBezTo>
                <a:cubicBezTo>
                  <a:pt x="371501" y="2675"/>
                  <a:pt x="379719" y="0"/>
                  <a:pt x="389679" y="0"/>
                </a:cubicBezTo>
                <a:cubicBezTo>
                  <a:pt x="398206" y="0"/>
                  <a:pt x="405738" y="1866"/>
                  <a:pt x="412212" y="5538"/>
                </a:cubicBezTo>
                <a:lnTo>
                  <a:pt x="412212" y="18855"/>
                </a:lnTo>
                <a:cubicBezTo>
                  <a:pt x="405738" y="14437"/>
                  <a:pt x="398206" y="12259"/>
                  <a:pt x="389679" y="12259"/>
                </a:cubicBezTo>
                <a:cubicBezTo>
                  <a:pt x="383454" y="12259"/>
                  <a:pt x="378287" y="13939"/>
                  <a:pt x="374117" y="17361"/>
                </a:cubicBezTo>
                <a:cubicBezTo>
                  <a:pt x="369945" y="20722"/>
                  <a:pt x="366647" y="25327"/>
                  <a:pt x="364281" y="31238"/>
                </a:cubicBezTo>
                <a:cubicBezTo>
                  <a:pt x="361979" y="37026"/>
                  <a:pt x="360545" y="43498"/>
                  <a:pt x="360048" y="50778"/>
                </a:cubicBezTo>
                <a:cubicBezTo>
                  <a:pt x="363348" y="46298"/>
                  <a:pt x="367144" y="42999"/>
                  <a:pt x="371439" y="40759"/>
                </a:cubicBezTo>
                <a:cubicBezTo>
                  <a:pt x="375735" y="38581"/>
                  <a:pt x="380404" y="37523"/>
                  <a:pt x="385445" y="37523"/>
                </a:cubicBezTo>
                <a:cubicBezTo>
                  <a:pt x="391919" y="37523"/>
                  <a:pt x="397709" y="38893"/>
                  <a:pt x="402813" y="41693"/>
                </a:cubicBezTo>
                <a:cubicBezTo>
                  <a:pt x="407980" y="44493"/>
                  <a:pt x="412088" y="48538"/>
                  <a:pt x="415076" y="53952"/>
                </a:cubicBezTo>
                <a:cubicBezTo>
                  <a:pt x="418126" y="59179"/>
                  <a:pt x="419682" y="65713"/>
                  <a:pt x="419682" y="73491"/>
                </a:cubicBezTo>
                <a:close/>
                <a:moveTo>
                  <a:pt x="383703" y="98134"/>
                </a:moveTo>
                <a:cubicBezTo>
                  <a:pt x="387562" y="98134"/>
                  <a:pt x="391173" y="97263"/>
                  <a:pt x="394410" y="95458"/>
                </a:cubicBezTo>
                <a:cubicBezTo>
                  <a:pt x="397709" y="93529"/>
                  <a:pt x="400386" y="90791"/>
                  <a:pt x="402378" y="87244"/>
                </a:cubicBezTo>
                <a:cubicBezTo>
                  <a:pt x="404431" y="83635"/>
                  <a:pt x="405491" y="79154"/>
                  <a:pt x="405491" y="73803"/>
                </a:cubicBezTo>
                <a:cubicBezTo>
                  <a:pt x="405491" y="68389"/>
                  <a:pt x="404494" y="63908"/>
                  <a:pt x="402503" y="60174"/>
                </a:cubicBezTo>
                <a:cubicBezTo>
                  <a:pt x="400510" y="56503"/>
                  <a:pt x="397957" y="53765"/>
                  <a:pt x="394907" y="51961"/>
                </a:cubicBezTo>
                <a:cubicBezTo>
                  <a:pt x="391795" y="50093"/>
                  <a:pt x="388557" y="49160"/>
                  <a:pt x="385197" y="49160"/>
                </a:cubicBezTo>
                <a:cubicBezTo>
                  <a:pt x="378599" y="49160"/>
                  <a:pt x="373058" y="51276"/>
                  <a:pt x="368576" y="55570"/>
                </a:cubicBezTo>
                <a:cubicBezTo>
                  <a:pt x="364219" y="59739"/>
                  <a:pt x="362041" y="65900"/>
                  <a:pt x="362041" y="74114"/>
                </a:cubicBezTo>
                <a:cubicBezTo>
                  <a:pt x="362041" y="81270"/>
                  <a:pt x="363969" y="87058"/>
                  <a:pt x="367830" y="91538"/>
                </a:cubicBezTo>
                <a:cubicBezTo>
                  <a:pt x="371751" y="95956"/>
                  <a:pt x="376980" y="98134"/>
                  <a:pt x="383703" y="98134"/>
                </a:cubicBezTo>
                <a:close/>
                <a:moveTo>
                  <a:pt x="524198" y="108588"/>
                </a:moveTo>
                <a:lnTo>
                  <a:pt x="509259" y="108588"/>
                </a:lnTo>
                <a:lnTo>
                  <a:pt x="498241" y="77972"/>
                </a:lnTo>
                <a:lnTo>
                  <a:pt x="450869" y="77972"/>
                </a:lnTo>
                <a:lnTo>
                  <a:pt x="439975" y="108588"/>
                </a:lnTo>
                <a:lnTo>
                  <a:pt x="426841" y="108588"/>
                </a:lnTo>
                <a:lnTo>
                  <a:pt x="464937" y="1493"/>
                </a:lnTo>
                <a:lnTo>
                  <a:pt x="485853" y="1493"/>
                </a:lnTo>
                <a:lnTo>
                  <a:pt x="524198" y="108588"/>
                </a:lnTo>
                <a:close/>
                <a:moveTo>
                  <a:pt x="455475" y="65278"/>
                </a:moveTo>
                <a:lnTo>
                  <a:pt x="493759" y="65278"/>
                </a:lnTo>
                <a:lnTo>
                  <a:pt x="474648" y="11947"/>
                </a:lnTo>
                <a:lnTo>
                  <a:pt x="455475" y="65278"/>
                </a:lnTo>
                <a:close/>
                <a:moveTo>
                  <a:pt x="539823" y="1493"/>
                </a:moveTo>
                <a:lnTo>
                  <a:pt x="605246" y="1493"/>
                </a:lnTo>
                <a:lnTo>
                  <a:pt x="605246" y="14374"/>
                </a:lnTo>
                <a:lnTo>
                  <a:pt x="553891" y="14374"/>
                </a:lnTo>
                <a:lnTo>
                  <a:pt x="553891" y="49907"/>
                </a:lnTo>
                <a:lnTo>
                  <a:pt x="597465" y="49907"/>
                </a:lnTo>
                <a:lnTo>
                  <a:pt x="597465" y="62601"/>
                </a:lnTo>
                <a:lnTo>
                  <a:pt x="553891" y="62601"/>
                </a:lnTo>
                <a:lnTo>
                  <a:pt x="553891" y="108588"/>
                </a:lnTo>
                <a:lnTo>
                  <a:pt x="539823" y="108588"/>
                </a:lnTo>
                <a:lnTo>
                  <a:pt x="53982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2" name="Полилиния 951">
            <a:extLst>
              <a:ext uri="{FF2B5EF4-FFF2-40B4-BE49-F238E27FC236}">
                <a16:creationId xmlns:a16="http://schemas.microsoft.com/office/drawing/2014/main" id="{9645F3A0-6E46-0BC0-CB6C-35E27686C5F9}"/>
              </a:ext>
            </a:extLst>
          </p:cNvPr>
          <p:cNvSpPr/>
          <p:nvPr userDrawn="1"/>
        </p:nvSpPr>
        <p:spPr>
          <a:xfrm>
            <a:off x="9547358" y="5966300"/>
            <a:ext cx="2557159" cy="726227"/>
          </a:xfrm>
          <a:custGeom>
            <a:avLst/>
            <a:gdLst>
              <a:gd name="connsiteX0" fmla="*/ 2604 w 2191162"/>
              <a:gd name="connsiteY0" fmla="*/ 1322 h 622284"/>
              <a:gd name="connsiteX1" fmla="*/ 2193767 w 2191162"/>
              <a:gd name="connsiteY1" fmla="*/ 1322 h 622284"/>
              <a:gd name="connsiteX2" fmla="*/ 2193767 w 2191162"/>
              <a:gd name="connsiteY2" fmla="*/ 623606 h 622284"/>
              <a:gd name="connsiteX3" fmla="*/ 2604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322"/>
                </a:moveTo>
                <a:lnTo>
                  <a:pt x="2193767" y="1322"/>
                </a:lnTo>
                <a:lnTo>
                  <a:pt x="2193767" y="623606"/>
                </a:lnTo>
                <a:lnTo>
                  <a:pt x="2604" y="623606"/>
                </a:lnTo>
                <a:close/>
              </a:path>
            </a:pathLst>
          </a:custGeom>
          <a:solidFill>
            <a:srgbClr val="0064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3" name="Полилиния 952">
            <a:extLst>
              <a:ext uri="{FF2B5EF4-FFF2-40B4-BE49-F238E27FC236}">
                <a16:creationId xmlns:a16="http://schemas.microsoft.com/office/drawing/2014/main" id="{5A001ED3-780B-1B93-7935-A4630E3ED456}"/>
              </a:ext>
            </a:extLst>
          </p:cNvPr>
          <p:cNvSpPr/>
          <p:nvPr userDrawn="1"/>
        </p:nvSpPr>
        <p:spPr>
          <a:xfrm>
            <a:off x="9670565" y="6268047"/>
            <a:ext cx="705978" cy="128468"/>
          </a:xfrm>
          <a:custGeom>
            <a:avLst/>
            <a:gdLst>
              <a:gd name="connsiteX0" fmla="*/ 22099 w 604934"/>
              <a:gd name="connsiteY0" fmla="*/ 108588 h 110081"/>
              <a:gd name="connsiteX1" fmla="*/ 10147 w 604934"/>
              <a:gd name="connsiteY1" fmla="*/ 108588 h 110081"/>
              <a:gd name="connsiteX2" fmla="*/ 16435 w 604934"/>
              <a:gd name="connsiteY2" fmla="*/ 77661 h 110081"/>
              <a:gd name="connsiteX3" fmla="*/ 0 w 604934"/>
              <a:gd name="connsiteY3" fmla="*/ 77661 h 110081"/>
              <a:gd name="connsiteX4" fmla="*/ 0 w 604934"/>
              <a:gd name="connsiteY4" fmla="*/ 67206 h 110081"/>
              <a:gd name="connsiteX5" fmla="*/ 18675 w 604934"/>
              <a:gd name="connsiteY5" fmla="*/ 67206 h 110081"/>
              <a:gd name="connsiteX6" fmla="*/ 24216 w 604934"/>
              <a:gd name="connsiteY6" fmla="*/ 40012 h 110081"/>
              <a:gd name="connsiteX7" fmla="*/ 4047 w 604934"/>
              <a:gd name="connsiteY7" fmla="*/ 40012 h 110081"/>
              <a:gd name="connsiteX8" fmla="*/ 4047 w 604934"/>
              <a:gd name="connsiteY8" fmla="*/ 29559 h 110081"/>
              <a:gd name="connsiteX9" fmla="*/ 26269 w 604934"/>
              <a:gd name="connsiteY9" fmla="*/ 29559 h 110081"/>
              <a:gd name="connsiteX10" fmla="*/ 32121 w 604934"/>
              <a:gd name="connsiteY10" fmla="*/ 1493 h 110081"/>
              <a:gd name="connsiteX11" fmla="*/ 44073 w 604934"/>
              <a:gd name="connsiteY11" fmla="*/ 1493 h 110081"/>
              <a:gd name="connsiteX12" fmla="*/ 38222 w 604934"/>
              <a:gd name="connsiteY12" fmla="*/ 29559 h 110081"/>
              <a:gd name="connsiteX13" fmla="*/ 60630 w 604934"/>
              <a:gd name="connsiteY13" fmla="*/ 29559 h 110081"/>
              <a:gd name="connsiteX14" fmla="*/ 66481 w 604934"/>
              <a:gd name="connsiteY14" fmla="*/ 1493 h 110081"/>
              <a:gd name="connsiteX15" fmla="*/ 78434 w 604934"/>
              <a:gd name="connsiteY15" fmla="*/ 1493 h 110081"/>
              <a:gd name="connsiteX16" fmla="*/ 72583 w 604934"/>
              <a:gd name="connsiteY16" fmla="*/ 29559 h 110081"/>
              <a:gd name="connsiteX17" fmla="*/ 89328 w 604934"/>
              <a:gd name="connsiteY17" fmla="*/ 29559 h 110081"/>
              <a:gd name="connsiteX18" fmla="*/ 89328 w 604934"/>
              <a:gd name="connsiteY18" fmla="*/ 40012 h 110081"/>
              <a:gd name="connsiteX19" fmla="*/ 70529 w 604934"/>
              <a:gd name="connsiteY19" fmla="*/ 40012 h 110081"/>
              <a:gd name="connsiteX20" fmla="*/ 64988 w 604934"/>
              <a:gd name="connsiteY20" fmla="*/ 67206 h 110081"/>
              <a:gd name="connsiteX21" fmla="*/ 85281 w 604934"/>
              <a:gd name="connsiteY21" fmla="*/ 67206 h 110081"/>
              <a:gd name="connsiteX22" fmla="*/ 85281 w 604934"/>
              <a:gd name="connsiteY22" fmla="*/ 77661 h 110081"/>
              <a:gd name="connsiteX23" fmla="*/ 62747 w 604934"/>
              <a:gd name="connsiteY23" fmla="*/ 77661 h 110081"/>
              <a:gd name="connsiteX24" fmla="*/ 56460 w 604934"/>
              <a:gd name="connsiteY24" fmla="*/ 108588 h 110081"/>
              <a:gd name="connsiteX25" fmla="*/ 44509 w 604934"/>
              <a:gd name="connsiteY25" fmla="*/ 108588 h 110081"/>
              <a:gd name="connsiteX26" fmla="*/ 50796 w 604934"/>
              <a:gd name="connsiteY26" fmla="*/ 77661 h 110081"/>
              <a:gd name="connsiteX27" fmla="*/ 28386 w 604934"/>
              <a:gd name="connsiteY27" fmla="*/ 77661 h 110081"/>
              <a:gd name="connsiteX28" fmla="*/ 22099 w 604934"/>
              <a:gd name="connsiteY28" fmla="*/ 108588 h 110081"/>
              <a:gd name="connsiteX29" fmla="*/ 30626 w 604934"/>
              <a:gd name="connsiteY29" fmla="*/ 67206 h 110081"/>
              <a:gd name="connsiteX30" fmla="*/ 53036 w 604934"/>
              <a:gd name="connsiteY30" fmla="*/ 67206 h 110081"/>
              <a:gd name="connsiteX31" fmla="*/ 58577 w 604934"/>
              <a:gd name="connsiteY31" fmla="*/ 40012 h 110081"/>
              <a:gd name="connsiteX32" fmla="*/ 36167 w 604934"/>
              <a:gd name="connsiteY32" fmla="*/ 40012 h 110081"/>
              <a:gd name="connsiteX33" fmla="*/ 30626 w 604934"/>
              <a:gd name="connsiteY33" fmla="*/ 67206 h 110081"/>
              <a:gd name="connsiteX34" fmla="*/ 136636 w 604934"/>
              <a:gd name="connsiteY34" fmla="*/ 110082 h 110081"/>
              <a:gd name="connsiteX35" fmla="*/ 118460 w 604934"/>
              <a:gd name="connsiteY35" fmla="*/ 104233 h 110081"/>
              <a:gd name="connsiteX36" fmla="*/ 105761 w 604934"/>
              <a:gd name="connsiteY36" fmla="*/ 86311 h 110081"/>
              <a:gd name="connsiteX37" fmla="*/ 101279 w 604934"/>
              <a:gd name="connsiteY37" fmla="*/ 54947 h 110081"/>
              <a:gd name="connsiteX38" fmla="*/ 105761 w 604934"/>
              <a:gd name="connsiteY38" fmla="*/ 23584 h 110081"/>
              <a:gd name="connsiteX39" fmla="*/ 118460 w 604934"/>
              <a:gd name="connsiteY39" fmla="*/ 5849 h 110081"/>
              <a:gd name="connsiteX40" fmla="*/ 136636 w 604934"/>
              <a:gd name="connsiteY40" fmla="*/ 186 h 110081"/>
              <a:gd name="connsiteX41" fmla="*/ 154752 w 604934"/>
              <a:gd name="connsiteY41" fmla="*/ 5849 h 110081"/>
              <a:gd name="connsiteX42" fmla="*/ 167139 w 604934"/>
              <a:gd name="connsiteY42" fmla="*/ 23584 h 110081"/>
              <a:gd name="connsiteX43" fmla="*/ 171621 w 604934"/>
              <a:gd name="connsiteY43" fmla="*/ 54698 h 110081"/>
              <a:gd name="connsiteX44" fmla="*/ 167139 w 604934"/>
              <a:gd name="connsiteY44" fmla="*/ 86062 h 110081"/>
              <a:gd name="connsiteX45" fmla="*/ 154752 w 604934"/>
              <a:gd name="connsiteY45" fmla="*/ 104233 h 110081"/>
              <a:gd name="connsiteX46" fmla="*/ 136636 w 604934"/>
              <a:gd name="connsiteY46" fmla="*/ 110082 h 110081"/>
              <a:gd name="connsiteX47" fmla="*/ 136512 w 604934"/>
              <a:gd name="connsiteY47" fmla="*/ 98258 h 110081"/>
              <a:gd name="connsiteX48" fmla="*/ 147841 w 604934"/>
              <a:gd name="connsiteY48" fmla="*/ 94275 h 110081"/>
              <a:gd name="connsiteX49" fmla="*/ 155063 w 604934"/>
              <a:gd name="connsiteY49" fmla="*/ 80648 h 110081"/>
              <a:gd name="connsiteX50" fmla="*/ 157552 w 604934"/>
              <a:gd name="connsiteY50" fmla="*/ 55134 h 110081"/>
              <a:gd name="connsiteX51" fmla="*/ 155186 w 604934"/>
              <a:gd name="connsiteY51" fmla="*/ 29745 h 110081"/>
              <a:gd name="connsiteX52" fmla="*/ 148028 w 604934"/>
              <a:gd name="connsiteY52" fmla="*/ 16117 h 110081"/>
              <a:gd name="connsiteX53" fmla="*/ 136636 w 604934"/>
              <a:gd name="connsiteY53" fmla="*/ 11947 h 110081"/>
              <a:gd name="connsiteX54" fmla="*/ 125183 w 604934"/>
              <a:gd name="connsiteY54" fmla="*/ 16117 h 110081"/>
              <a:gd name="connsiteX55" fmla="*/ 117837 w 604934"/>
              <a:gd name="connsiteY55" fmla="*/ 29745 h 110081"/>
              <a:gd name="connsiteX56" fmla="*/ 115285 w 604934"/>
              <a:gd name="connsiteY56" fmla="*/ 55134 h 110081"/>
              <a:gd name="connsiteX57" fmla="*/ 117714 w 604934"/>
              <a:gd name="connsiteY57" fmla="*/ 80648 h 110081"/>
              <a:gd name="connsiteX58" fmla="*/ 124996 w 604934"/>
              <a:gd name="connsiteY58" fmla="*/ 94275 h 110081"/>
              <a:gd name="connsiteX59" fmla="*/ 136512 w 604934"/>
              <a:gd name="connsiteY59" fmla="*/ 98258 h 110081"/>
              <a:gd name="connsiteX60" fmla="*/ 218806 w 604934"/>
              <a:gd name="connsiteY60" fmla="*/ 110082 h 110081"/>
              <a:gd name="connsiteX61" fmla="*/ 200566 w 604934"/>
              <a:gd name="connsiteY61" fmla="*/ 104233 h 110081"/>
              <a:gd name="connsiteX62" fmla="*/ 187867 w 604934"/>
              <a:gd name="connsiteY62" fmla="*/ 86311 h 110081"/>
              <a:gd name="connsiteX63" fmla="*/ 183385 w 604934"/>
              <a:gd name="connsiteY63" fmla="*/ 54947 h 110081"/>
              <a:gd name="connsiteX64" fmla="*/ 187867 w 604934"/>
              <a:gd name="connsiteY64" fmla="*/ 23584 h 110081"/>
              <a:gd name="connsiteX65" fmla="*/ 200566 w 604934"/>
              <a:gd name="connsiteY65" fmla="*/ 5849 h 110081"/>
              <a:gd name="connsiteX66" fmla="*/ 218806 w 604934"/>
              <a:gd name="connsiteY66" fmla="*/ 186 h 110081"/>
              <a:gd name="connsiteX67" fmla="*/ 236858 w 604934"/>
              <a:gd name="connsiteY67" fmla="*/ 5849 h 110081"/>
              <a:gd name="connsiteX68" fmla="*/ 249245 w 604934"/>
              <a:gd name="connsiteY68" fmla="*/ 23584 h 110081"/>
              <a:gd name="connsiteX69" fmla="*/ 253727 w 604934"/>
              <a:gd name="connsiteY69" fmla="*/ 54698 h 110081"/>
              <a:gd name="connsiteX70" fmla="*/ 249245 w 604934"/>
              <a:gd name="connsiteY70" fmla="*/ 86062 h 110081"/>
              <a:gd name="connsiteX71" fmla="*/ 236858 w 604934"/>
              <a:gd name="connsiteY71" fmla="*/ 104233 h 110081"/>
              <a:gd name="connsiteX72" fmla="*/ 218806 w 604934"/>
              <a:gd name="connsiteY72" fmla="*/ 110082 h 110081"/>
              <a:gd name="connsiteX73" fmla="*/ 218619 w 604934"/>
              <a:gd name="connsiteY73" fmla="*/ 98258 h 110081"/>
              <a:gd name="connsiteX74" fmla="*/ 230010 w 604934"/>
              <a:gd name="connsiteY74" fmla="*/ 94275 h 110081"/>
              <a:gd name="connsiteX75" fmla="*/ 237169 w 604934"/>
              <a:gd name="connsiteY75" fmla="*/ 80648 h 110081"/>
              <a:gd name="connsiteX76" fmla="*/ 239721 w 604934"/>
              <a:gd name="connsiteY76" fmla="*/ 55134 h 110081"/>
              <a:gd name="connsiteX77" fmla="*/ 237294 w 604934"/>
              <a:gd name="connsiteY77" fmla="*/ 29745 h 110081"/>
              <a:gd name="connsiteX78" fmla="*/ 230134 w 604934"/>
              <a:gd name="connsiteY78" fmla="*/ 16117 h 110081"/>
              <a:gd name="connsiteX79" fmla="*/ 218806 w 604934"/>
              <a:gd name="connsiteY79" fmla="*/ 11947 h 110081"/>
              <a:gd name="connsiteX80" fmla="*/ 207289 w 604934"/>
              <a:gd name="connsiteY80" fmla="*/ 16117 h 110081"/>
              <a:gd name="connsiteX81" fmla="*/ 199944 w 604934"/>
              <a:gd name="connsiteY81" fmla="*/ 29745 h 110081"/>
              <a:gd name="connsiteX82" fmla="*/ 197453 w 604934"/>
              <a:gd name="connsiteY82" fmla="*/ 55134 h 110081"/>
              <a:gd name="connsiteX83" fmla="*/ 199820 w 604934"/>
              <a:gd name="connsiteY83" fmla="*/ 80648 h 110081"/>
              <a:gd name="connsiteX84" fmla="*/ 207165 w 604934"/>
              <a:gd name="connsiteY84" fmla="*/ 94275 h 110081"/>
              <a:gd name="connsiteX85" fmla="*/ 218619 w 604934"/>
              <a:gd name="connsiteY85" fmla="*/ 98258 h 110081"/>
              <a:gd name="connsiteX86" fmla="*/ 337514 w 604934"/>
              <a:gd name="connsiteY86" fmla="*/ 73491 h 110081"/>
              <a:gd name="connsiteX87" fmla="*/ 332783 w 604934"/>
              <a:gd name="connsiteY87" fmla="*/ 92782 h 110081"/>
              <a:gd name="connsiteX88" fmla="*/ 320084 w 604934"/>
              <a:gd name="connsiteY88" fmla="*/ 105601 h 110081"/>
              <a:gd name="connsiteX89" fmla="*/ 301970 w 604934"/>
              <a:gd name="connsiteY89" fmla="*/ 110082 h 110081"/>
              <a:gd name="connsiteX90" fmla="*/ 280307 w 604934"/>
              <a:gd name="connsiteY90" fmla="*/ 104108 h 110081"/>
              <a:gd name="connsiteX91" fmla="*/ 268231 w 604934"/>
              <a:gd name="connsiteY91" fmla="*/ 87555 h 110081"/>
              <a:gd name="connsiteX92" fmla="*/ 264496 w 604934"/>
              <a:gd name="connsiteY92" fmla="*/ 63161 h 110081"/>
              <a:gd name="connsiteX93" fmla="*/ 268977 w 604934"/>
              <a:gd name="connsiteY93" fmla="*/ 30181 h 110081"/>
              <a:gd name="connsiteX94" fmla="*/ 282983 w 604934"/>
              <a:gd name="connsiteY94" fmla="*/ 8089 h 110081"/>
              <a:gd name="connsiteX95" fmla="*/ 307511 w 604934"/>
              <a:gd name="connsiteY95" fmla="*/ 0 h 110081"/>
              <a:gd name="connsiteX96" fmla="*/ 330044 w 604934"/>
              <a:gd name="connsiteY96" fmla="*/ 5538 h 110081"/>
              <a:gd name="connsiteX97" fmla="*/ 330044 w 604934"/>
              <a:gd name="connsiteY97" fmla="*/ 18855 h 110081"/>
              <a:gd name="connsiteX98" fmla="*/ 307511 w 604934"/>
              <a:gd name="connsiteY98" fmla="*/ 12259 h 110081"/>
              <a:gd name="connsiteX99" fmla="*/ 291948 w 604934"/>
              <a:gd name="connsiteY99" fmla="*/ 17361 h 110081"/>
              <a:gd name="connsiteX100" fmla="*/ 282113 w 604934"/>
              <a:gd name="connsiteY100" fmla="*/ 31238 h 110081"/>
              <a:gd name="connsiteX101" fmla="*/ 277942 w 604934"/>
              <a:gd name="connsiteY101" fmla="*/ 50778 h 110081"/>
              <a:gd name="connsiteX102" fmla="*/ 289271 w 604934"/>
              <a:gd name="connsiteY102" fmla="*/ 40759 h 110081"/>
              <a:gd name="connsiteX103" fmla="*/ 303339 w 604934"/>
              <a:gd name="connsiteY103" fmla="*/ 37523 h 110081"/>
              <a:gd name="connsiteX104" fmla="*/ 320644 w 604934"/>
              <a:gd name="connsiteY104" fmla="*/ 41693 h 110081"/>
              <a:gd name="connsiteX105" fmla="*/ 332907 w 604934"/>
              <a:gd name="connsiteY105" fmla="*/ 53952 h 110081"/>
              <a:gd name="connsiteX106" fmla="*/ 337514 w 604934"/>
              <a:gd name="connsiteY106" fmla="*/ 73491 h 110081"/>
              <a:gd name="connsiteX107" fmla="*/ 301534 w 604934"/>
              <a:gd name="connsiteY107" fmla="*/ 98134 h 110081"/>
              <a:gd name="connsiteX108" fmla="*/ 312303 w 604934"/>
              <a:gd name="connsiteY108" fmla="*/ 95458 h 110081"/>
              <a:gd name="connsiteX109" fmla="*/ 320208 w 604934"/>
              <a:gd name="connsiteY109" fmla="*/ 87244 h 110081"/>
              <a:gd name="connsiteX110" fmla="*/ 323321 w 604934"/>
              <a:gd name="connsiteY110" fmla="*/ 73803 h 110081"/>
              <a:gd name="connsiteX111" fmla="*/ 320333 w 604934"/>
              <a:gd name="connsiteY111" fmla="*/ 60174 h 110081"/>
              <a:gd name="connsiteX112" fmla="*/ 312739 w 604934"/>
              <a:gd name="connsiteY112" fmla="*/ 51961 h 110081"/>
              <a:gd name="connsiteX113" fmla="*/ 303027 w 604934"/>
              <a:gd name="connsiteY113" fmla="*/ 49160 h 110081"/>
              <a:gd name="connsiteX114" fmla="*/ 286470 w 604934"/>
              <a:gd name="connsiteY114" fmla="*/ 55570 h 110081"/>
              <a:gd name="connsiteX115" fmla="*/ 279871 w 604934"/>
              <a:gd name="connsiteY115" fmla="*/ 74114 h 110081"/>
              <a:gd name="connsiteX116" fmla="*/ 285724 w 604934"/>
              <a:gd name="connsiteY116" fmla="*/ 91538 h 110081"/>
              <a:gd name="connsiteX117" fmla="*/ 301534 w 604934"/>
              <a:gd name="connsiteY117" fmla="*/ 98134 h 110081"/>
              <a:gd name="connsiteX118" fmla="*/ 405179 w 604934"/>
              <a:gd name="connsiteY118" fmla="*/ 108588 h 110081"/>
              <a:gd name="connsiteX119" fmla="*/ 392044 w 604934"/>
              <a:gd name="connsiteY119" fmla="*/ 108588 h 110081"/>
              <a:gd name="connsiteX120" fmla="*/ 392044 w 604934"/>
              <a:gd name="connsiteY120" fmla="*/ 83199 h 110081"/>
              <a:gd name="connsiteX121" fmla="*/ 345731 w 604934"/>
              <a:gd name="connsiteY121" fmla="*/ 83199 h 110081"/>
              <a:gd name="connsiteX122" fmla="*/ 345731 w 604934"/>
              <a:gd name="connsiteY122" fmla="*/ 73927 h 110081"/>
              <a:gd name="connsiteX123" fmla="*/ 387562 w 604934"/>
              <a:gd name="connsiteY123" fmla="*/ 1493 h 110081"/>
              <a:gd name="connsiteX124" fmla="*/ 405179 w 604934"/>
              <a:gd name="connsiteY124" fmla="*/ 1493 h 110081"/>
              <a:gd name="connsiteX125" fmla="*/ 405179 w 604934"/>
              <a:gd name="connsiteY125" fmla="*/ 71873 h 110081"/>
              <a:gd name="connsiteX126" fmla="*/ 419682 w 604934"/>
              <a:gd name="connsiteY126" fmla="*/ 71873 h 110081"/>
              <a:gd name="connsiteX127" fmla="*/ 419682 w 604934"/>
              <a:gd name="connsiteY127" fmla="*/ 83199 h 110081"/>
              <a:gd name="connsiteX128" fmla="*/ 405179 w 604934"/>
              <a:gd name="connsiteY128" fmla="*/ 83199 h 110081"/>
              <a:gd name="connsiteX129" fmla="*/ 405179 w 604934"/>
              <a:gd name="connsiteY129" fmla="*/ 108588 h 110081"/>
              <a:gd name="connsiteX130" fmla="*/ 359301 w 604934"/>
              <a:gd name="connsiteY130" fmla="*/ 71873 h 110081"/>
              <a:gd name="connsiteX131" fmla="*/ 392044 w 604934"/>
              <a:gd name="connsiteY131" fmla="*/ 71873 h 110081"/>
              <a:gd name="connsiteX132" fmla="*/ 392044 w 604934"/>
              <a:gd name="connsiteY132" fmla="*/ 16117 h 110081"/>
              <a:gd name="connsiteX133" fmla="*/ 359301 w 604934"/>
              <a:gd name="connsiteY133" fmla="*/ 71873 h 110081"/>
              <a:gd name="connsiteX134" fmla="*/ 436366 w 604934"/>
              <a:gd name="connsiteY134" fmla="*/ 1493 h 110081"/>
              <a:gd name="connsiteX135" fmla="*/ 472408 w 604934"/>
              <a:gd name="connsiteY135" fmla="*/ 1493 h 110081"/>
              <a:gd name="connsiteX136" fmla="*/ 492390 w 604934"/>
              <a:gd name="connsiteY136" fmla="*/ 4044 h 110081"/>
              <a:gd name="connsiteX137" fmla="*/ 508511 w 604934"/>
              <a:gd name="connsiteY137" fmla="*/ 12383 h 110081"/>
              <a:gd name="connsiteX138" fmla="*/ 519280 w 604934"/>
              <a:gd name="connsiteY138" fmla="*/ 27629 h 110081"/>
              <a:gd name="connsiteX139" fmla="*/ 523203 w 604934"/>
              <a:gd name="connsiteY139" fmla="*/ 51401 h 110081"/>
              <a:gd name="connsiteX140" fmla="*/ 516292 w 604934"/>
              <a:gd name="connsiteY140" fmla="*/ 83075 h 110081"/>
              <a:gd name="connsiteX141" fmla="*/ 497805 w 604934"/>
              <a:gd name="connsiteY141" fmla="*/ 102179 h 110081"/>
              <a:gd name="connsiteX142" fmla="*/ 470727 w 604934"/>
              <a:gd name="connsiteY142" fmla="*/ 108588 h 110081"/>
              <a:gd name="connsiteX143" fmla="*/ 436366 w 604934"/>
              <a:gd name="connsiteY143" fmla="*/ 108588 h 110081"/>
              <a:gd name="connsiteX144" fmla="*/ 436366 w 604934"/>
              <a:gd name="connsiteY144" fmla="*/ 1493 h 110081"/>
              <a:gd name="connsiteX145" fmla="*/ 470727 w 604934"/>
              <a:gd name="connsiteY145" fmla="*/ 95893 h 110081"/>
              <a:gd name="connsiteX146" fmla="*/ 490148 w 604934"/>
              <a:gd name="connsiteY146" fmla="*/ 91413 h 110081"/>
              <a:gd name="connsiteX147" fmla="*/ 503159 w 604934"/>
              <a:gd name="connsiteY147" fmla="*/ 77225 h 110081"/>
              <a:gd name="connsiteX148" fmla="*/ 507952 w 604934"/>
              <a:gd name="connsiteY148" fmla="*/ 52458 h 110081"/>
              <a:gd name="connsiteX149" fmla="*/ 503283 w 604934"/>
              <a:gd name="connsiteY149" fmla="*/ 29122 h 110081"/>
              <a:gd name="connsiteX150" fmla="*/ 490584 w 604934"/>
              <a:gd name="connsiteY150" fmla="*/ 17610 h 110081"/>
              <a:gd name="connsiteX151" fmla="*/ 472408 w 604934"/>
              <a:gd name="connsiteY151" fmla="*/ 14374 h 110081"/>
              <a:gd name="connsiteX152" fmla="*/ 450434 w 604934"/>
              <a:gd name="connsiteY152" fmla="*/ 14374 h 110081"/>
              <a:gd name="connsiteX153" fmla="*/ 450434 w 604934"/>
              <a:gd name="connsiteY153" fmla="*/ 95893 h 110081"/>
              <a:gd name="connsiteX154" fmla="*/ 470727 w 604934"/>
              <a:gd name="connsiteY154" fmla="*/ 95893 h 110081"/>
              <a:gd name="connsiteX155" fmla="*/ 604935 w 604934"/>
              <a:gd name="connsiteY155" fmla="*/ 108588 h 110081"/>
              <a:gd name="connsiteX156" fmla="*/ 536648 w 604934"/>
              <a:gd name="connsiteY156" fmla="*/ 108588 h 110081"/>
              <a:gd name="connsiteX157" fmla="*/ 536648 w 604934"/>
              <a:gd name="connsiteY157" fmla="*/ 94400 h 110081"/>
              <a:gd name="connsiteX158" fmla="*/ 562794 w 604934"/>
              <a:gd name="connsiteY158" fmla="*/ 72433 h 110081"/>
              <a:gd name="connsiteX159" fmla="*/ 578791 w 604934"/>
              <a:gd name="connsiteY159" fmla="*/ 56628 h 110081"/>
              <a:gd name="connsiteX160" fmla="*/ 586821 w 604934"/>
              <a:gd name="connsiteY160" fmla="*/ 43933 h 110081"/>
              <a:gd name="connsiteX161" fmla="*/ 589250 w 604934"/>
              <a:gd name="connsiteY161" fmla="*/ 32109 h 110081"/>
              <a:gd name="connsiteX162" fmla="*/ 583709 w 604934"/>
              <a:gd name="connsiteY162" fmla="*/ 17610 h 110081"/>
              <a:gd name="connsiteX163" fmla="*/ 568458 w 604934"/>
              <a:gd name="connsiteY163" fmla="*/ 12383 h 110081"/>
              <a:gd name="connsiteX164" fmla="*/ 539450 w 604934"/>
              <a:gd name="connsiteY164" fmla="*/ 27194 h 110081"/>
              <a:gd name="connsiteX165" fmla="*/ 539450 w 604934"/>
              <a:gd name="connsiteY165" fmla="*/ 12134 h 110081"/>
              <a:gd name="connsiteX166" fmla="*/ 568894 w 604934"/>
              <a:gd name="connsiteY166" fmla="*/ 0 h 110081"/>
              <a:gd name="connsiteX167" fmla="*/ 594291 w 604934"/>
              <a:gd name="connsiteY167" fmla="*/ 8401 h 110081"/>
              <a:gd name="connsiteX168" fmla="*/ 603690 w 604934"/>
              <a:gd name="connsiteY168" fmla="*/ 30803 h 110081"/>
              <a:gd name="connsiteX169" fmla="*/ 601325 w 604934"/>
              <a:gd name="connsiteY169" fmla="*/ 44804 h 110081"/>
              <a:gd name="connsiteX170" fmla="*/ 593233 w 604934"/>
              <a:gd name="connsiteY170" fmla="*/ 58681 h 110081"/>
              <a:gd name="connsiteX171" fmla="*/ 577546 w 604934"/>
              <a:gd name="connsiteY171" fmla="*/ 74860 h 110081"/>
              <a:gd name="connsiteX172" fmla="*/ 552148 w 604934"/>
              <a:gd name="connsiteY172" fmla="*/ 95769 h 110081"/>
              <a:gd name="connsiteX173" fmla="*/ 604935 w 604934"/>
              <a:gd name="connsiteY173" fmla="*/ 95769 h 110081"/>
              <a:gd name="connsiteX174" fmla="*/ 604935 w 604934"/>
              <a:gd name="connsiteY17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04934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37514" y="73491"/>
                </a:moveTo>
                <a:cubicBezTo>
                  <a:pt x="337514" y="80772"/>
                  <a:pt x="335957" y="87182"/>
                  <a:pt x="332783" y="92782"/>
                </a:cubicBezTo>
                <a:cubicBezTo>
                  <a:pt x="329670" y="98258"/>
                  <a:pt x="325438" y="102490"/>
                  <a:pt x="320084" y="105601"/>
                </a:cubicBezTo>
                <a:cubicBezTo>
                  <a:pt x="314669" y="108588"/>
                  <a:pt x="308631" y="110082"/>
                  <a:pt x="301970" y="110082"/>
                </a:cubicBezTo>
                <a:cubicBezTo>
                  <a:pt x="293006" y="110082"/>
                  <a:pt x="285786" y="108091"/>
                  <a:pt x="280307" y="104108"/>
                </a:cubicBezTo>
                <a:cubicBezTo>
                  <a:pt x="274830" y="100125"/>
                  <a:pt x="270783" y="94587"/>
                  <a:pt x="268231" y="87555"/>
                </a:cubicBezTo>
                <a:cubicBezTo>
                  <a:pt x="265740" y="80461"/>
                  <a:pt x="264496" y="72372"/>
                  <a:pt x="264496" y="63161"/>
                </a:cubicBezTo>
                <a:cubicBezTo>
                  <a:pt x="264496" y="50653"/>
                  <a:pt x="265990" y="39639"/>
                  <a:pt x="268977" y="30181"/>
                </a:cubicBezTo>
                <a:cubicBezTo>
                  <a:pt x="272028" y="20722"/>
                  <a:pt x="276759" y="13379"/>
                  <a:pt x="282983" y="8089"/>
                </a:cubicBezTo>
                <a:cubicBezTo>
                  <a:pt x="289395" y="2675"/>
                  <a:pt x="297550" y="0"/>
                  <a:pt x="307511" y="0"/>
                </a:cubicBezTo>
                <a:cubicBezTo>
                  <a:pt x="316100" y="0"/>
                  <a:pt x="323570" y="1866"/>
                  <a:pt x="330044" y="5538"/>
                </a:cubicBezTo>
                <a:lnTo>
                  <a:pt x="330044" y="18855"/>
                </a:lnTo>
                <a:cubicBezTo>
                  <a:pt x="323570" y="14437"/>
                  <a:pt x="316100" y="12259"/>
                  <a:pt x="307511" y="12259"/>
                </a:cubicBezTo>
                <a:cubicBezTo>
                  <a:pt x="301348" y="12259"/>
                  <a:pt x="296181" y="13939"/>
                  <a:pt x="291948" y="17361"/>
                </a:cubicBezTo>
                <a:cubicBezTo>
                  <a:pt x="287777" y="20722"/>
                  <a:pt x="284477" y="25327"/>
                  <a:pt x="282113" y="31238"/>
                </a:cubicBezTo>
                <a:cubicBezTo>
                  <a:pt x="279809" y="37026"/>
                  <a:pt x="278439" y="43498"/>
                  <a:pt x="277942" y="50778"/>
                </a:cubicBezTo>
                <a:cubicBezTo>
                  <a:pt x="281240" y="46298"/>
                  <a:pt x="284976" y="42999"/>
                  <a:pt x="289271" y="40759"/>
                </a:cubicBezTo>
                <a:cubicBezTo>
                  <a:pt x="293567" y="38581"/>
                  <a:pt x="298236" y="37523"/>
                  <a:pt x="303339" y="37523"/>
                </a:cubicBezTo>
                <a:cubicBezTo>
                  <a:pt x="309813" y="37523"/>
                  <a:pt x="315602" y="38893"/>
                  <a:pt x="320644" y="41693"/>
                </a:cubicBezTo>
                <a:cubicBezTo>
                  <a:pt x="325812" y="44493"/>
                  <a:pt x="329919" y="48538"/>
                  <a:pt x="332907" y="53952"/>
                </a:cubicBezTo>
                <a:cubicBezTo>
                  <a:pt x="336020" y="59179"/>
                  <a:pt x="337514" y="65713"/>
                  <a:pt x="337514" y="73491"/>
                </a:cubicBezTo>
                <a:close/>
                <a:moveTo>
                  <a:pt x="301534" y="98134"/>
                </a:moveTo>
                <a:cubicBezTo>
                  <a:pt x="305394" y="98134"/>
                  <a:pt x="309005" y="97263"/>
                  <a:pt x="312303" y="95458"/>
                </a:cubicBezTo>
                <a:cubicBezTo>
                  <a:pt x="315602" y="93529"/>
                  <a:pt x="318217" y="90791"/>
                  <a:pt x="320208" y="87244"/>
                </a:cubicBezTo>
                <a:cubicBezTo>
                  <a:pt x="322325" y="83635"/>
                  <a:pt x="323321" y="79154"/>
                  <a:pt x="323321" y="73803"/>
                </a:cubicBezTo>
                <a:cubicBezTo>
                  <a:pt x="323321" y="68389"/>
                  <a:pt x="322325" y="63908"/>
                  <a:pt x="320333" y="60174"/>
                </a:cubicBezTo>
                <a:cubicBezTo>
                  <a:pt x="318342" y="56503"/>
                  <a:pt x="315851" y="53765"/>
                  <a:pt x="312739" y="51961"/>
                </a:cubicBezTo>
                <a:cubicBezTo>
                  <a:pt x="309626" y="50093"/>
                  <a:pt x="306389" y="49160"/>
                  <a:pt x="303027" y="49160"/>
                </a:cubicBezTo>
                <a:cubicBezTo>
                  <a:pt x="296430" y="49160"/>
                  <a:pt x="290952" y="51276"/>
                  <a:pt x="286470" y="55570"/>
                </a:cubicBezTo>
                <a:cubicBezTo>
                  <a:pt x="282050" y="59739"/>
                  <a:pt x="279871" y="65900"/>
                  <a:pt x="279871" y="74114"/>
                </a:cubicBezTo>
                <a:cubicBezTo>
                  <a:pt x="279871" y="81270"/>
                  <a:pt x="281801" y="87058"/>
                  <a:pt x="285724" y="91538"/>
                </a:cubicBezTo>
                <a:cubicBezTo>
                  <a:pt x="289582" y="95956"/>
                  <a:pt x="294874" y="98134"/>
                  <a:pt x="301534" y="98134"/>
                </a:cubicBezTo>
                <a:close/>
                <a:moveTo>
                  <a:pt x="405179" y="108588"/>
                </a:moveTo>
                <a:lnTo>
                  <a:pt x="392044" y="108588"/>
                </a:lnTo>
                <a:lnTo>
                  <a:pt x="392044" y="83199"/>
                </a:lnTo>
                <a:lnTo>
                  <a:pt x="345731" y="83199"/>
                </a:lnTo>
                <a:lnTo>
                  <a:pt x="345731" y="73927"/>
                </a:lnTo>
                <a:lnTo>
                  <a:pt x="387562" y="1493"/>
                </a:lnTo>
                <a:lnTo>
                  <a:pt x="405179" y="1493"/>
                </a:lnTo>
                <a:lnTo>
                  <a:pt x="405179" y="71873"/>
                </a:lnTo>
                <a:lnTo>
                  <a:pt x="419682" y="71873"/>
                </a:lnTo>
                <a:lnTo>
                  <a:pt x="419682" y="83199"/>
                </a:lnTo>
                <a:lnTo>
                  <a:pt x="405179" y="83199"/>
                </a:lnTo>
                <a:lnTo>
                  <a:pt x="405179" y="108588"/>
                </a:lnTo>
                <a:close/>
                <a:moveTo>
                  <a:pt x="359301" y="71873"/>
                </a:moveTo>
                <a:lnTo>
                  <a:pt x="392044" y="71873"/>
                </a:lnTo>
                <a:lnTo>
                  <a:pt x="392044" y="16117"/>
                </a:lnTo>
                <a:lnTo>
                  <a:pt x="359301" y="71873"/>
                </a:lnTo>
                <a:close/>
                <a:moveTo>
                  <a:pt x="436366" y="1493"/>
                </a:moveTo>
                <a:lnTo>
                  <a:pt x="472408" y="1493"/>
                </a:lnTo>
                <a:cubicBezTo>
                  <a:pt x="479566" y="1493"/>
                  <a:pt x="486227" y="2365"/>
                  <a:pt x="492390" y="4044"/>
                </a:cubicBezTo>
                <a:cubicBezTo>
                  <a:pt x="498552" y="5725"/>
                  <a:pt x="503967" y="8525"/>
                  <a:pt x="508511" y="12383"/>
                </a:cubicBezTo>
                <a:cubicBezTo>
                  <a:pt x="513118" y="16179"/>
                  <a:pt x="516729" y="21282"/>
                  <a:pt x="519280" y="27629"/>
                </a:cubicBezTo>
                <a:cubicBezTo>
                  <a:pt x="521896" y="34039"/>
                  <a:pt x="523203" y="41942"/>
                  <a:pt x="523203" y="51401"/>
                </a:cubicBezTo>
                <a:cubicBezTo>
                  <a:pt x="523203" y="63908"/>
                  <a:pt x="520899" y="74487"/>
                  <a:pt x="516292" y="83075"/>
                </a:cubicBezTo>
                <a:cubicBezTo>
                  <a:pt x="511811" y="91538"/>
                  <a:pt x="505648" y="97885"/>
                  <a:pt x="497805" y="102179"/>
                </a:cubicBezTo>
                <a:cubicBezTo>
                  <a:pt x="489899" y="106473"/>
                  <a:pt x="480873" y="108588"/>
                  <a:pt x="470727" y="108588"/>
                </a:cubicBez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470727" y="95893"/>
                </a:moveTo>
                <a:cubicBezTo>
                  <a:pt x="478135" y="95893"/>
                  <a:pt x="484609" y="94400"/>
                  <a:pt x="490148" y="91413"/>
                </a:cubicBezTo>
                <a:cubicBezTo>
                  <a:pt x="495751" y="88302"/>
                  <a:pt x="500046" y="83572"/>
                  <a:pt x="503159" y="77225"/>
                </a:cubicBezTo>
                <a:cubicBezTo>
                  <a:pt x="506334" y="70754"/>
                  <a:pt x="507952" y="62477"/>
                  <a:pt x="507952" y="52458"/>
                </a:cubicBezTo>
                <a:cubicBezTo>
                  <a:pt x="507952" y="42377"/>
                  <a:pt x="506396" y="34599"/>
                  <a:pt x="503283" y="29122"/>
                </a:cubicBezTo>
                <a:cubicBezTo>
                  <a:pt x="500233" y="23646"/>
                  <a:pt x="495999" y="19851"/>
                  <a:pt x="490584" y="17610"/>
                </a:cubicBezTo>
                <a:cubicBezTo>
                  <a:pt x="485355" y="15433"/>
                  <a:pt x="479255" y="14374"/>
                  <a:pt x="472408" y="14374"/>
                </a:cubicBezTo>
                <a:lnTo>
                  <a:pt x="450434" y="14374"/>
                </a:lnTo>
                <a:lnTo>
                  <a:pt x="450434" y="95893"/>
                </a:lnTo>
                <a:lnTo>
                  <a:pt x="470727" y="95893"/>
                </a:lnTo>
                <a:close/>
                <a:moveTo>
                  <a:pt x="604935" y="108588"/>
                </a:moveTo>
                <a:lnTo>
                  <a:pt x="536648" y="108588"/>
                </a:lnTo>
                <a:lnTo>
                  <a:pt x="536648" y="94400"/>
                </a:lnTo>
                <a:cubicBezTo>
                  <a:pt x="547292" y="85812"/>
                  <a:pt x="556008" y="78532"/>
                  <a:pt x="562794" y="72433"/>
                </a:cubicBezTo>
                <a:cubicBezTo>
                  <a:pt x="569640" y="66397"/>
                  <a:pt x="574994" y="61108"/>
                  <a:pt x="578791" y="56628"/>
                </a:cubicBezTo>
                <a:cubicBezTo>
                  <a:pt x="582651" y="52023"/>
                  <a:pt x="585327" y="47791"/>
                  <a:pt x="586821" y="43933"/>
                </a:cubicBezTo>
                <a:cubicBezTo>
                  <a:pt x="588440" y="40012"/>
                  <a:pt x="589250" y="36092"/>
                  <a:pt x="589250" y="32109"/>
                </a:cubicBezTo>
                <a:cubicBezTo>
                  <a:pt x="589250" y="25949"/>
                  <a:pt x="587382" y="21095"/>
                  <a:pt x="583709" y="17610"/>
                </a:cubicBezTo>
                <a:cubicBezTo>
                  <a:pt x="580035" y="14125"/>
                  <a:pt x="574932" y="12383"/>
                  <a:pt x="568458" y="12383"/>
                </a:cubicBezTo>
                <a:cubicBezTo>
                  <a:pt x="558125" y="12383"/>
                  <a:pt x="548414" y="17361"/>
                  <a:pt x="539450" y="27194"/>
                </a:cubicBezTo>
                <a:lnTo>
                  <a:pt x="539450" y="12134"/>
                </a:lnTo>
                <a:cubicBezTo>
                  <a:pt x="547728" y="4044"/>
                  <a:pt x="557564" y="0"/>
                  <a:pt x="568894" y="0"/>
                </a:cubicBezTo>
                <a:cubicBezTo>
                  <a:pt x="579663" y="0"/>
                  <a:pt x="588128" y="2800"/>
                  <a:pt x="594291" y="8401"/>
                </a:cubicBezTo>
                <a:cubicBezTo>
                  <a:pt x="600578" y="13877"/>
                  <a:pt x="603690" y="21344"/>
                  <a:pt x="603690" y="30803"/>
                </a:cubicBezTo>
                <a:cubicBezTo>
                  <a:pt x="603690" y="35657"/>
                  <a:pt x="602944" y="40324"/>
                  <a:pt x="601325" y="44804"/>
                </a:cubicBezTo>
                <a:cubicBezTo>
                  <a:pt x="599832" y="49222"/>
                  <a:pt x="597154" y="53827"/>
                  <a:pt x="593233" y="58681"/>
                </a:cubicBezTo>
                <a:cubicBezTo>
                  <a:pt x="589497" y="63473"/>
                  <a:pt x="584269" y="68887"/>
                  <a:pt x="577546" y="74860"/>
                </a:cubicBezTo>
                <a:cubicBezTo>
                  <a:pt x="570885" y="80835"/>
                  <a:pt x="562420" y="87804"/>
                  <a:pt x="552148" y="95769"/>
                </a:cubicBezTo>
                <a:lnTo>
                  <a:pt x="604935" y="95769"/>
                </a:lnTo>
                <a:lnTo>
                  <a:pt x="604935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4" name="Полилиния 953">
            <a:extLst>
              <a:ext uri="{FF2B5EF4-FFF2-40B4-BE49-F238E27FC236}">
                <a16:creationId xmlns:a16="http://schemas.microsoft.com/office/drawing/2014/main" id="{7FD02029-3CEF-32EC-0528-4EF6E751B45A}"/>
              </a:ext>
            </a:extLst>
          </p:cNvPr>
          <p:cNvSpPr/>
          <p:nvPr userDrawn="1"/>
        </p:nvSpPr>
        <p:spPr>
          <a:xfrm>
            <a:off x="9547358" y="6692525"/>
            <a:ext cx="2557159" cy="726227"/>
          </a:xfrm>
          <a:custGeom>
            <a:avLst/>
            <a:gdLst>
              <a:gd name="connsiteX0" fmla="*/ 2604 w 2191162"/>
              <a:gd name="connsiteY0" fmla="*/ 1422 h 622284"/>
              <a:gd name="connsiteX1" fmla="*/ 2193767 w 2191162"/>
              <a:gd name="connsiteY1" fmla="*/ 1422 h 622284"/>
              <a:gd name="connsiteX2" fmla="*/ 2193767 w 2191162"/>
              <a:gd name="connsiteY2" fmla="*/ 623706 h 622284"/>
              <a:gd name="connsiteX3" fmla="*/ 2604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422"/>
                </a:moveTo>
                <a:lnTo>
                  <a:pt x="2193767" y="1422"/>
                </a:lnTo>
                <a:lnTo>
                  <a:pt x="2193767" y="623706"/>
                </a:lnTo>
                <a:lnTo>
                  <a:pt x="2604" y="623706"/>
                </a:lnTo>
                <a:close/>
              </a:path>
            </a:pathLst>
          </a:custGeom>
          <a:solidFill>
            <a:srgbClr val="0F7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5" name="Полилиния 954">
            <a:extLst>
              <a:ext uri="{FF2B5EF4-FFF2-40B4-BE49-F238E27FC236}">
                <a16:creationId xmlns:a16="http://schemas.microsoft.com/office/drawing/2014/main" id="{DE9F5C1C-166D-83CF-0E04-579CE9FD88B6}"/>
              </a:ext>
            </a:extLst>
          </p:cNvPr>
          <p:cNvSpPr/>
          <p:nvPr userDrawn="1"/>
        </p:nvSpPr>
        <p:spPr>
          <a:xfrm>
            <a:off x="9670565" y="6994273"/>
            <a:ext cx="687963" cy="128468"/>
          </a:xfrm>
          <a:custGeom>
            <a:avLst/>
            <a:gdLst>
              <a:gd name="connsiteX0" fmla="*/ 22099 w 589497"/>
              <a:gd name="connsiteY0" fmla="*/ 108588 h 110081"/>
              <a:gd name="connsiteX1" fmla="*/ 10147 w 589497"/>
              <a:gd name="connsiteY1" fmla="*/ 108588 h 110081"/>
              <a:gd name="connsiteX2" fmla="*/ 16435 w 589497"/>
              <a:gd name="connsiteY2" fmla="*/ 77661 h 110081"/>
              <a:gd name="connsiteX3" fmla="*/ 0 w 589497"/>
              <a:gd name="connsiteY3" fmla="*/ 77661 h 110081"/>
              <a:gd name="connsiteX4" fmla="*/ 0 w 589497"/>
              <a:gd name="connsiteY4" fmla="*/ 67206 h 110081"/>
              <a:gd name="connsiteX5" fmla="*/ 18675 w 589497"/>
              <a:gd name="connsiteY5" fmla="*/ 67206 h 110081"/>
              <a:gd name="connsiteX6" fmla="*/ 24216 w 589497"/>
              <a:gd name="connsiteY6" fmla="*/ 40012 h 110081"/>
              <a:gd name="connsiteX7" fmla="*/ 4047 w 589497"/>
              <a:gd name="connsiteY7" fmla="*/ 40012 h 110081"/>
              <a:gd name="connsiteX8" fmla="*/ 4047 w 589497"/>
              <a:gd name="connsiteY8" fmla="*/ 29559 h 110081"/>
              <a:gd name="connsiteX9" fmla="*/ 26269 w 589497"/>
              <a:gd name="connsiteY9" fmla="*/ 29559 h 110081"/>
              <a:gd name="connsiteX10" fmla="*/ 32121 w 589497"/>
              <a:gd name="connsiteY10" fmla="*/ 1493 h 110081"/>
              <a:gd name="connsiteX11" fmla="*/ 44073 w 589497"/>
              <a:gd name="connsiteY11" fmla="*/ 1493 h 110081"/>
              <a:gd name="connsiteX12" fmla="*/ 38222 w 589497"/>
              <a:gd name="connsiteY12" fmla="*/ 29559 h 110081"/>
              <a:gd name="connsiteX13" fmla="*/ 60630 w 589497"/>
              <a:gd name="connsiteY13" fmla="*/ 29559 h 110081"/>
              <a:gd name="connsiteX14" fmla="*/ 66481 w 589497"/>
              <a:gd name="connsiteY14" fmla="*/ 1493 h 110081"/>
              <a:gd name="connsiteX15" fmla="*/ 78434 w 589497"/>
              <a:gd name="connsiteY15" fmla="*/ 1493 h 110081"/>
              <a:gd name="connsiteX16" fmla="*/ 72583 w 589497"/>
              <a:gd name="connsiteY16" fmla="*/ 29559 h 110081"/>
              <a:gd name="connsiteX17" fmla="*/ 89328 w 589497"/>
              <a:gd name="connsiteY17" fmla="*/ 29559 h 110081"/>
              <a:gd name="connsiteX18" fmla="*/ 89328 w 589497"/>
              <a:gd name="connsiteY18" fmla="*/ 40012 h 110081"/>
              <a:gd name="connsiteX19" fmla="*/ 70529 w 589497"/>
              <a:gd name="connsiteY19" fmla="*/ 40012 h 110081"/>
              <a:gd name="connsiteX20" fmla="*/ 64988 w 589497"/>
              <a:gd name="connsiteY20" fmla="*/ 67206 h 110081"/>
              <a:gd name="connsiteX21" fmla="*/ 85281 w 589497"/>
              <a:gd name="connsiteY21" fmla="*/ 67206 h 110081"/>
              <a:gd name="connsiteX22" fmla="*/ 85281 w 589497"/>
              <a:gd name="connsiteY22" fmla="*/ 77661 h 110081"/>
              <a:gd name="connsiteX23" fmla="*/ 62747 w 589497"/>
              <a:gd name="connsiteY23" fmla="*/ 77661 h 110081"/>
              <a:gd name="connsiteX24" fmla="*/ 56460 w 589497"/>
              <a:gd name="connsiteY24" fmla="*/ 108588 h 110081"/>
              <a:gd name="connsiteX25" fmla="*/ 44509 w 589497"/>
              <a:gd name="connsiteY25" fmla="*/ 108588 h 110081"/>
              <a:gd name="connsiteX26" fmla="*/ 50796 w 589497"/>
              <a:gd name="connsiteY26" fmla="*/ 77661 h 110081"/>
              <a:gd name="connsiteX27" fmla="*/ 28386 w 589497"/>
              <a:gd name="connsiteY27" fmla="*/ 77661 h 110081"/>
              <a:gd name="connsiteX28" fmla="*/ 22099 w 589497"/>
              <a:gd name="connsiteY28" fmla="*/ 108588 h 110081"/>
              <a:gd name="connsiteX29" fmla="*/ 30626 w 589497"/>
              <a:gd name="connsiteY29" fmla="*/ 67206 h 110081"/>
              <a:gd name="connsiteX30" fmla="*/ 53036 w 589497"/>
              <a:gd name="connsiteY30" fmla="*/ 67206 h 110081"/>
              <a:gd name="connsiteX31" fmla="*/ 58577 w 589497"/>
              <a:gd name="connsiteY31" fmla="*/ 40012 h 110081"/>
              <a:gd name="connsiteX32" fmla="*/ 36167 w 589497"/>
              <a:gd name="connsiteY32" fmla="*/ 40012 h 110081"/>
              <a:gd name="connsiteX33" fmla="*/ 30626 w 589497"/>
              <a:gd name="connsiteY33" fmla="*/ 67206 h 110081"/>
              <a:gd name="connsiteX34" fmla="*/ 136636 w 589497"/>
              <a:gd name="connsiteY34" fmla="*/ 110082 h 110081"/>
              <a:gd name="connsiteX35" fmla="*/ 118460 w 589497"/>
              <a:gd name="connsiteY35" fmla="*/ 104233 h 110081"/>
              <a:gd name="connsiteX36" fmla="*/ 105761 w 589497"/>
              <a:gd name="connsiteY36" fmla="*/ 86311 h 110081"/>
              <a:gd name="connsiteX37" fmla="*/ 101279 w 589497"/>
              <a:gd name="connsiteY37" fmla="*/ 54947 h 110081"/>
              <a:gd name="connsiteX38" fmla="*/ 105761 w 589497"/>
              <a:gd name="connsiteY38" fmla="*/ 23584 h 110081"/>
              <a:gd name="connsiteX39" fmla="*/ 118460 w 589497"/>
              <a:gd name="connsiteY39" fmla="*/ 5849 h 110081"/>
              <a:gd name="connsiteX40" fmla="*/ 136636 w 589497"/>
              <a:gd name="connsiteY40" fmla="*/ 186 h 110081"/>
              <a:gd name="connsiteX41" fmla="*/ 154752 w 589497"/>
              <a:gd name="connsiteY41" fmla="*/ 5849 h 110081"/>
              <a:gd name="connsiteX42" fmla="*/ 167139 w 589497"/>
              <a:gd name="connsiteY42" fmla="*/ 23584 h 110081"/>
              <a:gd name="connsiteX43" fmla="*/ 171621 w 589497"/>
              <a:gd name="connsiteY43" fmla="*/ 54698 h 110081"/>
              <a:gd name="connsiteX44" fmla="*/ 167139 w 589497"/>
              <a:gd name="connsiteY44" fmla="*/ 86062 h 110081"/>
              <a:gd name="connsiteX45" fmla="*/ 154752 w 589497"/>
              <a:gd name="connsiteY45" fmla="*/ 104233 h 110081"/>
              <a:gd name="connsiteX46" fmla="*/ 136636 w 589497"/>
              <a:gd name="connsiteY46" fmla="*/ 110082 h 110081"/>
              <a:gd name="connsiteX47" fmla="*/ 136512 w 589497"/>
              <a:gd name="connsiteY47" fmla="*/ 98258 h 110081"/>
              <a:gd name="connsiteX48" fmla="*/ 147841 w 589497"/>
              <a:gd name="connsiteY48" fmla="*/ 94275 h 110081"/>
              <a:gd name="connsiteX49" fmla="*/ 155063 w 589497"/>
              <a:gd name="connsiteY49" fmla="*/ 80648 h 110081"/>
              <a:gd name="connsiteX50" fmla="*/ 157552 w 589497"/>
              <a:gd name="connsiteY50" fmla="*/ 55134 h 110081"/>
              <a:gd name="connsiteX51" fmla="*/ 155186 w 589497"/>
              <a:gd name="connsiteY51" fmla="*/ 29745 h 110081"/>
              <a:gd name="connsiteX52" fmla="*/ 148028 w 589497"/>
              <a:gd name="connsiteY52" fmla="*/ 16117 h 110081"/>
              <a:gd name="connsiteX53" fmla="*/ 136636 w 589497"/>
              <a:gd name="connsiteY53" fmla="*/ 11947 h 110081"/>
              <a:gd name="connsiteX54" fmla="*/ 125183 w 589497"/>
              <a:gd name="connsiteY54" fmla="*/ 16117 h 110081"/>
              <a:gd name="connsiteX55" fmla="*/ 117837 w 589497"/>
              <a:gd name="connsiteY55" fmla="*/ 29745 h 110081"/>
              <a:gd name="connsiteX56" fmla="*/ 115285 w 589497"/>
              <a:gd name="connsiteY56" fmla="*/ 55134 h 110081"/>
              <a:gd name="connsiteX57" fmla="*/ 117714 w 589497"/>
              <a:gd name="connsiteY57" fmla="*/ 80648 h 110081"/>
              <a:gd name="connsiteX58" fmla="*/ 124996 w 589497"/>
              <a:gd name="connsiteY58" fmla="*/ 94275 h 110081"/>
              <a:gd name="connsiteX59" fmla="*/ 136512 w 589497"/>
              <a:gd name="connsiteY59" fmla="*/ 98258 h 110081"/>
              <a:gd name="connsiteX60" fmla="*/ 189984 w 589497"/>
              <a:gd name="connsiteY60" fmla="*/ 1493 h 110081"/>
              <a:gd name="connsiteX61" fmla="*/ 255408 w 589497"/>
              <a:gd name="connsiteY61" fmla="*/ 1493 h 110081"/>
              <a:gd name="connsiteX62" fmla="*/ 255408 w 589497"/>
              <a:gd name="connsiteY62" fmla="*/ 14374 h 110081"/>
              <a:gd name="connsiteX63" fmla="*/ 203990 w 589497"/>
              <a:gd name="connsiteY63" fmla="*/ 14374 h 110081"/>
              <a:gd name="connsiteX64" fmla="*/ 203990 w 589497"/>
              <a:gd name="connsiteY64" fmla="*/ 49907 h 110081"/>
              <a:gd name="connsiteX65" fmla="*/ 247627 w 589497"/>
              <a:gd name="connsiteY65" fmla="*/ 49907 h 110081"/>
              <a:gd name="connsiteX66" fmla="*/ 247627 w 589497"/>
              <a:gd name="connsiteY66" fmla="*/ 62601 h 110081"/>
              <a:gd name="connsiteX67" fmla="*/ 203990 w 589497"/>
              <a:gd name="connsiteY67" fmla="*/ 62601 h 110081"/>
              <a:gd name="connsiteX68" fmla="*/ 203990 w 589497"/>
              <a:gd name="connsiteY68" fmla="*/ 108588 h 110081"/>
              <a:gd name="connsiteX69" fmla="*/ 189984 w 589497"/>
              <a:gd name="connsiteY69" fmla="*/ 108588 h 110081"/>
              <a:gd name="connsiteX70" fmla="*/ 189984 w 589497"/>
              <a:gd name="connsiteY70" fmla="*/ 1493 h 110081"/>
              <a:gd name="connsiteX71" fmla="*/ 337950 w 589497"/>
              <a:gd name="connsiteY71" fmla="*/ 13628 h 110081"/>
              <a:gd name="connsiteX72" fmla="*/ 292508 w 589497"/>
              <a:gd name="connsiteY72" fmla="*/ 108588 h 110081"/>
              <a:gd name="connsiteX73" fmla="*/ 277880 w 589497"/>
              <a:gd name="connsiteY73" fmla="*/ 108588 h 110081"/>
              <a:gd name="connsiteX74" fmla="*/ 323570 w 589497"/>
              <a:gd name="connsiteY74" fmla="*/ 14374 h 110081"/>
              <a:gd name="connsiteX75" fmla="*/ 269040 w 589497"/>
              <a:gd name="connsiteY75" fmla="*/ 14374 h 110081"/>
              <a:gd name="connsiteX76" fmla="*/ 269040 w 589497"/>
              <a:gd name="connsiteY76" fmla="*/ 1493 h 110081"/>
              <a:gd name="connsiteX77" fmla="*/ 337950 w 589497"/>
              <a:gd name="connsiteY77" fmla="*/ 1493 h 110081"/>
              <a:gd name="connsiteX78" fmla="*/ 337950 w 589497"/>
              <a:gd name="connsiteY78" fmla="*/ 13628 h 110081"/>
              <a:gd name="connsiteX79" fmla="*/ 369261 w 589497"/>
              <a:gd name="connsiteY79" fmla="*/ 58992 h 110081"/>
              <a:gd name="connsiteX80" fmla="*/ 369261 w 589497"/>
              <a:gd name="connsiteY80" fmla="*/ 46298 h 110081"/>
              <a:gd name="connsiteX81" fmla="*/ 383579 w 589497"/>
              <a:gd name="connsiteY81" fmla="*/ 46298 h 110081"/>
              <a:gd name="connsiteX82" fmla="*/ 397211 w 589497"/>
              <a:gd name="connsiteY82" fmla="*/ 41817 h 110081"/>
              <a:gd name="connsiteX83" fmla="*/ 402563 w 589497"/>
              <a:gd name="connsiteY83" fmla="*/ 28812 h 110081"/>
              <a:gd name="connsiteX84" fmla="*/ 397647 w 589497"/>
              <a:gd name="connsiteY84" fmla="*/ 16864 h 110081"/>
              <a:gd name="connsiteX85" fmla="*/ 383454 w 589497"/>
              <a:gd name="connsiteY85" fmla="*/ 12383 h 110081"/>
              <a:gd name="connsiteX86" fmla="*/ 368825 w 589497"/>
              <a:gd name="connsiteY86" fmla="*/ 15246 h 110081"/>
              <a:gd name="connsiteX87" fmla="*/ 354757 w 589497"/>
              <a:gd name="connsiteY87" fmla="*/ 24331 h 110081"/>
              <a:gd name="connsiteX88" fmla="*/ 354757 w 589497"/>
              <a:gd name="connsiteY88" fmla="*/ 9707 h 110081"/>
              <a:gd name="connsiteX89" fmla="*/ 383579 w 589497"/>
              <a:gd name="connsiteY89" fmla="*/ 0 h 110081"/>
              <a:gd name="connsiteX90" fmla="*/ 407668 w 589497"/>
              <a:gd name="connsiteY90" fmla="*/ 7779 h 110081"/>
              <a:gd name="connsiteX91" fmla="*/ 416446 w 589497"/>
              <a:gd name="connsiteY91" fmla="*/ 28065 h 110081"/>
              <a:gd name="connsiteX92" fmla="*/ 410781 w 589497"/>
              <a:gd name="connsiteY92" fmla="*/ 44244 h 110081"/>
              <a:gd name="connsiteX93" fmla="*/ 397522 w 589497"/>
              <a:gd name="connsiteY93" fmla="*/ 52147 h 110081"/>
              <a:gd name="connsiteX94" fmla="*/ 408975 w 589497"/>
              <a:gd name="connsiteY94" fmla="*/ 56441 h 110081"/>
              <a:gd name="connsiteX95" fmla="*/ 417691 w 589497"/>
              <a:gd name="connsiteY95" fmla="*/ 65153 h 110081"/>
              <a:gd name="connsiteX96" fmla="*/ 420928 w 589497"/>
              <a:gd name="connsiteY96" fmla="*/ 77661 h 110081"/>
              <a:gd name="connsiteX97" fmla="*/ 416010 w 589497"/>
              <a:gd name="connsiteY97" fmla="*/ 94836 h 110081"/>
              <a:gd name="connsiteX98" fmla="*/ 402440 w 589497"/>
              <a:gd name="connsiteY98" fmla="*/ 106224 h 110081"/>
              <a:gd name="connsiteX99" fmla="*/ 382582 w 589497"/>
              <a:gd name="connsiteY99" fmla="*/ 110082 h 110081"/>
              <a:gd name="connsiteX100" fmla="*/ 352080 w 589497"/>
              <a:gd name="connsiteY100" fmla="*/ 100997 h 110081"/>
              <a:gd name="connsiteX101" fmla="*/ 352080 w 589497"/>
              <a:gd name="connsiteY101" fmla="*/ 86062 h 110081"/>
              <a:gd name="connsiteX102" fmla="*/ 365837 w 589497"/>
              <a:gd name="connsiteY102" fmla="*/ 94711 h 110081"/>
              <a:gd name="connsiteX103" fmla="*/ 382706 w 589497"/>
              <a:gd name="connsiteY103" fmla="*/ 97823 h 110081"/>
              <a:gd name="connsiteX104" fmla="*/ 400012 w 589497"/>
              <a:gd name="connsiteY104" fmla="*/ 92596 h 110081"/>
              <a:gd name="connsiteX105" fmla="*/ 406486 w 589497"/>
              <a:gd name="connsiteY105" fmla="*/ 77972 h 110081"/>
              <a:gd name="connsiteX106" fmla="*/ 400635 w 589497"/>
              <a:gd name="connsiteY106" fmla="*/ 64095 h 110081"/>
              <a:gd name="connsiteX107" fmla="*/ 383018 w 589497"/>
              <a:gd name="connsiteY107" fmla="*/ 58992 h 110081"/>
              <a:gd name="connsiteX108" fmla="*/ 369261 w 589497"/>
              <a:gd name="connsiteY108" fmla="*/ 58992 h 110081"/>
              <a:gd name="connsiteX109" fmla="*/ 439167 w 589497"/>
              <a:gd name="connsiteY109" fmla="*/ 1493 h 110081"/>
              <a:gd name="connsiteX110" fmla="*/ 504590 w 589497"/>
              <a:gd name="connsiteY110" fmla="*/ 1493 h 110081"/>
              <a:gd name="connsiteX111" fmla="*/ 504590 w 589497"/>
              <a:gd name="connsiteY111" fmla="*/ 14374 h 110081"/>
              <a:gd name="connsiteX112" fmla="*/ 453173 w 589497"/>
              <a:gd name="connsiteY112" fmla="*/ 14374 h 110081"/>
              <a:gd name="connsiteX113" fmla="*/ 453173 w 589497"/>
              <a:gd name="connsiteY113" fmla="*/ 49907 h 110081"/>
              <a:gd name="connsiteX114" fmla="*/ 496809 w 589497"/>
              <a:gd name="connsiteY114" fmla="*/ 49907 h 110081"/>
              <a:gd name="connsiteX115" fmla="*/ 496809 w 589497"/>
              <a:gd name="connsiteY115" fmla="*/ 62601 h 110081"/>
              <a:gd name="connsiteX116" fmla="*/ 453173 w 589497"/>
              <a:gd name="connsiteY116" fmla="*/ 62601 h 110081"/>
              <a:gd name="connsiteX117" fmla="*/ 453173 w 589497"/>
              <a:gd name="connsiteY117" fmla="*/ 108588 h 110081"/>
              <a:gd name="connsiteX118" fmla="*/ 439167 w 589497"/>
              <a:gd name="connsiteY118" fmla="*/ 108588 h 110081"/>
              <a:gd name="connsiteX119" fmla="*/ 439167 w 589497"/>
              <a:gd name="connsiteY119" fmla="*/ 1493 h 110081"/>
              <a:gd name="connsiteX120" fmla="*/ 524074 w 589497"/>
              <a:gd name="connsiteY120" fmla="*/ 1493 h 110081"/>
              <a:gd name="connsiteX121" fmla="*/ 589497 w 589497"/>
              <a:gd name="connsiteY121" fmla="*/ 1493 h 110081"/>
              <a:gd name="connsiteX122" fmla="*/ 589497 w 589497"/>
              <a:gd name="connsiteY122" fmla="*/ 14374 h 110081"/>
              <a:gd name="connsiteX123" fmla="*/ 538080 w 589497"/>
              <a:gd name="connsiteY123" fmla="*/ 14374 h 110081"/>
              <a:gd name="connsiteX124" fmla="*/ 538080 w 589497"/>
              <a:gd name="connsiteY124" fmla="*/ 49907 h 110081"/>
              <a:gd name="connsiteX125" fmla="*/ 581716 w 589497"/>
              <a:gd name="connsiteY125" fmla="*/ 49907 h 110081"/>
              <a:gd name="connsiteX126" fmla="*/ 581716 w 589497"/>
              <a:gd name="connsiteY126" fmla="*/ 62601 h 110081"/>
              <a:gd name="connsiteX127" fmla="*/ 538080 w 589497"/>
              <a:gd name="connsiteY127" fmla="*/ 62601 h 110081"/>
              <a:gd name="connsiteX128" fmla="*/ 538080 w 589497"/>
              <a:gd name="connsiteY128" fmla="*/ 108588 h 110081"/>
              <a:gd name="connsiteX129" fmla="*/ 524074 w 589497"/>
              <a:gd name="connsiteY129" fmla="*/ 108588 h 110081"/>
              <a:gd name="connsiteX130" fmla="*/ 524074 w 589497"/>
              <a:gd name="connsiteY130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58949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189984" y="1493"/>
                </a:moveTo>
                <a:lnTo>
                  <a:pt x="255408" y="1493"/>
                </a:lnTo>
                <a:lnTo>
                  <a:pt x="255408" y="14374"/>
                </a:lnTo>
                <a:lnTo>
                  <a:pt x="203990" y="14374"/>
                </a:lnTo>
                <a:lnTo>
                  <a:pt x="203990" y="49907"/>
                </a:lnTo>
                <a:lnTo>
                  <a:pt x="247627" y="49907"/>
                </a:lnTo>
                <a:lnTo>
                  <a:pt x="247627" y="62601"/>
                </a:lnTo>
                <a:lnTo>
                  <a:pt x="203990" y="62601"/>
                </a:lnTo>
                <a:lnTo>
                  <a:pt x="203990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37950" y="13628"/>
                </a:moveTo>
                <a:lnTo>
                  <a:pt x="292508" y="108588"/>
                </a:lnTo>
                <a:lnTo>
                  <a:pt x="277880" y="108588"/>
                </a:lnTo>
                <a:lnTo>
                  <a:pt x="323570" y="14374"/>
                </a:lnTo>
                <a:lnTo>
                  <a:pt x="269040" y="14374"/>
                </a:lnTo>
                <a:lnTo>
                  <a:pt x="269040" y="1493"/>
                </a:lnTo>
                <a:lnTo>
                  <a:pt x="337950" y="1493"/>
                </a:lnTo>
                <a:lnTo>
                  <a:pt x="337950" y="13628"/>
                </a:lnTo>
                <a:close/>
                <a:moveTo>
                  <a:pt x="369261" y="58992"/>
                </a:moveTo>
                <a:lnTo>
                  <a:pt x="369261" y="46298"/>
                </a:lnTo>
                <a:lnTo>
                  <a:pt x="383579" y="46298"/>
                </a:lnTo>
                <a:cubicBezTo>
                  <a:pt x="389181" y="46298"/>
                  <a:pt x="393725" y="44804"/>
                  <a:pt x="397211" y="41817"/>
                </a:cubicBezTo>
                <a:cubicBezTo>
                  <a:pt x="400760" y="38768"/>
                  <a:pt x="402563" y="34412"/>
                  <a:pt x="402563" y="28812"/>
                </a:cubicBezTo>
                <a:cubicBezTo>
                  <a:pt x="402563" y="23771"/>
                  <a:pt x="400946" y="19788"/>
                  <a:pt x="397647" y="16864"/>
                </a:cubicBezTo>
                <a:cubicBezTo>
                  <a:pt x="394348" y="13877"/>
                  <a:pt x="389617" y="12383"/>
                  <a:pt x="383454" y="12383"/>
                </a:cubicBezTo>
                <a:cubicBezTo>
                  <a:pt x="378287" y="12383"/>
                  <a:pt x="373369" y="13379"/>
                  <a:pt x="368825" y="15246"/>
                </a:cubicBezTo>
                <a:cubicBezTo>
                  <a:pt x="364343" y="17113"/>
                  <a:pt x="359675" y="20162"/>
                  <a:pt x="354757" y="24331"/>
                </a:cubicBezTo>
                <a:lnTo>
                  <a:pt x="354757" y="9707"/>
                </a:lnTo>
                <a:cubicBezTo>
                  <a:pt x="362725" y="3235"/>
                  <a:pt x="372374" y="0"/>
                  <a:pt x="383579" y="0"/>
                </a:cubicBezTo>
                <a:cubicBezTo>
                  <a:pt x="393849" y="0"/>
                  <a:pt x="401880" y="2613"/>
                  <a:pt x="407668" y="7779"/>
                </a:cubicBezTo>
                <a:cubicBezTo>
                  <a:pt x="413519" y="12943"/>
                  <a:pt x="416446" y="19726"/>
                  <a:pt x="416446" y="28065"/>
                </a:cubicBezTo>
                <a:cubicBezTo>
                  <a:pt x="416446" y="34848"/>
                  <a:pt x="414579" y="40262"/>
                  <a:pt x="410781" y="44244"/>
                </a:cubicBezTo>
                <a:cubicBezTo>
                  <a:pt x="407109" y="48227"/>
                  <a:pt x="402688" y="50840"/>
                  <a:pt x="397522" y="52147"/>
                </a:cubicBezTo>
                <a:cubicBezTo>
                  <a:pt x="401693" y="52707"/>
                  <a:pt x="405491" y="54201"/>
                  <a:pt x="408975" y="56441"/>
                </a:cubicBezTo>
                <a:cubicBezTo>
                  <a:pt x="412586" y="58681"/>
                  <a:pt x="415449" y="61543"/>
                  <a:pt x="417691" y="65153"/>
                </a:cubicBezTo>
                <a:cubicBezTo>
                  <a:pt x="419869" y="68700"/>
                  <a:pt x="420928" y="72869"/>
                  <a:pt x="420928" y="77661"/>
                </a:cubicBezTo>
                <a:cubicBezTo>
                  <a:pt x="420928" y="84257"/>
                  <a:pt x="419310" y="89982"/>
                  <a:pt x="416010" y="94836"/>
                </a:cubicBezTo>
                <a:cubicBezTo>
                  <a:pt x="412711" y="99752"/>
                  <a:pt x="408229" y="103486"/>
                  <a:pt x="402440" y="106224"/>
                </a:cubicBezTo>
                <a:cubicBezTo>
                  <a:pt x="396775" y="108775"/>
                  <a:pt x="390114" y="110082"/>
                  <a:pt x="382582" y="110082"/>
                </a:cubicBezTo>
                <a:cubicBezTo>
                  <a:pt x="369386" y="110082"/>
                  <a:pt x="359238" y="107033"/>
                  <a:pt x="352080" y="100997"/>
                </a:cubicBezTo>
                <a:lnTo>
                  <a:pt x="352080" y="86062"/>
                </a:lnTo>
                <a:cubicBezTo>
                  <a:pt x="355877" y="89733"/>
                  <a:pt x="360422" y="92596"/>
                  <a:pt x="365837" y="94711"/>
                </a:cubicBezTo>
                <a:cubicBezTo>
                  <a:pt x="371191" y="96765"/>
                  <a:pt x="376855" y="97823"/>
                  <a:pt x="382706" y="97823"/>
                </a:cubicBezTo>
                <a:cubicBezTo>
                  <a:pt x="390053" y="97823"/>
                  <a:pt x="395842" y="96080"/>
                  <a:pt x="400012" y="92596"/>
                </a:cubicBezTo>
                <a:cubicBezTo>
                  <a:pt x="404307" y="89048"/>
                  <a:pt x="406486" y="84132"/>
                  <a:pt x="406486" y="77972"/>
                </a:cubicBezTo>
                <a:cubicBezTo>
                  <a:pt x="406486" y="71998"/>
                  <a:pt x="404494" y="67393"/>
                  <a:pt x="400635" y="64095"/>
                </a:cubicBezTo>
                <a:cubicBezTo>
                  <a:pt x="396837" y="60673"/>
                  <a:pt x="390986" y="58992"/>
                  <a:pt x="383018" y="58992"/>
                </a:cubicBezTo>
                <a:lnTo>
                  <a:pt x="369261" y="58992"/>
                </a:lnTo>
                <a:close/>
                <a:moveTo>
                  <a:pt x="439167" y="1493"/>
                </a:moveTo>
                <a:lnTo>
                  <a:pt x="504590" y="1493"/>
                </a:lnTo>
                <a:lnTo>
                  <a:pt x="504590" y="14374"/>
                </a:lnTo>
                <a:lnTo>
                  <a:pt x="453173" y="14374"/>
                </a:lnTo>
                <a:lnTo>
                  <a:pt x="453173" y="49907"/>
                </a:lnTo>
                <a:lnTo>
                  <a:pt x="496809" y="49907"/>
                </a:lnTo>
                <a:lnTo>
                  <a:pt x="496809" y="62601"/>
                </a:lnTo>
                <a:lnTo>
                  <a:pt x="453173" y="62601"/>
                </a:lnTo>
                <a:lnTo>
                  <a:pt x="453173" y="108588"/>
                </a:lnTo>
                <a:lnTo>
                  <a:pt x="439167" y="108588"/>
                </a:lnTo>
                <a:lnTo>
                  <a:pt x="439167" y="1493"/>
                </a:lnTo>
                <a:close/>
                <a:moveTo>
                  <a:pt x="524074" y="1493"/>
                </a:moveTo>
                <a:lnTo>
                  <a:pt x="589497" y="1493"/>
                </a:lnTo>
                <a:lnTo>
                  <a:pt x="589497" y="14374"/>
                </a:lnTo>
                <a:lnTo>
                  <a:pt x="538080" y="14374"/>
                </a:lnTo>
                <a:lnTo>
                  <a:pt x="538080" y="49907"/>
                </a:lnTo>
                <a:lnTo>
                  <a:pt x="581716" y="49907"/>
                </a:lnTo>
                <a:lnTo>
                  <a:pt x="581716" y="62601"/>
                </a:lnTo>
                <a:lnTo>
                  <a:pt x="538080" y="62601"/>
                </a:lnTo>
                <a:lnTo>
                  <a:pt x="538080" y="108588"/>
                </a:lnTo>
                <a:lnTo>
                  <a:pt x="524074" y="108588"/>
                </a:lnTo>
                <a:lnTo>
                  <a:pt x="524074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6" name="Полилиния 955">
            <a:extLst>
              <a:ext uri="{FF2B5EF4-FFF2-40B4-BE49-F238E27FC236}">
                <a16:creationId xmlns:a16="http://schemas.microsoft.com/office/drawing/2014/main" id="{6F6AA4BF-185C-C02F-665B-EF073428C074}"/>
              </a:ext>
            </a:extLst>
          </p:cNvPr>
          <p:cNvSpPr/>
          <p:nvPr userDrawn="1"/>
        </p:nvSpPr>
        <p:spPr>
          <a:xfrm>
            <a:off x="9547358" y="7418752"/>
            <a:ext cx="2557159" cy="726227"/>
          </a:xfrm>
          <a:custGeom>
            <a:avLst/>
            <a:gdLst>
              <a:gd name="connsiteX0" fmla="*/ 2604 w 2191162"/>
              <a:gd name="connsiteY0" fmla="*/ 1522 h 622284"/>
              <a:gd name="connsiteX1" fmla="*/ 2193767 w 2191162"/>
              <a:gd name="connsiteY1" fmla="*/ 1522 h 622284"/>
              <a:gd name="connsiteX2" fmla="*/ 2193767 w 2191162"/>
              <a:gd name="connsiteY2" fmla="*/ 623806 h 622284"/>
              <a:gd name="connsiteX3" fmla="*/ 2604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522"/>
                </a:moveTo>
                <a:lnTo>
                  <a:pt x="2193767" y="1522"/>
                </a:lnTo>
                <a:lnTo>
                  <a:pt x="2193767" y="623806"/>
                </a:lnTo>
                <a:lnTo>
                  <a:pt x="2604" y="623806"/>
                </a:lnTo>
                <a:close/>
              </a:path>
            </a:pathLst>
          </a:custGeom>
          <a:solidFill>
            <a:srgbClr val="3287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7" name="Полилиния 956">
            <a:extLst>
              <a:ext uri="{FF2B5EF4-FFF2-40B4-BE49-F238E27FC236}">
                <a16:creationId xmlns:a16="http://schemas.microsoft.com/office/drawing/2014/main" id="{D58A4BC5-3EE8-2FE6-4DDD-1DCD217B5A0E}"/>
              </a:ext>
            </a:extLst>
          </p:cNvPr>
          <p:cNvSpPr/>
          <p:nvPr userDrawn="1"/>
        </p:nvSpPr>
        <p:spPr>
          <a:xfrm>
            <a:off x="9670565" y="7720500"/>
            <a:ext cx="684765" cy="128468"/>
          </a:xfrm>
          <a:custGeom>
            <a:avLst/>
            <a:gdLst>
              <a:gd name="connsiteX0" fmla="*/ 22099 w 586758"/>
              <a:gd name="connsiteY0" fmla="*/ 108588 h 110081"/>
              <a:gd name="connsiteX1" fmla="*/ 10147 w 586758"/>
              <a:gd name="connsiteY1" fmla="*/ 108588 h 110081"/>
              <a:gd name="connsiteX2" fmla="*/ 16435 w 586758"/>
              <a:gd name="connsiteY2" fmla="*/ 77661 h 110081"/>
              <a:gd name="connsiteX3" fmla="*/ 0 w 586758"/>
              <a:gd name="connsiteY3" fmla="*/ 77661 h 110081"/>
              <a:gd name="connsiteX4" fmla="*/ 0 w 586758"/>
              <a:gd name="connsiteY4" fmla="*/ 67206 h 110081"/>
              <a:gd name="connsiteX5" fmla="*/ 18675 w 586758"/>
              <a:gd name="connsiteY5" fmla="*/ 67206 h 110081"/>
              <a:gd name="connsiteX6" fmla="*/ 24216 w 586758"/>
              <a:gd name="connsiteY6" fmla="*/ 40012 h 110081"/>
              <a:gd name="connsiteX7" fmla="*/ 4047 w 586758"/>
              <a:gd name="connsiteY7" fmla="*/ 40012 h 110081"/>
              <a:gd name="connsiteX8" fmla="*/ 4047 w 586758"/>
              <a:gd name="connsiteY8" fmla="*/ 29559 h 110081"/>
              <a:gd name="connsiteX9" fmla="*/ 26269 w 586758"/>
              <a:gd name="connsiteY9" fmla="*/ 29559 h 110081"/>
              <a:gd name="connsiteX10" fmla="*/ 32121 w 586758"/>
              <a:gd name="connsiteY10" fmla="*/ 1493 h 110081"/>
              <a:gd name="connsiteX11" fmla="*/ 44073 w 586758"/>
              <a:gd name="connsiteY11" fmla="*/ 1493 h 110081"/>
              <a:gd name="connsiteX12" fmla="*/ 38222 w 586758"/>
              <a:gd name="connsiteY12" fmla="*/ 29559 h 110081"/>
              <a:gd name="connsiteX13" fmla="*/ 60630 w 586758"/>
              <a:gd name="connsiteY13" fmla="*/ 29559 h 110081"/>
              <a:gd name="connsiteX14" fmla="*/ 66481 w 586758"/>
              <a:gd name="connsiteY14" fmla="*/ 1493 h 110081"/>
              <a:gd name="connsiteX15" fmla="*/ 78434 w 586758"/>
              <a:gd name="connsiteY15" fmla="*/ 1493 h 110081"/>
              <a:gd name="connsiteX16" fmla="*/ 72583 w 586758"/>
              <a:gd name="connsiteY16" fmla="*/ 29559 h 110081"/>
              <a:gd name="connsiteX17" fmla="*/ 89328 w 586758"/>
              <a:gd name="connsiteY17" fmla="*/ 29559 h 110081"/>
              <a:gd name="connsiteX18" fmla="*/ 89328 w 586758"/>
              <a:gd name="connsiteY18" fmla="*/ 40012 h 110081"/>
              <a:gd name="connsiteX19" fmla="*/ 70529 w 586758"/>
              <a:gd name="connsiteY19" fmla="*/ 40012 h 110081"/>
              <a:gd name="connsiteX20" fmla="*/ 64988 w 586758"/>
              <a:gd name="connsiteY20" fmla="*/ 67206 h 110081"/>
              <a:gd name="connsiteX21" fmla="*/ 85281 w 586758"/>
              <a:gd name="connsiteY21" fmla="*/ 67206 h 110081"/>
              <a:gd name="connsiteX22" fmla="*/ 85281 w 586758"/>
              <a:gd name="connsiteY22" fmla="*/ 77661 h 110081"/>
              <a:gd name="connsiteX23" fmla="*/ 62747 w 586758"/>
              <a:gd name="connsiteY23" fmla="*/ 77661 h 110081"/>
              <a:gd name="connsiteX24" fmla="*/ 56460 w 586758"/>
              <a:gd name="connsiteY24" fmla="*/ 108588 h 110081"/>
              <a:gd name="connsiteX25" fmla="*/ 44509 w 586758"/>
              <a:gd name="connsiteY25" fmla="*/ 108588 h 110081"/>
              <a:gd name="connsiteX26" fmla="*/ 50796 w 586758"/>
              <a:gd name="connsiteY26" fmla="*/ 77661 h 110081"/>
              <a:gd name="connsiteX27" fmla="*/ 28386 w 586758"/>
              <a:gd name="connsiteY27" fmla="*/ 77661 h 110081"/>
              <a:gd name="connsiteX28" fmla="*/ 22099 w 586758"/>
              <a:gd name="connsiteY28" fmla="*/ 108588 h 110081"/>
              <a:gd name="connsiteX29" fmla="*/ 30626 w 586758"/>
              <a:gd name="connsiteY29" fmla="*/ 67206 h 110081"/>
              <a:gd name="connsiteX30" fmla="*/ 53036 w 586758"/>
              <a:gd name="connsiteY30" fmla="*/ 67206 h 110081"/>
              <a:gd name="connsiteX31" fmla="*/ 58577 w 586758"/>
              <a:gd name="connsiteY31" fmla="*/ 40012 h 110081"/>
              <a:gd name="connsiteX32" fmla="*/ 36167 w 586758"/>
              <a:gd name="connsiteY32" fmla="*/ 40012 h 110081"/>
              <a:gd name="connsiteX33" fmla="*/ 30626 w 586758"/>
              <a:gd name="connsiteY33" fmla="*/ 67206 h 110081"/>
              <a:gd name="connsiteX34" fmla="*/ 120078 w 586758"/>
              <a:gd name="connsiteY34" fmla="*/ 58992 h 110081"/>
              <a:gd name="connsiteX35" fmla="*/ 120078 w 586758"/>
              <a:gd name="connsiteY35" fmla="*/ 46298 h 110081"/>
              <a:gd name="connsiteX36" fmla="*/ 134396 w 586758"/>
              <a:gd name="connsiteY36" fmla="*/ 46298 h 110081"/>
              <a:gd name="connsiteX37" fmla="*/ 148028 w 586758"/>
              <a:gd name="connsiteY37" fmla="*/ 41817 h 110081"/>
              <a:gd name="connsiteX38" fmla="*/ 153382 w 586758"/>
              <a:gd name="connsiteY38" fmla="*/ 28812 h 110081"/>
              <a:gd name="connsiteX39" fmla="*/ 148464 w 586758"/>
              <a:gd name="connsiteY39" fmla="*/ 16864 h 110081"/>
              <a:gd name="connsiteX40" fmla="*/ 134271 w 586758"/>
              <a:gd name="connsiteY40" fmla="*/ 12383 h 110081"/>
              <a:gd name="connsiteX41" fmla="*/ 119642 w 586758"/>
              <a:gd name="connsiteY41" fmla="*/ 15246 h 110081"/>
              <a:gd name="connsiteX42" fmla="*/ 105574 w 586758"/>
              <a:gd name="connsiteY42" fmla="*/ 24331 h 110081"/>
              <a:gd name="connsiteX43" fmla="*/ 105574 w 586758"/>
              <a:gd name="connsiteY43" fmla="*/ 9707 h 110081"/>
              <a:gd name="connsiteX44" fmla="*/ 134396 w 586758"/>
              <a:gd name="connsiteY44" fmla="*/ 0 h 110081"/>
              <a:gd name="connsiteX45" fmla="*/ 158486 w 586758"/>
              <a:gd name="connsiteY45" fmla="*/ 7779 h 110081"/>
              <a:gd name="connsiteX46" fmla="*/ 167264 w 586758"/>
              <a:gd name="connsiteY46" fmla="*/ 28065 h 110081"/>
              <a:gd name="connsiteX47" fmla="*/ 161598 w 586758"/>
              <a:gd name="connsiteY47" fmla="*/ 44244 h 110081"/>
              <a:gd name="connsiteX48" fmla="*/ 148340 w 586758"/>
              <a:gd name="connsiteY48" fmla="*/ 52147 h 110081"/>
              <a:gd name="connsiteX49" fmla="*/ 159793 w 586758"/>
              <a:gd name="connsiteY49" fmla="*/ 56441 h 110081"/>
              <a:gd name="connsiteX50" fmla="*/ 168508 w 586758"/>
              <a:gd name="connsiteY50" fmla="*/ 65153 h 110081"/>
              <a:gd name="connsiteX51" fmla="*/ 171745 w 586758"/>
              <a:gd name="connsiteY51" fmla="*/ 77661 h 110081"/>
              <a:gd name="connsiteX52" fmla="*/ 166827 w 586758"/>
              <a:gd name="connsiteY52" fmla="*/ 94836 h 110081"/>
              <a:gd name="connsiteX53" fmla="*/ 153258 w 586758"/>
              <a:gd name="connsiteY53" fmla="*/ 106224 h 110081"/>
              <a:gd name="connsiteX54" fmla="*/ 133399 w 586758"/>
              <a:gd name="connsiteY54" fmla="*/ 110082 h 110081"/>
              <a:gd name="connsiteX55" fmla="*/ 102898 w 586758"/>
              <a:gd name="connsiteY55" fmla="*/ 100997 h 110081"/>
              <a:gd name="connsiteX56" fmla="*/ 102898 w 586758"/>
              <a:gd name="connsiteY56" fmla="*/ 86062 h 110081"/>
              <a:gd name="connsiteX57" fmla="*/ 116654 w 586758"/>
              <a:gd name="connsiteY57" fmla="*/ 94711 h 110081"/>
              <a:gd name="connsiteX58" fmla="*/ 133524 w 586758"/>
              <a:gd name="connsiteY58" fmla="*/ 97823 h 110081"/>
              <a:gd name="connsiteX59" fmla="*/ 150829 w 586758"/>
              <a:gd name="connsiteY59" fmla="*/ 92596 h 110081"/>
              <a:gd name="connsiteX60" fmla="*/ 157303 w 586758"/>
              <a:gd name="connsiteY60" fmla="*/ 77972 h 110081"/>
              <a:gd name="connsiteX61" fmla="*/ 151452 w 586758"/>
              <a:gd name="connsiteY61" fmla="*/ 64095 h 110081"/>
              <a:gd name="connsiteX62" fmla="*/ 133835 w 586758"/>
              <a:gd name="connsiteY62" fmla="*/ 58992 h 110081"/>
              <a:gd name="connsiteX63" fmla="*/ 120078 w 586758"/>
              <a:gd name="connsiteY63" fmla="*/ 58992 h 110081"/>
              <a:gd name="connsiteX64" fmla="*/ 252981 w 586758"/>
              <a:gd name="connsiteY64" fmla="*/ 108588 h 110081"/>
              <a:gd name="connsiteX65" fmla="*/ 184754 w 586758"/>
              <a:gd name="connsiteY65" fmla="*/ 108588 h 110081"/>
              <a:gd name="connsiteX66" fmla="*/ 184754 w 586758"/>
              <a:gd name="connsiteY66" fmla="*/ 94400 h 110081"/>
              <a:gd name="connsiteX67" fmla="*/ 210900 w 586758"/>
              <a:gd name="connsiteY67" fmla="*/ 72433 h 110081"/>
              <a:gd name="connsiteX68" fmla="*/ 226835 w 586758"/>
              <a:gd name="connsiteY68" fmla="*/ 56628 h 110081"/>
              <a:gd name="connsiteX69" fmla="*/ 234927 w 586758"/>
              <a:gd name="connsiteY69" fmla="*/ 43933 h 110081"/>
              <a:gd name="connsiteX70" fmla="*/ 237294 w 586758"/>
              <a:gd name="connsiteY70" fmla="*/ 32109 h 110081"/>
              <a:gd name="connsiteX71" fmla="*/ 231815 w 586758"/>
              <a:gd name="connsiteY71" fmla="*/ 17610 h 110081"/>
              <a:gd name="connsiteX72" fmla="*/ 216564 w 586758"/>
              <a:gd name="connsiteY72" fmla="*/ 12383 h 110081"/>
              <a:gd name="connsiteX73" fmla="*/ 187557 w 586758"/>
              <a:gd name="connsiteY73" fmla="*/ 27194 h 110081"/>
              <a:gd name="connsiteX74" fmla="*/ 187557 w 586758"/>
              <a:gd name="connsiteY74" fmla="*/ 12134 h 110081"/>
              <a:gd name="connsiteX75" fmla="*/ 217001 w 586758"/>
              <a:gd name="connsiteY75" fmla="*/ 0 h 110081"/>
              <a:gd name="connsiteX76" fmla="*/ 242397 w 586758"/>
              <a:gd name="connsiteY76" fmla="*/ 8401 h 110081"/>
              <a:gd name="connsiteX77" fmla="*/ 251797 w 586758"/>
              <a:gd name="connsiteY77" fmla="*/ 30803 h 110081"/>
              <a:gd name="connsiteX78" fmla="*/ 249432 w 586758"/>
              <a:gd name="connsiteY78" fmla="*/ 44804 h 110081"/>
              <a:gd name="connsiteX79" fmla="*/ 241339 w 586758"/>
              <a:gd name="connsiteY79" fmla="*/ 58681 h 110081"/>
              <a:gd name="connsiteX80" fmla="*/ 225652 w 586758"/>
              <a:gd name="connsiteY80" fmla="*/ 74860 h 110081"/>
              <a:gd name="connsiteX81" fmla="*/ 200254 w 586758"/>
              <a:gd name="connsiteY81" fmla="*/ 95769 h 110081"/>
              <a:gd name="connsiteX82" fmla="*/ 252981 w 586758"/>
              <a:gd name="connsiteY82" fmla="*/ 95769 h 110081"/>
              <a:gd name="connsiteX83" fmla="*/ 252981 w 586758"/>
              <a:gd name="connsiteY83" fmla="*/ 108588 h 110081"/>
              <a:gd name="connsiteX84" fmla="*/ 301099 w 586758"/>
              <a:gd name="connsiteY84" fmla="*/ 110082 h 110081"/>
              <a:gd name="connsiteX85" fmla="*/ 282424 w 586758"/>
              <a:gd name="connsiteY85" fmla="*/ 106473 h 110081"/>
              <a:gd name="connsiteX86" fmla="*/ 269725 w 586758"/>
              <a:gd name="connsiteY86" fmla="*/ 96205 h 110081"/>
              <a:gd name="connsiteX87" fmla="*/ 265057 w 586758"/>
              <a:gd name="connsiteY87" fmla="*/ 79777 h 110081"/>
              <a:gd name="connsiteX88" fmla="*/ 270471 w 586758"/>
              <a:gd name="connsiteY88" fmla="*/ 62291 h 110081"/>
              <a:gd name="connsiteX89" fmla="*/ 285225 w 586758"/>
              <a:gd name="connsiteY89" fmla="*/ 51711 h 110081"/>
              <a:gd name="connsiteX90" fmla="*/ 273274 w 586758"/>
              <a:gd name="connsiteY90" fmla="*/ 42564 h 110081"/>
              <a:gd name="connsiteX91" fmla="*/ 268977 w 586758"/>
              <a:gd name="connsiteY91" fmla="*/ 27504 h 110081"/>
              <a:gd name="connsiteX92" fmla="*/ 273149 w 586758"/>
              <a:gd name="connsiteY92" fmla="*/ 12570 h 110081"/>
              <a:gd name="connsiteX93" fmla="*/ 284664 w 586758"/>
              <a:gd name="connsiteY93" fmla="*/ 3298 h 110081"/>
              <a:gd name="connsiteX94" fmla="*/ 301099 w 586758"/>
              <a:gd name="connsiteY94" fmla="*/ 186 h 110081"/>
              <a:gd name="connsiteX95" fmla="*/ 317220 w 586758"/>
              <a:gd name="connsiteY95" fmla="*/ 3298 h 110081"/>
              <a:gd name="connsiteX96" fmla="*/ 328550 w 586758"/>
              <a:gd name="connsiteY96" fmla="*/ 12259 h 110081"/>
              <a:gd name="connsiteX97" fmla="*/ 332907 w 586758"/>
              <a:gd name="connsiteY97" fmla="*/ 27194 h 110081"/>
              <a:gd name="connsiteX98" fmla="*/ 328426 w 586758"/>
              <a:gd name="connsiteY98" fmla="*/ 42439 h 110081"/>
              <a:gd name="connsiteX99" fmla="*/ 316599 w 586758"/>
              <a:gd name="connsiteY99" fmla="*/ 51711 h 110081"/>
              <a:gd name="connsiteX100" fmla="*/ 330977 w 586758"/>
              <a:gd name="connsiteY100" fmla="*/ 61855 h 110081"/>
              <a:gd name="connsiteX101" fmla="*/ 336518 w 586758"/>
              <a:gd name="connsiteY101" fmla="*/ 79341 h 110081"/>
              <a:gd name="connsiteX102" fmla="*/ 331850 w 586758"/>
              <a:gd name="connsiteY102" fmla="*/ 95893 h 110081"/>
              <a:gd name="connsiteX103" fmla="*/ 319150 w 586758"/>
              <a:gd name="connsiteY103" fmla="*/ 106473 h 110081"/>
              <a:gd name="connsiteX104" fmla="*/ 301099 w 586758"/>
              <a:gd name="connsiteY104" fmla="*/ 110082 h 110081"/>
              <a:gd name="connsiteX105" fmla="*/ 301099 w 586758"/>
              <a:gd name="connsiteY105" fmla="*/ 46298 h 110081"/>
              <a:gd name="connsiteX106" fmla="*/ 314108 w 586758"/>
              <a:gd name="connsiteY106" fmla="*/ 41817 h 110081"/>
              <a:gd name="connsiteX107" fmla="*/ 319337 w 586758"/>
              <a:gd name="connsiteY107" fmla="*/ 29122 h 110081"/>
              <a:gd name="connsiteX108" fmla="*/ 314108 w 586758"/>
              <a:gd name="connsiteY108" fmla="*/ 16615 h 110081"/>
              <a:gd name="connsiteX109" fmla="*/ 301099 w 586758"/>
              <a:gd name="connsiteY109" fmla="*/ 11947 h 110081"/>
              <a:gd name="connsiteX110" fmla="*/ 287777 w 586758"/>
              <a:gd name="connsiteY110" fmla="*/ 16615 h 110081"/>
              <a:gd name="connsiteX111" fmla="*/ 282549 w 586758"/>
              <a:gd name="connsiteY111" fmla="*/ 29122 h 110081"/>
              <a:gd name="connsiteX112" fmla="*/ 287777 w 586758"/>
              <a:gd name="connsiteY112" fmla="*/ 41817 h 110081"/>
              <a:gd name="connsiteX113" fmla="*/ 301099 w 586758"/>
              <a:gd name="connsiteY113" fmla="*/ 46298 h 110081"/>
              <a:gd name="connsiteX114" fmla="*/ 301099 w 586758"/>
              <a:gd name="connsiteY114" fmla="*/ 98258 h 110081"/>
              <a:gd name="connsiteX115" fmla="*/ 316474 w 586758"/>
              <a:gd name="connsiteY115" fmla="*/ 92907 h 110081"/>
              <a:gd name="connsiteX116" fmla="*/ 322761 w 586758"/>
              <a:gd name="connsiteY116" fmla="*/ 77536 h 110081"/>
              <a:gd name="connsiteX117" fmla="*/ 316474 w 586758"/>
              <a:gd name="connsiteY117" fmla="*/ 62291 h 110081"/>
              <a:gd name="connsiteX118" fmla="*/ 301099 w 586758"/>
              <a:gd name="connsiteY118" fmla="*/ 56752 h 110081"/>
              <a:gd name="connsiteX119" fmla="*/ 285101 w 586758"/>
              <a:gd name="connsiteY119" fmla="*/ 62291 h 110081"/>
              <a:gd name="connsiteX120" fmla="*/ 278813 w 586758"/>
              <a:gd name="connsiteY120" fmla="*/ 77536 h 110081"/>
              <a:gd name="connsiteX121" fmla="*/ 285101 w 586758"/>
              <a:gd name="connsiteY121" fmla="*/ 92907 h 110081"/>
              <a:gd name="connsiteX122" fmla="*/ 301099 w 586758"/>
              <a:gd name="connsiteY122" fmla="*/ 98258 h 110081"/>
              <a:gd name="connsiteX123" fmla="*/ 417317 w 586758"/>
              <a:gd name="connsiteY123" fmla="*/ 13628 h 110081"/>
              <a:gd name="connsiteX124" fmla="*/ 371875 w 586758"/>
              <a:gd name="connsiteY124" fmla="*/ 108588 h 110081"/>
              <a:gd name="connsiteX125" fmla="*/ 357248 w 586758"/>
              <a:gd name="connsiteY125" fmla="*/ 108588 h 110081"/>
              <a:gd name="connsiteX126" fmla="*/ 402937 w 586758"/>
              <a:gd name="connsiteY126" fmla="*/ 14374 h 110081"/>
              <a:gd name="connsiteX127" fmla="*/ 348407 w 586758"/>
              <a:gd name="connsiteY127" fmla="*/ 14374 h 110081"/>
              <a:gd name="connsiteX128" fmla="*/ 348407 w 586758"/>
              <a:gd name="connsiteY128" fmla="*/ 1493 h 110081"/>
              <a:gd name="connsiteX129" fmla="*/ 417317 w 586758"/>
              <a:gd name="connsiteY129" fmla="*/ 1493 h 110081"/>
              <a:gd name="connsiteX130" fmla="*/ 417317 w 586758"/>
              <a:gd name="connsiteY130" fmla="*/ 13628 h 110081"/>
              <a:gd name="connsiteX131" fmla="*/ 436366 w 586758"/>
              <a:gd name="connsiteY131" fmla="*/ 1493 h 110081"/>
              <a:gd name="connsiteX132" fmla="*/ 501789 w 586758"/>
              <a:gd name="connsiteY132" fmla="*/ 1493 h 110081"/>
              <a:gd name="connsiteX133" fmla="*/ 501789 w 586758"/>
              <a:gd name="connsiteY133" fmla="*/ 14374 h 110081"/>
              <a:gd name="connsiteX134" fmla="*/ 450434 w 586758"/>
              <a:gd name="connsiteY134" fmla="*/ 14374 h 110081"/>
              <a:gd name="connsiteX135" fmla="*/ 450434 w 586758"/>
              <a:gd name="connsiteY135" fmla="*/ 49907 h 110081"/>
              <a:gd name="connsiteX136" fmla="*/ 494071 w 586758"/>
              <a:gd name="connsiteY136" fmla="*/ 49907 h 110081"/>
              <a:gd name="connsiteX137" fmla="*/ 494071 w 586758"/>
              <a:gd name="connsiteY137" fmla="*/ 62601 h 110081"/>
              <a:gd name="connsiteX138" fmla="*/ 450434 w 586758"/>
              <a:gd name="connsiteY138" fmla="*/ 62601 h 110081"/>
              <a:gd name="connsiteX139" fmla="*/ 450434 w 586758"/>
              <a:gd name="connsiteY139" fmla="*/ 108588 h 110081"/>
              <a:gd name="connsiteX140" fmla="*/ 436366 w 586758"/>
              <a:gd name="connsiteY140" fmla="*/ 108588 h 110081"/>
              <a:gd name="connsiteX141" fmla="*/ 436366 w 586758"/>
              <a:gd name="connsiteY141" fmla="*/ 1493 h 110081"/>
              <a:gd name="connsiteX142" fmla="*/ 521273 w 586758"/>
              <a:gd name="connsiteY142" fmla="*/ 1493 h 110081"/>
              <a:gd name="connsiteX143" fmla="*/ 586759 w 586758"/>
              <a:gd name="connsiteY143" fmla="*/ 1493 h 110081"/>
              <a:gd name="connsiteX144" fmla="*/ 586759 w 586758"/>
              <a:gd name="connsiteY144" fmla="*/ 14374 h 110081"/>
              <a:gd name="connsiteX145" fmla="*/ 535341 w 586758"/>
              <a:gd name="connsiteY145" fmla="*/ 14374 h 110081"/>
              <a:gd name="connsiteX146" fmla="*/ 535341 w 586758"/>
              <a:gd name="connsiteY146" fmla="*/ 49907 h 110081"/>
              <a:gd name="connsiteX147" fmla="*/ 578978 w 586758"/>
              <a:gd name="connsiteY147" fmla="*/ 49907 h 110081"/>
              <a:gd name="connsiteX148" fmla="*/ 578978 w 586758"/>
              <a:gd name="connsiteY148" fmla="*/ 62601 h 110081"/>
              <a:gd name="connsiteX149" fmla="*/ 535341 w 586758"/>
              <a:gd name="connsiteY149" fmla="*/ 62601 h 110081"/>
              <a:gd name="connsiteX150" fmla="*/ 535341 w 586758"/>
              <a:gd name="connsiteY150" fmla="*/ 108588 h 110081"/>
              <a:gd name="connsiteX151" fmla="*/ 521273 w 586758"/>
              <a:gd name="connsiteY151" fmla="*/ 108588 h 110081"/>
              <a:gd name="connsiteX152" fmla="*/ 521273 w 586758"/>
              <a:gd name="connsiteY15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586758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2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4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6" y="13379"/>
                  <a:pt x="119642" y="15246"/>
                </a:cubicBezTo>
                <a:cubicBezTo>
                  <a:pt x="115161" y="17113"/>
                  <a:pt x="110492" y="20162"/>
                  <a:pt x="105574" y="24331"/>
                </a:cubicBezTo>
                <a:lnTo>
                  <a:pt x="105574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8" y="12943"/>
                  <a:pt x="167264" y="19726"/>
                  <a:pt x="167264" y="28065"/>
                </a:cubicBezTo>
                <a:cubicBezTo>
                  <a:pt x="167264" y="34848"/>
                  <a:pt x="165396" y="40262"/>
                  <a:pt x="161598" y="44244"/>
                </a:cubicBezTo>
                <a:cubicBezTo>
                  <a:pt x="157926" y="48227"/>
                  <a:pt x="153507" y="50840"/>
                  <a:pt x="148340" y="52147"/>
                </a:cubicBezTo>
                <a:cubicBezTo>
                  <a:pt x="152510" y="52707"/>
                  <a:pt x="156308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6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8" y="106224"/>
                </a:cubicBezTo>
                <a:cubicBezTo>
                  <a:pt x="147592" y="108775"/>
                  <a:pt x="140932" y="110082"/>
                  <a:pt x="133399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6" y="89733"/>
                  <a:pt x="111240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70" y="97823"/>
                  <a:pt x="146659" y="96080"/>
                  <a:pt x="150829" y="92596"/>
                </a:cubicBezTo>
                <a:cubicBezTo>
                  <a:pt x="155124" y="89048"/>
                  <a:pt x="157303" y="84132"/>
                  <a:pt x="157303" y="77972"/>
                </a:cubicBezTo>
                <a:cubicBezTo>
                  <a:pt x="157303" y="71998"/>
                  <a:pt x="155311" y="67393"/>
                  <a:pt x="151452" y="64095"/>
                </a:cubicBezTo>
                <a:cubicBezTo>
                  <a:pt x="147654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1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5" y="78532"/>
                  <a:pt x="210900" y="72433"/>
                </a:cubicBezTo>
                <a:cubicBezTo>
                  <a:pt x="217747" y="66397"/>
                  <a:pt x="223101" y="61108"/>
                  <a:pt x="226835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4" y="36092"/>
                  <a:pt x="237294" y="32109"/>
                </a:cubicBezTo>
                <a:cubicBezTo>
                  <a:pt x="237294" y="25949"/>
                  <a:pt x="235488" y="21095"/>
                  <a:pt x="231815" y="17610"/>
                </a:cubicBezTo>
                <a:cubicBezTo>
                  <a:pt x="228081" y="14125"/>
                  <a:pt x="223038" y="12383"/>
                  <a:pt x="216564" y="12383"/>
                </a:cubicBezTo>
                <a:cubicBezTo>
                  <a:pt x="206169" y="12383"/>
                  <a:pt x="196520" y="17361"/>
                  <a:pt x="187557" y="27194"/>
                </a:cubicBezTo>
                <a:lnTo>
                  <a:pt x="187557" y="12134"/>
                </a:lnTo>
                <a:cubicBezTo>
                  <a:pt x="195835" y="4044"/>
                  <a:pt x="205671" y="0"/>
                  <a:pt x="217001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2" y="53827"/>
                  <a:pt x="241339" y="58681"/>
                </a:cubicBezTo>
                <a:cubicBezTo>
                  <a:pt x="237543" y="63473"/>
                  <a:pt x="232314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2981" y="95769"/>
                </a:lnTo>
                <a:lnTo>
                  <a:pt x="252981" y="108588"/>
                </a:lnTo>
                <a:close/>
                <a:moveTo>
                  <a:pt x="301099" y="110082"/>
                </a:moveTo>
                <a:cubicBezTo>
                  <a:pt x="294126" y="110082"/>
                  <a:pt x="287901" y="108900"/>
                  <a:pt x="282424" y="106473"/>
                </a:cubicBezTo>
                <a:cubicBezTo>
                  <a:pt x="277008" y="104108"/>
                  <a:pt x="272775" y="100685"/>
                  <a:pt x="269725" y="96205"/>
                </a:cubicBezTo>
                <a:cubicBezTo>
                  <a:pt x="266613" y="91600"/>
                  <a:pt x="265057" y="86124"/>
                  <a:pt x="265057" y="79777"/>
                </a:cubicBezTo>
                <a:cubicBezTo>
                  <a:pt x="265057" y="72869"/>
                  <a:pt x="266862" y="67082"/>
                  <a:pt x="270471" y="62291"/>
                </a:cubicBezTo>
                <a:cubicBezTo>
                  <a:pt x="274145" y="57437"/>
                  <a:pt x="279063" y="53889"/>
                  <a:pt x="285225" y="51711"/>
                </a:cubicBezTo>
                <a:cubicBezTo>
                  <a:pt x="280245" y="49720"/>
                  <a:pt x="276262" y="46671"/>
                  <a:pt x="273274" y="42564"/>
                </a:cubicBezTo>
                <a:cubicBezTo>
                  <a:pt x="270409" y="38519"/>
                  <a:pt x="268977" y="33479"/>
                  <a:pt x="268977" y="27504"/>
                </a:cubicBezTo>
                <a:cubicBezTo>
                  <a:pt x="268977" y="21593"/>
                  <a:pt x="270347" y="16615"/>
                  <a:pt x="273149" y="12570"/>
                </a:cubicBezTo>
                <a:cubicBezTo>
                  <a:pt x="275950" y="8463"/>
                  <a:pt x="279746" y="5414"/>
                  <a:pt x="284664" y="3298"/>
                </a:cubicBezTo>
                <a:cubicBezTo>
                  <a:pt x="289520" y="1182"/>
                  <a:pt x="294999" y="186"/>
                  <a:pt x="301099" y="186"/>
                </a:cubicBezTo>
                <a:cubicBezTo>
                  <a:pt x="307075" y="186"/>
                  <a:pt x="312427" y="1182"/>
                  <a:pt x="317220" y="3298"/>
                </a:cubicBezTo>
                <a:cubicBezTo>
                  <a:pt x="322014" y="5289"/>
                  <a:pt x="325812" y="8276"/>
                  <a:pt x="328550" y="12259"/>
                </a:cubicBezTo>
                <a:cubicBezTo>
                  <a:pt x="331476" y="16242"/>
                  <a:pt x="332907" y="21219"/>
                  <a:pt x="332907" y="27194"/>
                </a:cubicBezTo>
                <a:cubicBezTo>
                  <a:pt x="332907" y="33292"/>
                  <a:pt x="331413" y="38332"/>
                  <a:pt x="328426" y="42439"/>
                </a:cubicBezTo>
                <a:cubicBezTo>
                  <a:pt x="325438" y="46484"/>
                  <a:pt x="321517" y="49596"/>
                  <a:pt x="316599" y="51711"/>
                </a:cubicBezTo>
                <a:cubicBezTo>
                  <a:pt x="322574" y="53765"/>
                  <a:pt x="327368" y="57188"/>
                  <a:pt x="330977" y="61855"/>
                </a:cubicBezTo>
                <a:cubicBezTo>
                  <a:pt x="334650" y="66522"/>
                  <a:pt x="336518" y="72372"/>
                  <a:pt x="336518" y="79341"/>
                </a:cubicBezTo>
                <a:cubicBezTo>
                  <a:pt x="336518" y="85688"/>
                  <a:pt x="334962" y="91226"/>
                  <a:pt x="331850" y="95893"/>
                </a:cubicBezTo>
                <a:cubicBezTo>
                  <a:pt x="328799" y="100498"/>
                  <a:pt x="324567" y="103983"/>
                  <a:pt x="319150" y="106473"/>
                </a:cubicBezTo>
                <a:cubicBezTo>
                  <a:pt x="313859" y="108900"/>
                  <a:pt x="307883" y="110082"/>
                  <a:pt x="301099" y="110082"/>
                </a:cubicBezTo>
                <a:close/>
                <a:moveTo>
                  <a:pt x="301099" y="46298"/>
                </a:moveTo>
                <a:cubicBezTo>
                  <a:pt x="306389" y="46298"/>
                  <a:pt x="310685" y="44804"/>
                  <a:pt x="314108" y="41817"/>
                </a:cubicBezTo>
                <a:cubicBezTo>
                  <a:pt x="317594" y="38768"/>
                  <a:pt x="319337" y="34536"/>
                  <a:pt x="319337" y="29122"/>
                </a:cubicBezTo>
                <a:cubicBezTo>
                  <a:pt x="319337" y="23771"/>
                  <a:pt x="317594" y="19601"/>
                  <a:pt x="314108" y="16615"/>
                </a:cubicBezTo>
                <a:cubicBezTo>
                  <a:pt x="310685" y="13503"/>
                  <a:pt x="306389" y="11947"/>
                  <a:pt x="301099" y="11947"/>
                </a:cubicBezTo>
                <a:cubicBezTo>
                  <a:pt x="295807" y="11947"/>
                  <a:pt x="291388" y="13503"/>
                  <a:pt x="287777" y="16615"/>
                </a:cubicBezTo>
                <a:cubicBezTo>
                  <a:pt x="284290" y="19601"/>
                  <a:pt x="282549" y="23771"/>
                  <a:pt x="282549" y="29122"/>
                </a:cubicBezTo>
                <a:cubicBezTo>
                  <a:pt x="282549" y="34536"/>
                  <a:pt x="284290" y="38768"/>
                  <a:pt x="287777" y="41817"/>
                </a:cubicBezTo>
                <a:cubicBezTo>
                  <a:pt x="291388" y="44804"/>
                  <a:pt x="295807" y="46298"/>
                  <a:pt x="301099" y="46298"/>
                </a:cubicBezTo>
                <a:close/>
                <a:moveTo>
                  <a:pt x="301099" y="98258"/>
                </a:moveTo>
                <a:cubicBezTo>
                  <a:pt x="307261" y="98258"/>
                  <a:pt x="312365" y="96516"/>
                  <a:pt x="316474" y="92907"/>
                </a:cubicBezTo>
                <a:cubicBezTo>
                  <a:pt x="320644" y="89235"/>
                  <a:pt x="322761" y="84071"/>
                  <a:pt x="322761" y="77536"/>
                </a:cubicBezTo>
                <a:cubicBezTo>
                  <a:pt x="322761" y="70940"/>
                  <a:pt x="320644" y="65900"/>
                  <a:pt x="316474" y="62291"/>
                </a:cubicBezTo>
                <a:cubicBezTo>
                  <a:pt x="312365" y="58619"/>
                  <a:pt x="307261" y="56752"/>
                  <a:pt x="301099" y="56752"/>
                </a:cubicBezTo>
                <a:cubicBezTo>
                  <a:pt x="294687" y="56752"/>
                  <a:pt x="289395" y="58619"/>
                  <a:pt x="285101" y="62291"/>
                </a:cubicBezTo>
                <a:cubicBezTo>
                  <a:pt x="280930" y="65900"/>
                  <a:pt x="278813" y="70940"/>
                  <a:pt x="278813" y="77536"/>
                </a:cubicBezTo>
                <a:cubicBezTo>
                  <a:pt x="278813" y="84071"/>
                  <a:pt x="280930" y="89235"/>
                  <a:pt x="285101" y="92907"/>
                </a:cubicBezTo>
                <a:cubicBezTo>
                  <a:pt x="289395" y="96516"/>
                  <a:pt x="294687" y="98258"/>
                  <a:pt x="301099" y="98258"/>
                </a:cubicBezTo>
                <a:close/>
                <a:moveTo>
                  <a:pt x="417317" y="13628"/>
                </a:moveTo>
                <a:lnTo>
                  <a:pt x="371875" y="108588"/>
                </a:lnTo>
                <a:lnTo>
                  <a:pt x="357248" y="108588"/>
                </a:lnTo>
                <a:lnTo>
                  <a:pt x="402937" y="14374"/>
                </a:lnTo>
                <a:lnTo>
                  <a:pt x="348407" y="14374"/>
                </a:lnTo>
                <a:lnTo>
                  <a:pt x="348407" y="1493"/>
                </a:lnTo>
                <a:lnTo>
                  <a:pt x="417317" y="1493"/>
                </a:lnTo>
                <a:lnTo>
                  <a:pt x="417317" y="13628"/>
                </a:ln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21273" y="1493"/>
                </a:moveTo>
                <a:lnTo>
                  <a:pt x="586759" y="1493"/>
                </a:lnTo>
                <a:lnTo>
                  <a:pt x="586759" y="14374"/>
                </a:lnTo>
                <a:lnTo>
                  <a:pt x="535341" y="14374"/>
                </a:lnTo>
                <a:lnTo>
                  <a:pt x="535341" y="49907"/>
                </a:lnTo>
                <a:lnTo>
                  <a:pt x="578978" y="49907"/>
                </a:lnTo>
                <a:lnTo>
                  <a:pt x="578978" y="62601"/>
                </a:lnTo>
                <a:lnTo>
                  <a:pt x="535341" y="62601"/>
                </a:lnTo>
                <a:lnTo>
                  <a:pt x="535341" y="108588"/>
                </a:lnTo>
                <a:lnTo>
                  <a:pt x="521273" y="108588"/>
                </a:lnTo>
                <a:lnTo>
                  <a:pt x="52127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8" name="Полилиния 957">
            <a:extLst>
              <a:ext uri="{FF2B5EF4-FFF2-40B4-BE49-F238E27FC236}">
                <a16:creationId xmlns:a16="http://schemas.microsoft.com/office/drawing/2014/main" id="{98311AA3-E8D0-4332-8B50-5658D9B3040D}"/>
              </a:ext>
            </a:extLst>
          </p:cNvPr>
          <p:cNvSpPr/>
          <p:nvPr userDrawn="1"/>
        </p:nvSpPr>
        <p:spPr>
          <a:xfrm>
            <a:off x="9547358" y="8144980"/>
            <a:ext cx="2557159" cy="726227"/>
          </a:xfrm>
          <a:custGeom>
            <a:avLst/>
            <a:gdLst>
              <a:gd name="connsiteX0" fmla="*/ 2604 w 2191162"/>
              <a:gd name="connsiteY0" fmla="*/ 1622 h 622284"/>
              <a:gd name="connsiteX1" fmla="*/ 2193767 w 2191162"/>
              <a:gd name="connsiteY1" fmla="*/ 1622 h 622284"/>
              <a:gd name="connsiteX2" fmla="*/ 2193767 w 2191162"/>
              <a:gd name="connsiteY2" fmla="*/ 623906 h 622284"/>
              <a:gd name="connsiteX3" fmla="*/ 2604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622"/>
                </a:moveTo>
                <a:lnTo>
                  <a:pt x="2193767" y="1622"/>
                </a:lnTo>
                <a:lnTo>
                  <a:pt x="2193767" y="623906"/>
                </a:lnTo>
                <a:lnTo>
                  <a:pt x="2604" y="623906"/>
                </a:lnTo>
                <a:close/>
              </a:path>
            </a:pathLst>
          </a:custGeom>
          <a:solidFill>
            <a:srgbClr val="4B9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9" name="Полилиния 958">
            <a:extLst>
              <a:ext uri="{FF2B5EF4-FFF2-40B4-BE49-F238E27FC236}">
                <a16:creationId xmlns:a16="http://schemas.microsoft.com/office/drawing/2014/main" id="{2C9E3E78-5C05-15D0-DE2C-A18A5C40020B}"/>
              </a:ext>
            </a:extLst>
          </p:cNvPr>
          <p:cNvSpPr/>
          <p:nvPr userDrawn="1"/>
        </p:nvSpPr>
        <p:spPr>
          <a:xfrm>
            <a:off x="9670565" y="8446726"/>
            <a:ext cx="717747" cy="128468"/>
          </a:xfrm>
          <a:custGeom>
            <a:avLst/>
            <a:gdLst>
              <a:gd name="connsiteX0" fmla="*/ 22099 w 615019"/>
              <a:gd name="connsiteY0" fmla="*/ 108588 h 110081"/>
              <a:gd name="connsiteX1" fmla="*/ 10147 w 615019"/>
              <a:gd name="connsiteY1" fmla="*/ 108588 h 110081"/>
              <a:gd name="connsiteX2" fmla="*/ 16435 w 615019"/>
              <a:gd name="connsiteY2" fmla="*/ 77661 h 110081"/>
              <a:gd name="connsiteX3" fmla="*/ 0 w 615019"/>
              <a:gd name="connsiteY3" fmla="*/ 77661 h 110081"/>
              <a:gd name="connsiteX4" fmla="*/ 0 w 615019"/>
              <a:gd name="connsiteY4" fmla="*/ 67206 h 110081"/>
              <a:gd name="connsiteX5" fmla="*/ 18675 w 615019"/>
              <a:gd name="connsiteY5" fmla="*/ 67206 h 110081"/>
              <a:gd name="connsiteX6" fmla="*/ 24216 w 615019"/>
              <a:gd name="connsiteY6" fmla="*/ 40012 h 110081"/>
              <a:gd name="connsiteX7" fmla="*/ 4047 w 615019"/>
              <a:gd name="connsiteY7" fmla="*/ 40012 h 110081"/>
              <a:gd name="connsiteX8" fmla="*/ 4047 w 615019"/>
              <a:gd name="connsiteY8" fmla="*/ 29559 h 110081"/>
              <a:gd name="connsiteX9" fmla="*/ 26269 w 615019"/>
              <a:gd name="connsiteY9" fmla="*/ 29559 h 110081"/>
              <a:gd name="connsiteX10" fmla="*/ 32121 w 615019"/>
              <a:gd name="connsiteY10" fmla="*/ 1493 h 110081"/>
              <a:gd name="connsiteX11" fmla="*/ 44073 w 615019"/>
              <a:gd name="connsiteY11" fmla="*/ 1493 h 110081"/>
              <a:gd name="connsiteX12" fmla="*/ 38222 w 615019"/>
              <a:gd name="connsiteY12" fmla="*/ 29559 h 110081"/>
              <a:gd name="connsiteX13" fmla="*/ 60630 w 615019"/>
              <a:gd name="connsiteY13" fmla="*/ 29559 h 110081"/>
              <a:gd name="connsiteX14" fmla="*/ 66481 w 615019"/>
              <a:gd name="connsiteY14" fmla="*/ 1493 h 110081"/>
              <a:gd name="connsiteX15" fmla="*/ 78434 w 615019"/>
              <a:gd name="connsiteY15" fmla="*/ 1493 h 110081"/>
              <a:gd name="connsiteX16" fmla="*/ 72583 w 615019"/>
              <a:gd name="connsiteY16" fmla="*/ 29559 h 110081"/>
              <a:gd name="connsiteX17" fmla="*/ 89328 w 615019"/>
              <a:gd name="connsiteY17" fmla="*/ 29559 h 110081"/>
              <a:gd name="connsiteX18" fmla="*/ 89328 w 615019"/>
              <a:gd name="connsiteY18" fmla="*/ 40012 h 110081"/>
              <a:gd name="connsiteX19" fmla="*/ 70529 w 615019"/>
              <a:gd name="connsiteY19" fmla="*/ 40012 h 110081"/>
              <a:gd name="connsiteX20" fmla="*/ 64988 w 615019"/>
              <a:gd name="connsiteY20" fmla="*/ 67206 h 110081"/>
              <a:gd name="connsiteX21" fmla="*/ 85281 w 615019"/>
              <a:gd name="connsiteY21" fmla="*/ 67206 h 110081"/>
              <a:gd name="connsiteX22" fmla="*/ 85281 w 615019"/>
              <a:gd name="connsiteY22" fmla="*/ 77661 h 110081"/>
              <a:gd name="connsiteX23" fmla="*/ 62747 w 615019"/>
              <a:gd name="connsiteY23" fmla="*/ 77661 h 110081"/>
              <a:gd name="connsiteX24" fmla="*/ 56460 w 615019"/>
              <a:gd name="connsiteY24" fmla="*/ 108588 h 110081"/>
              <a:gd name="connsiteX25" fmla="*/ 44509 w 615019"/>
              <a:gd name="connsiteY25" fmla="*/ 108588 h 110081"/>
              <a:gd name="connsiteX26" fmla="*/ 50796 w 615019"/>
              <a:gd name="connsiteY26" fmla="*/ 77661 h 110081"/>
              <a:gd name="connsiteX27" fmla="*/ 28386 w 615019"/>
              <a:gd name="connsiteY27" fmla="*/ 77661 h 110081"/>
              <a:gd name="connsiteX28" fmla="*/ 22099 w 615019"/>
              <a:gd name="connsiteY28" fmla="*/ 108588 h 110081"/>
              <a:gd name="connsiteX29" fmla="*/ 30626 w 615019"/>
              <a:gd name="connsiteY29" fmla="*/ 67206 h 110081"/>
              <a:gd name="connsiteX30" fmla="*/ 53036 w 615019"/>
              <a:gd name="connsiteY30" fmla="*/ 67206 h 110081"/>
              <a:gd name="connsiteX31" fmla="*/ 58577 w 615019"/>
              <a:gd name="connsiteY31" fmla="*/ 40012 h 110081"/>
              <a:gd name="connsiteX32" fmla="*/ 36167 w 615019"/>
              <a:gd name="connsiteY32" fmla="*/ 40012 h 110081"/>
              <a:gd name="connsiteX33" fmla="*/ 30626 w 615019"/>
              <a:gd name="connsiteY33" fmla="*/ 67206 h 110081"/>
              <a:gd name="connsiteX34" fmla="*/ 158797 w 615019"/>
              <a:gd name="connsiteY34" fmla="*/ 108588 h 110081"/>
              <a:gd name="connsiteX35" fmla="*/ 145601 w 615019"/>
              <a:gd name="connsiteY35" fmla="*/ 108588 h 110081"/>
              <a:gd name="connsiteX36" fmla="*/ 145601 w 615019"/>
              <a:gd name="connsiteY36" fmla="*/ 83199 h 110081"/>
              <a:gd name="connsiteX37" fmla="*/ 99287 w 615019"/>
              <a:gd name="connsiteY37" fmla="*/ 83199 h 110081"/>
              <a:gd name="connsiteX38" fmla="*/ 99287 w 615019"/>
              <a:gd name="connsiteY38" fmla="*/ 73927 h 110081"/>
              <a:gd name="connsiteX39" fmla="*/ 141118 w 615019"/>
              <a:gd name="connsiteY39" fmla="*/ 1493 h 110081"/>
              <a:gd name="connsiteX40" fmla="*/ 158797 w 615019"/>
              <a:gd name="connsiteY40" fmla="*/ 1493 h 110081"/>
              <a:gd name="connsiteX41" fmla="*/ 158797 w 615019"/>
              <a:gd name="connsiteY41" fmla="*/ 71873 h 110081"/>
              <a:gd name="connsiteX42" fmla="*/ 173239 w 615019"/>
              <a:gd name="connsiteY42" fmla="*/ 71873 h 110081"/>
              <a:gd name="connsiteX43" fmla="*/ 173239 w 615019"/>
              <a:gd name="connsiteY43" fmla="*/ 83199 h 110081"/>
              <a:gd name="connsiteX44" fmla="*/ 158797 w 615019"/>
              <a:gd name="connsiteY44" fmla="*/ 83199 h 110081"/>
              <a:gd name="connsiteX45" fmla="*/ 158797 w 615019"/>
              <a:gd name="connsiteY45" fmla="*/ 108588 h 110081"/>
              <a:gd name="connsiteX46" fmla="*/ 112920 w 615019"/>
              <a:gd name="connsiteY46" fmla="*/ 71873 h 110081"/>
              <a:gd name="connsiteX47" fmla="*/ 145601 w 615019"/>
              <a:gd name="connsiteY47" fmla="*/ 71873 h 110081"/>
              <a:gd name="connsiteX48" fmla="*/ 145601 w 615019"/>
              <a:gd name="connsiteY48" fmla="*/ 16117 h 110081"/>
              <a:gd name="connsiteX49" fmla="*/ 112920 w 615019"/>
              <a:gd name="connsiteY49" fmla="*/ 71873 h 110081"/>
              <a:gd name="connsiteX50" fmla="*/ 189984 w 615019"/>
              <a:gd name="connsiteY50" fmla="*/ 1493 h 110081"/>
              <a:gd name="connsiteX51" fmla="*/ 226276 w 615019"/>
              <a:gd name="connsiteY51" fmla="*/ 1493 h 110081"/>
              <a:gd name="connsiteX52" fmla="*/ 252981 w 615019"/>
              <a:gd name="connsiteY52" fmla="*/ 7467 h 110081"/>
              <a:gd name="connsiteX53" fmla="*/ 262256 w 615019"/>
              <a:gd name="connsiteY53" fmla="*/ 27629 h 110081"/>
              <a:gd name="connsiteX54" fmla="*/ 256465 w 615019"/>
              <a:gd name="connsiteY54" fmla="*/ 45116 h 110081"/>
              <a:gd name="connsiteX55" fmla="*/ 240903 w 615019"/>
              <a:gd name="connsiteY55" fmla="*/ 53018 h 110081"/>
              <a:gd name="connsiteX56" fmla="*/ 259702 w 615019"/>
              <a:gd name="connsiteY56" fmla="*/ 60361 h 110081"/>
              <a:gd name="connsiteX57" fmla="*/ 266177 w 615019"/>
              <a:gd name="connsiteY57" fmla="*/ 77661 h 110081"/>
              <a:gd name="connsiteX58" fmla="*/ 260947 w 615019"/>
              <a:gd name="connsiteY58" fmla="*/ 95583 h 110081"/>
              <a:gd name="connsiteX59" fmla="*/ 246569 w 615019"/>
              <a:gd name="connsiteY59" fmla="*/ 105601 h 110081"/>
              <a:gd name="connsiteX60" fmla="*/ 225964 w 615019"/>
              <a:gd name="connsiteY60" fmla="*/ 108588 h 110081"/>
              <a:gd name="connsiteX61" fmla="*/ 189984 w 615019"/>
              <a:gd name="connsiteY61" fmla="*/ 108588 h 110081"/>
              <a:gd name="connsiteX62" fmla="*/ 189984 w 615019"/>
              <a:gd name="connsiteY62" fmla="*/ 1493 h 110081"/>
              <a:gd name="connsiteX63" fmla="*/ 225216 w 615019"/>
              <a:gd name="connsiteY63" fmla="*/ 47231 h 110081"/>
              <a:gd name="connsiteX64" fmla="*/ 241651 w 615019"/>
              <a:gd name="connsiteY64" fmla="*/ 42751 h 110081"/>
              <a:gd name="connsiteX65" fmla="*/ 248063 w 615019"/>
              <a:gd name="connsiteY65" fmla="*/ 28376 h 110081"/>
              <a:gd name="connsiteX66" fmla="*/ 242397 w 615019"/>
              <a:gd name="connsiteY66" fmla="*/ 17361 h 110081"/>
              <a:gd name="connsiteX67" fmla="*/ 226276 w 615019"/>
              <a:gd name="connsiteY67" fmla="*/ 14374 h 110081"/>
              <a:gd name="connsiteX68" fmla="*/ 203990 w 615019"/>
              <a:gd name="connsiteY68" fmla="*/ 14374 h 110081"/>
              <a:gd name="connsiteX69" fmla="*/ 203990 w 615019"/>
              <a:gd name="connsiteY69" fmla="*/ 47231 h 110081"/>
              <a:gd name="connsiteX70" fmla="*/ 225216 w 615019"/>
              <a:gd name="connsiteY70" fmla="*/ 47231 h 110081"/>
              <a:gd name="connsiteX71" fmla="*/ 225964 w 615019"/>
              <a:gd name="connsiteY71" fmla="*/ 95893 h 110081"/>
              <a:gd name="connsiteX72" fmla="*/ 244327 w 615019"/>
              <a:gd name="connsiteY72" fmla="*/ 92035 h 110081"/>
              <a:gd name="connsiteX73" fmla="*/ 251362 w 615019"/>
              <a:gd name="connsiteY73" fmla="*/ 77972 h 110081"/>
              <a:gd name="connsiteX74" fmla="*/ 244763 w 615019"/>
              <a:gd name="connsiteY74" fmla="*/ 63908 h 110081"/>
              <a:gd name="connsiteX75" fmla="*/ 224345 w 615019"/>
              <a:gd name="connsiteY75" fmla="*/ 59926 h 110081"/>
              <a:gd name="connsiteX76" fmla="*/ 203990 w 615019"/>
              <a:gd name="connsiteY76" fmla="*/ 59926 h 110081"/>
              <a:gd name="connsiteX77" fmla="*/ 203990 w 615019"/>
              <a:gd name="connsiteY77" fmla="*/ 95893 h 110081"/>
              <a:gd name="connsiteX78" fmla="*/ 225964 w 615019"/>
              <a:gd name="connsiteY78" fmla="*/ 95893 h 110081"/>
              <a:gd name="connsiteX79" fmla="*/ 278626 w 615019"/>
              <a:gd name="connsiteY79" fmla="*/ 35844 h 110081"/>
              <a:gd name="connsiteX80" fmla="*/ 283295 w 615019"/>
              <a:gd name="connsiteY80" fmla="*/ 17051 h 110081"/>
              <a:gd name="connsiteX81" fmla="*/ 296119 w 615019"/>
              <a:gd name="connsiteY81" fmla="*/ 4480 h 110081"/>
              <a:gd name="connsiteX82" fmla="*/ 314170 w 615019"/>
              <a:gd name="connsiteY82" fmla="*/ 0 h 110081"/>
              <a:gd name="connsiteX83" fmla="*/ 335833 w 615019"/>
              <a:gd name="connsiteY83" fmla="*/ 5849 h 110081"/>
              <a:gd name="connsiteX84" fmla="*/ 347973 w 615019"/>
              <a:gd name="connsiteY84" fmla="*/ 21842 h 110081"/>
              <a:gd name="connsiteX85" fmla="*/ 351707 w 615019"/>
              <a:gd name="connsiteY85" fmla="*/ 45426 h 110081"/>
              <a:gd name="connsiteX86" fmla="*/ 347038 w 615019"/>
              <a:gd name="connsiteY86" fmla="*/ 80088 h 110081"/>
              <a:gd name="connsiteX87" fmla="*/ 332720 w 615019"/>
              <a:gd name="connsiteY87" fmla="*/ 102303 h 110081"/>
              <a:gd name="connsiteX88" fmla="*/ 308195 w 615019"/>
              <a:gd name="connsiteY88" fmla="*/ 110082 h 110081"/>
              <a:gd name="connsiteX89" fmla="*/ 285225 w 615019"/>
              <a:gd name="connsiteY89" fmla="*/ 104543 h 110081"/>
              <a:gd name="connsiteX90" fmla="*/ 285225 w 615019"/>
              <a:gd name="connsiteY90" fmla="*/ 91413 h 110081"/>
              <a:gd name="connsiteX91" fmla="*/ 308195 w 615019"/>
              <a:gd name="connsiteY91" fmla="*/ 98010 h 110081"/>
              <a:gd name="connsiteX92" fmla="*/ 323757 w 615019"/>
              <a:gd name="connsiteY92" fmla="*/ 92907 h 110081"/>
              <a:gd name="connsiteX93" fmla="*/ 333468 w 615019"/>
              <a:gd name="connsiteY93" fmla="*/ 79154 h 110081"/>
              <a:gd name="connsiteX94" fmla="*/ 337825 w 615019"/>
              <a:gd name="connsiteY94" fmla="*/ 59739 h 110081"/>
              <a:gd name="connsiteX95" fmla="*/ 326745 w 615019"/>
              <a:gd name="connsiteY95" fmla="*/ 68389 h 110081"/>
              <a:gd name="connsiteX96" fmla="*/ 312863 w 615019"/>
              <a:gd name="connsiteY96" fmla="*/ 71127 h 110081"/>
              <a:gd name="connsiteX97" fmla="*/ 295496 w 615019"/>
              <a:gd name="connsiteY97" fmla="*/ 67082 h 110081"/>
              <a:gd name="connsiteX98" fmla="*/ 283108 w 615019"/>
              <a:gd name="connsiteY98" fmla="*/ 55134 h 110081"/>
              <a:gd name="connsiteX99" fmla="*/ 278626 w 615019"/>
              <a:gd name="connsiteY99" fmla="*/ 35844 h 110081"/>
              <a:gd name="connsiteX100" fmla="*/ 314669 w 615019"/>
              <a:gd name="connsiteY100" fmla="*/ 12134 h 110081"/>
              <a:gd name="connsiteX101" fmla="*/ 303900 w 615019"/>
              <a:gd name="connsiteY101" fmla="*/ 14810 h 110081"/>
              <a:gd name="connsiteX102" fmla="*/ 295807 w 615019"/>
              <a:gd name="connsiteY102" fmla="*/ 22589 h 110081"/>
              <a:gd name="connsiteX103" fmla="*/ 292819 w 615019"/>
              <a:gd name="connsiteY103" fmla="*/ 35532 h 110081"/>
              <a:gd name="connsiteX104" fmla="*/ 295807 w 615019"/>
              <a:gd name="connsiteY104" fmla="*/ 48725 h 110081"/>
              <a:gd name="connsiteX105" fmla="*/ 303464 w 615019"/>
              <a:gd name="connsiteY105" fmla="*/ 56752 h 110081"/>
              <a:gd name="connsiteX106" fmla="*/ 313175 w 615019"/>
              <a:gd name="connsiteY106" fmla="*/ 59428 h 110081"/>
              <a:gd name="connsiteX107" fmla="*/ 329608 w 615019"/>
              <a:gd name="connsiteY107" fmla="*/ 53329 h 110081"/>
              <a:gd name="connsiteX108" fmla="*/ 336331 w 615019"/>
              <a:gd name="connsiteY108" fmla="*/ 35283 h 110081"/>
              <a:gd name="connsiteX109" fmla="*/ 330480 w 615019"/>
              <a:gd name="connsiteY109" fmla="*/ 18544 h 110081"/>
              <a:gd name="connsiteX110" fmla="*/ 314669 w 615019"/>
              <a:gd name="connsiteY110" fmla="*/ 12134 h 110081"/>
              <a:gd name="connsiteX111" fmla="*/ 368389 w 615019"/>
              <a:gd name="connsiteY111" fmla="*/ 1493 h 110081"/>
              <a:gd name="connsiteX112" fmla="*/ 404680 w 615019"/>
              <a:gd name="connsiteY112" fmla="*/ 1493 h 110081"/>
              <a:gd name="connsiteX113" fmla="*/ 431448 w 615019"/>
              <a:gd name="connsiteY113" fmla="*/ 7467 h 110081"/>
              <a:gd name="connsiteX114" fmla="*/ 440723 w 615019"/>
              <a:gd name="connsiteY114" fmla="*/ 27629 h 110081"/>
              <a:gd name="connsiteX115" fmla="*/ 434872 w 615019"/>
              <a:gd name="connsiteY115" fmla="*/ 45116 h 110081"/>
              <a:gd name="connsiteX116" fmla="*/ 419372 w 615019"/>
              <a:gd name="connsiteY116" fmla="*/ 53018 h 110081"/>
              <a:gd name="connsiteX117" fmla="*/ 438171 w 615019"/>
              <a:gd name="connsiteY117" fmla="*/ 60361 h 110081"/>
              <a:gd name="connsiteX118" fmla="*/ 444582 w 615019"/>
              <a:gd name="connsiteY118" fmla="*/ 77661 h 110081"/>
              <a:gd name="connsiteX119" fmla="*/ 439354 w 615019"/>
              <a:gd name="connsiteY119" fmla="*/ 95583 h 110081"/>
              <a:gd name="connsiteX120" fmla="*/ 425036 w 615019"/>
              <a:gd name="connsiteY120" fmla="*/ 105601 h 110081"/>
              <a:gd name="connsiteX121" fmla="*/ 404431 w 615019"/>
              <a:gd name="connsiteY121" fmla="*/ 108588 h 110081"/>
              <a:gd name="connsiteX122" fmla="*/ 368389 w 615019"/>
              <a:gd name="connsiteY122" fmla="*/ 108588 h 110081"/>
              <a:gd name="connsiteX123" fmla="*/ 368389 w 615019"/>
              <a:gd name="connsiteY123" fmla="*/ 1493 h 110081"/>
              <a:gd name="connsiteX124" fmla="*/ 403685 w 615019"/>
              <a:gd name="connsiteY124" fmla="*/ 47231 h 110081"/>
              <a:gd name="connsiteX125" fmla="*/ 420118 w 615019"/>
              <a:gd name="connsiteY125" fmla="*/ 42751 h 110081"/>
              <a:gd name="connsiteX126" fmla="*/ 426530 w 615019"/>
              <a:gd name="connsiteY126" fmla="*/ 28376 h 110081"/>
              <a:gd name="connsiteX127" fmla="*/ 420866 w 615019"/>
              <a:gd name="connsiteY127" fmla="*/ 17361 h 110081"/>
              <a:gd name="connsiteX128" fmla="*/ 404680 w 615019"/>
              <a:gd name="connsiteY128" fmla="*/ 14374 h 110081"/>
              <a:gd name="connsiteX129" fmla="*/ 382457 w 615019"/>
              <a:gd name="connsiteY129" fmla="*/ 14374 h 110081"/>
              <a:gd name="connsiteX130" fmla="*/ 382457 w 615019"/>
              <a:gd name="connsiteY130" fmla="*/ 47231 h 110081"/>
              <a:gd name="connsiteX131" fmla="*/ 403685 w 615019"/>
              <a:gd name="connsiteY131" fmla="*/ 47231 h 110081"/>
              <a:gd name="connsiteX132" fmla="*/ 404431 w 615019"/>
              <a:gd name="connsiteY132" fmla="*/ 95893 h 110081"/>
              <a:gd name="connsiteX133" fmla="*/ 422794 w 615019"/>
              <a:gd name="connsiteY133" fmla="*/ 92035 h 110081"/>
              <a:gd name="connsiteX134" fmla="*/ 429829 w 615019"/>
              <a:gd name="connsiteY134" fmla="*/ 77972 h 110081"/>
              <a:gd name="connsiteX135" fmla="*/ 423231 w 615019"/>
              <a:gd name="connsiteY135" fmla="*/ 63908 h 110081"/>
              <a:gd name="connsiteX136" fmla="*/ 402750 w 615019"/>
              <a:gd name="connsiteY136" fmla="*/ 59926 h 110081"/>
              <a:gd name="connsiteX137" fmla="*/ 382457 w 615019"/>
              <a:gd name="connsiteY137" fmla="*/ 59926 h 110081"/>
              <a:gd name="connsiteX138" fmla="*/ 382457 w 615019"/>
              <a:gd name="connsiteY138" fmla="*/ 95893 h 110081"/>
              <a:gd name="connsiteX139" fmla="*/ 404431 w 615019"/>
              <a:gd name="connsiteY139" fmla="*/ 95893 h 110081"/>
              <a:gd name="connsiteX140" fmla="*/ 464689 w 615019"/>
              <a:gd name="connsiteY140" fmla="*/ 1493 h 110081"/>
              <a:gd name="connsiteX141" fmla="*/ 530113 w 615019"/>
              <a:gd name="connsiteY141" fmla="*/ 1493 h 110081"/>
              <a:gd name="connsiteX142" fmla="*/ 530113 w 615019"/>
              <a:gd name="connsiteY142" fmla="*/ 14374 h 110081"/>
              <a:gd name="connsiteX143" fmla="*/ 478758 w 615019"/>
              <a:gd name="connsiteY143" fmla="*/ 14374 h 110081"/>
              <a:gd name="connsiteX144" fmla="*/ 478758 w 615019"/>
              <a:gd name="connsiteY144" fmla="*/ 49907 h 110081"/>
              <a:gd name="connsiteX145" fmla="*/ 522332 w 615019"/>
              <a:gd name="connsiteY145" fmla="*/ 49907 h 110081"/>
              <a:gd name="connsiteX146" fmla="*/ 522332 w 615019"/>
              <a:gd name="connsiteY146" fmla="*/ 62601 h 110081"/>
              <a:gd name="connsiteX147" fmla="*/ 478758 w 615019"/>
              <a:gd name="connsiteY147" fmla="*/ 62601 h 110081"/>
              <a:gd name="connsiteX148" fmla="*/ 478758 w 615019"/>
              <a:gd name="connsiteY148" fmla="*/ 108588 h 110081"/>
              <a:gd name="connsiteX149" fmla="*/ 464689 w 615019"/>
              <a:gd name="connsiteY149" fmla="*/ 108588 h 110081"/>
              <a:gd name="connsiteX150" fmla="*/ 464689 w 615019"/>
              <a:gd name="connsiteY150" fmla="*/ 1493 h 110081"/>
              <a:gd name="connsiteX151" fmla="*/ 549596 w 615019"/>
              <a:gd name="connsiteY151" fmla="*/ 1493 h 110081"/>
              <a:gd name="connsiteX152" fmla="*/ 615020 w 615019"/>
              <a:gd name="connsiteY152" fmla="*/ 1493 h 110081"/>
              <a:gd name="connsiteX153" fmla="*/ 615020 w 615019"/>
              <a:gd name="connsiteY153" fmla="*/ 14374 h 110081"/>
              <a:gd name="connsiteX154" fmla="*/ 563665 w 615019"/>
              <a:gd name="connsiteY154" fmla="*/ 14374 h 110081"/>
              <a:gd name="connsiteX155" fmla="*/ 563665 w 615019"/>
              <a:gd name="connsiteY155" fmla="*/ 49907 h 110081"/>
              <a:gd name="connsiteX156" fmla="*/ 607239 w 615019"/>
              <a:gd name="connsiteY156" fmla="*/ 49907 h 110081"/>
              <a:gd name="connsiteX157" fmla="*/ 607239 w 615019"/>
              <a:gd name="connsiteY157" fmla="*/ 62601 h 110081"/>
              <a:gd name="connsiteX158" fmla="*/ 563665 w 615019"/>
              <a:gd name="connsiteY158" fmla="*/ 62601 h 110081"/>
              <a:gd name="connsiteX159" fmla="*/ 563665 w 615019"/>
              <a:gd name="connsiteY159" fmla="*/ 108588 h 110081"/>
              <a:gd name="connsiteX160" fmla="*/ 549596 w 615019"/>
              <a:gd name="connsiteY160" fmla="*/ 108588 h 110081"/>
              <a:gd name="connsiteX161" fmla="*/ 549596 w 615019"/>
              <a:gd name="connsiteY161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15019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8797" y="108588"/>
                </a:moveTo>
                <a:lnTo>
                  <a:pt x="145601" y="108588"/>
                </a:lnTo>
                <a:lnTo>
                  <a:pt x="145601" y="83199"/>
                </a:lnTo>
                <a:lnTo>
                  <a:pt x="99287" y="83199"/>
                </a:lnTo>
                <a:lnTo>
                  <a:pt x="99287" y="73927"/>
                </a:lnTo>
                <a:lnTo>
                  <a:pt x="141118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1" y="71873"/>
                </a:lnTo>
                <a:lnTo>
                  <a:pt x="145601" y="16117"/>
                </a:lnTo>
                <a:lnTo>
                  <a:pt x="112920" y="71873"/>
                </a:ln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1" y="3484"/>
                  <a:pt x="252981" y="7467"/>
                </a:cubicBezTo>
                <a:cubicBezTo>
                  <a:pt x="259205" y="11450"/>
                  <a:pt x="262256" y="18170"/>
                  <a:pt x="262256" y="27629"/>
                </a:cubicBezTo>
                <a:cubicBezTo>
                  <a:pt x="262256" y="35283"/>
                  <a:pt x="260326" y="41133"/>
                  <a:pt x="256465" y="45116"/>
                </a:cubicBezTo>
                <a:cubicBezTo>
                  <a:pt x="252544" y="48974"/>
                  <a:pt x="247377" y="51649"/>
                  <a:pt x="240903" y="53018"/>
                </a:cubicBezTo>
                <a:cubicBezTo>
                  <a:pt x="249183" y="54014"/>
                  <a:pt x="255470" y="56441"/>
                  <a:pt x="259702" y="60361"/>
                </a:cubicBezTo>
                <a:cubicBezTo>
                  <a:pt x="263999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7" y="95583"/>
                </a:cubicBezTo>
                <a:cubicBezTo>
                  <a:pt x="257462" y="100188"/>
                  <a:pt x="252669" y="103486"/>
                  <a:pt x="246569" y="105601"/>
                </a:cubicBezTo>
                <a:cubicBezTo>
                  <a:pt x="240531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6" y="47231"/>
                </a:moveTo>
                <a:cubicBezTo>
                  <a:pt x="232002" y="47231"/>
                  <a:pt x="237481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7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6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2" y="84755"/>
                  <a:pt x="251362" y="77972"/>
                </a:cubicBezTo>
                <a:cubicBezTo>
                  <a:pt x="251362" y="71189"/>
                  <a:pt x="249183" y="66522"/>
                  <a:pt x="244763" y="63908"/>
                </a:cubicBezTo>
                <a:cubicBezTo>
                  <a:pt x="240531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278626" y="35844"/>
                </a:moveTo>
                <a:cubicBezTo>
                  <a:pt x="278626" y="28687"/>
                  <a:pt x="280183" y="22402"/>
                  <a:pt x="283295" y="17051"/>
                </a:cubicBezTo>
                <a:cubicBezTo>
                  <a:pt x="286470" y="11637"/>
                  <a:pt x="290765" y="7467"/>
                  <a:pt x="296119" y="4480"/>
                </a:cubicBezTo>
                <a:cubicBezTo>
                  <a:pt x="301471" y="1493"/>
                  <a:pt x="307511" y="0"/>
                  <a:pt x="314170" y="0"/>
                </a:cubicBezTo>
                <a:cubicBezTo>
                  <a:pt x="323135" y="0"/>
                  <a:pt x="330356" y="1929"/>
                  <a:pt x="335833" y="5849"/>
                </a:cubicBezTo>
                <a:cubicBezTo>
                  <a:pt x="341436" y="9645"/>
                  <a:pt x="345482" y="14934"/>
                  <a:pt x="347973" y="21842"/>
                </a:cubicBezTo>
                <a:cubicBezTo>
                  <a:pt x="350462" y="28563"/>
                  <a:pt x="351707" y="36466"/>
                  <a:pt x="351707" y="45426"/>
                </a:cubicBezTo>
                <a:cubicBezTo>
                  <a:pt x="351707" y="58868"/>
                  <a:pt x="350150" y="70380"/>
                  <a:pt x="347038" y="80088"/>
                </a:cubicBezTo>
                <a:cubicBezTo>
                  <a:pt x="343988" y="89733"/>
                  <a:pt x="339194" y="97138"/>
                  <a:pt x="332720" y="102303"/>
                </a:cubicBezTo>
                <a:cubicBezTo>
                  <a:pt x="326371" y="107468"/>
                  <a:pt x="318155" y="110082"/>
                  <a:pt x="308195" y="110082"/>
                </a:cubicBezTo>
                <a:cubicBezTo>
                  <a:pt x="299231" y="110082"/>
                  <a:pt x="291575" y="108215"/>
                  <a:pt x="285225" y="104543"/>
                </a:cubicBezTo>
                <a:lnTo>
                  <a:pt x="285225" y="91413"/>
                </a:lnTo>
                <a:cubicBezTo>
                  <a:pt x="292011" y="95769"/>
                  <a:pt x="299667" y="98010"/>
                  <a:pt x="308195" y="98010"/>
                </a:cubicBezTo>
                <a:cubicBezTo>
                  <a:pt x="314420" y="98010"/>
                  <a:pt x="319587" y="96267"/>
                  <a:pt x="323757" y="92907"/>
                </a:cubicBezTo>
                <a:cubicBezTo>
                  <a:pt x="327927" y="89546"/>
                  <a:pt x="331164" y="84941"/>
                  <a:pt x="333468" y="79154"/>
                </a:cubicBezTo>
                <a:cubicBezTo>
                  <a:pt x="335833" y="73367"/>
                  <a:pt x="337327" y="66896"/>
                  <a:pt x="337825" y="59739"/>
                </a:cubicBezTo>
                <a:cubicBezTo>
                  <a:pt x="334713" y="63660"/>
                  <a:pt x="331039" y="66522"/>
                  <a:pt x="326745" y="68389"/>
                </a:cubicBezTo>
                <a:cubicBezTo>
                  <a:pt x="322450" y="70193"/>
                  <a:pt x="317844" y="71127"/>
                  <a:pt x="312863" y="71127"/>
                </a:cubicBezTo>
                <a:cubicBezTo>
                  <a:pt x="306451" y="71127"/>
                  <a:pt x="300725" y="69758"/>
                  <a:pt x="295496" y="67082"/>
                </a:cubicBezTo>
                <a:cubicBezTo>
                  <a:pt x="290330" y="64406"/>
                  <a:pt x="286221" y="60424"/>
                  <a:pt x="283108" y="55134"/>
                </a:cubicBezTo>
                <a:cubicBezTo>
                  <a:pt x="280120" y="49845"/>
                  <a:pt x="278626" y="43435"/>
                  <a:pt x="278626" y="35844"/>
                </a:cubicBezTo>
                <a:close/>
                <a:moveTo>
                  <a:pt x="314669" y="12134"/>
                </a:moveTo>
                <a:cubicBezTo>
                  <a:pt x="310871" y="12134"/>
                  <a:pt x="307261" y="13006"/>
                  <a:pt x="303900" y="14810"/>
                </a:cubicBezTo>
                <a:cubicBezTo>
                  <a:pt x="300600" y="16490"/>
                  <a:pt x="297924" y="19104"/>
                  <a:pt x="295807" y="22589"/>
                </a:cubicBezTo>
                <a:cubicBezTo>
                  <a:pt x="293815" y="25949"/>
                  <a:pt x="292819" y="30305"/>
                  <a:pt x="292819" y="35532"/>
                </a:cubicBezTo>
                <a:cubicBezTo>
                  <a:pt x="292819" y="40759"/>
                  <a:pt x="293815" y="45116"/>
                  <a:pt x="295807" y="48725"/>
                </a:cubicBezTo>
                <a:cubicBezTo>
                  <a:pt x="297800" y="52271"/>
                  <a:pt x="300351" y="54947"/>
                  <a:pt x="303464" y="56752"/>
                </a:cubicBezTo>
                <a:cubicBezTo>
                  <a:pt x="306514" y="58556"/>
                  <a:pt x="309751" y="59428"/>
                  <a:pt x="313175" y="59428"/>
                </a:cubicBezTo>
                <a:cubicBezTo>
                  <a:pt x="319711" y="59428"/>
                  <a:pt x="325188" y="57437"/>
                  <a:pt x="329608" y="53329"/>
                </a:cubicBezTo>
                <a:cubicBezTo>
                  <a:pt x="334090" y="49160"/>
                  <a:pt x="336331" y="43124"/>
                  <a:pt x="336331" y="35283"/>
                </a:cubicBezTo>
                <a:cubicBezTo>
                  <a:pt x="336331" y="28313"/>
                  <a:pt x="334339" y="22713"/>
                  <a:pt x="330480" y="18544"/>
                </a:cubicBezTo>
                <a:cubicBezTo>
                  <a:pt x="326620" y="14250"/>
                  <a:pt x="321330" y="12134"/>
                  <a:pt x="314669" y="12134"/>
                </a:cubicBezTo>
                <a:close/>
                <a:moveTo>
                  <a:pt x="368389" y="1493"/>
                </a:moveTo>
                <a:lnTo>
                  <a:pt x="404680" y="1493"/>
                </a:lnTo>
                <a:cubicBezTo>
                  <a:pt x="416446" y="1493"/>
                  <a:pt x="425348" y="3484"/>
                  <a:pt x="431448" y="7467"/>
                </a:cubicBezTo>
                <a:cubicBezTo>
                  <a:pt x="437610" y="11450"/>
                  <a:pt x="440723" y="18170"/>
                  <a:pt x="440723" y="27629"/>
                </a:cubicBezTo>
                <a:cubicBezTo>
                  <a:pt x="440723" y="35283"/>
                  <a:pt x="438793" y="41133"/>
                  <a:pt x="434872" y="45116"/>
                </a:cubicBezTo>
                <a:cubicBezTo>
                  <a:pt x="431012" y="48974"/>
                  <a:pt x="425846" y="51649"/>
                  <a:pt x="419372" y="53018"/>
                </a:cubicBezTo>
                <a:cubicBezTo>
                  <a:pt x="427588" y="54014"/>
                  <a:pt x="433875" y="56441"/>
                  <a:pt x="438171" y="60361"/>
                </a:cubicBezTo>
                <a:cubicBezTo>
                  <a:pt x="442466" y="64157"/>
                  <a:pt x="444582" y="69882"/>
                  <a:pt x="444582" y="77661"/>
                </a:cubicBezTo>
                <a:cubicBezTo>
                  <a:pt x="444582" y="85066"/>
                  <a:pt x="442840" y="91040"/>
                  <a:pt x="439354" y="95583"/>
                </a:cubicBezTo>
                <a:cubicBezTo>
                  <a:pt x="435867" y="100188"/>
                  <a:pt x="431074" y="103486"/>
                  <a:pt x="425036" y="105601"/>
                </a:cubicBezTo>
                <a:cubicBezTo>
                  <a:pt x="418936" y="107592"/>
                  <a:pt x="412088" y="108588"/>
                  <a:pt x="404431" y="108588"/>
                </a:cubicBezTo>
                <a:lnTo>
                  <a:pt x="368389" y="108588"/>
                </a:lnTo>
                <a:lnTo>
                  <a:pt x="368389" y="1493"/>
                </a:lnTo>
                <a:close/>
                <a:moveTo>
                  <a:pt x="403685" y="47231"/>
                </a:moveTo>
                <a:cubicBezTo>
                  <a:pt x="410407" y="47231"/>
                  <a:pt x="415886" y="45738"/>
                  <a:pt x="420118" y="42751"/>
                </a:cubicBezTo>
                <a:cubicBezTo>
                  <a:pt x="424351" y="39639"/>
                  <a:pt x="426530" y="34848"/>
                  <a:pt x="426530" y="28376"/>
                </a:cubicBezTo>
                <a:cubicBezTo>
                  <a:pt x="426530" y="22900"/>
                  <a:pt x="424600" y="19228"/>
                  <a:pt x="420866" y="17361"/>
                </a:cubicBezTo>
                <a:cubicBezTo>
                  <a:pt x="417068" y="15370"/>
                  <a:pt x="411653" y="14374"/>
                  <a:pt x="404680" y="14374"/>
                </a:cubicBezTo>
                <a:lnTo>
                  <a:pt x="382457" y="14374"/>
                </a:lnTo>
                <a:lnTo>
                  <a:pt x="382457" y="47231"/>
                </a:lnTo>
                <a:lnTo>
                  <a:pt x="403685" y="47231"/>
                </a:lnTo>
                <a:close/>
                <a:moveTo>
                  <a:pt x="404431" y="95893"/>
                </a:moveTo>
                <a:cubicBezTo>
                  <a:pt x="411963" y="95893"/>
                  <a:pt x="418126" y="94587"/>
                  <a:pt x="422794" y="92035"/>
                </a:cubicBezTo>
                <a:cubicBezTo>
                  <a:pt x="427463" y="89422"/>
                  <a:pt x="429829" y="84755"/>
                  <a:pt x="429829" y="77972"/>
                </a:cubicBezTo>
                <a:cubicBezTo>
                  <a:pt x="429829" y="71189"/>
                  <a:pt x="427588" y="66522"/>
                  <a:pt x="423231" y="63908"/>
                </a:cubicBezTo>
                <a:cubicBezTo>
                  <a:pt x="418936" y="61233"/>
                  <a:pt x="412150" y="59926"/>
                  <a:pt x="402750" y="59926"/>
                </a:cubicBezTo>
                <a:lnTo>
                  <a:pt x="382457" y="59926"/>
                </a:lnTo>
                <a:lnTo>
                  <a:pt x="382457" y="95893"/>
                </a:lnTo>
                <a:lnTo>
                  <a:pt x="404431" y="95893"/>
                </a:lnTo>
                <a:close/>
                <a:moveTo>
                  <a:pt x="464689" y="1493"/>
                </a:moveTo>
                <a:lnTo>
                  <a:pt x="530113" y="1493"/>
                </a:lnTo>
                <a:lnTo>
                  <a:pt x="530113" y="14374"/>
                </a:lnTo>
                <a:lnTo>
                  <a:pt x="478758" y="14374"/>
                </a:lnTo>
                <a:lnTo>
                  <a:pt x="478758" y="49907"/>
                </a:lnTo>
                <a:lnTo>
                  <a:pt x="522332" y="49907"/>
                </a:lnTo>
                <a:lnTo>
                  <a:pt x="522332" y="62601"/>
                </a:lnTo>
                <a:lnTo>
                  <a:pt x="478758" y="62601"/>
                </a:lnTo>
                <a:lnTo>
                  <a:pt x="478758" y="108588"/>
                </a:lnTo>
                <a:lnTo>
                  <a:pt x="464689" y="108588"/>
                </a:lnTo>
                <a:lnTo>
                  <a:pt x="464689" y="1493"/>
                </a:lnTo>
                <a:close/>
                <a:moveTo>
                  <a:pt x="549596" y="1493"/>
                </a:moveTo>
                <a:lnTo>
                  <a:pt x="615020" y="1493"/>
                </a:lnTo>
                <a:lnTo>
                  <a:pt x="615020" y="14374"/>
                </a:lnTo>
                <a:lnTo>
                  <a:pt x="563665" y="14374"/>
                </a:lnTo>
                <a:lnTo>
                  <a:pt x="563665" y="49907"/>
                </a:lnTo>
                <a:lnTo>
                  <a:pt x="607239" y="49907"/>
                </a:lnTo>
                <a:lnTo>
                  <a:pt x="607239" y="62601"/>
                </a:lnTo>
                <a:lnTo>
                  <a:pt x="563665" y="62601"/>
                </a:lnTo>
                <a:lnTo>
                  <a:pt x="563665" y="108588"/>
                </a:lnTo>
                <a:lnTo>
                  <a:pt x="549596" y="108588"/>
                </a:lnTo>
                <a:lnTo>
                  <a:pt x="549596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0" name="Полилиния 959">
            <a:extLst>
              <a:ext uri="{FF2B5EF4-FFF2-40B4-BE49-F238E27FC236}">
                <a16:creationId xmlns:a16="http://schemas.microsoft.com/office/drawing/2014/main" id="{6E681353-E29D-5E89-D413-14556BFE4794}"/>
              </a:ext>
            </a:extLst>
          </p:cNvPr>
          <p:cNvSpPr/>
          <p:nvPr userDrawn="1"/>
        </p:nvSpPr>
        <p:spPr>
          <a:xfrm>
            <a:off x="9547358" y="8871205"/>
            <a:ext cx="2557159" cy="726227"/>
          </a:xfrm>
          <a:custGeom>
            <a:avLst/>
            <a:gdLst>
              <a:gd name="connsiteX0" fmla="*/ 2604 w 2191162"/>
              <a:gd name="connsiteY0" fmla="*/ 1722 h 622284"/>
              <a:gd name="connsiteX1" fmla="*/ 2193767 w 2191162"/>
              <a:gd name="connsiteY1" fmla="*/ 1722 h 622284"/>
              <a:gd name="connsiteX2" fmla="*/ 2193767 w 2191162"/>
              <a:gd name="connsiteY2" fmla="*/ 624006 h 622284"/>
              <a:gd name="connsiteX3" fmla="*/ 2604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722"/>
                </a:moveTo>
                <a:lnTo>
                  <a:pt x="2193767" y="1722"/>
                </a:lnTo>
                <a:lnTo>
                  <a:pt x="2193767" y="624006"/>
                </a:lnTo>
                <a:lnTo>
                  <a:pt x="2604" y="624006"/>
                </a:lnTo>
                <a:close/>
              </a:path>
            </a:pathLst>
          </a:custGeom>
          <a:solidFill>
            <a:srgbClr val="82B9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1" name="Полилиния 960">
            <a:extLst>
              <a:ext uri="{FF2B5EF4-FFF2-40B4-BE49-F238E27FC236}">
                <a16:creationId xmlns:a16="http://schemas.microsoft.com/office/drawing/2014/main" id="{7A523B4A-0207-699B-A362-F26222D7BCA0}"/>
              </a:ext>
            </a:extLst>
          </p:cNvPr>
          <p:cNvSpPr/>
          <p:nvPr userDrawn="1"/>
        </p:nvSpPr>
        <p:spPr>
          <a:xfrm>
            <a:off x="9670565" y="9172951"/>
            <a:ext cx="701257" cy="128468"/>
          </a:xfrm>
          <a:custGeom>
            <a:avLst/>
            <a:gdLst>
              <a:gd name="connsiteX0" fmla="*/ 22099 w 600889"/>
              <a:gd name="connsiteY0" fmla="*/ 108588 h 110081"/>
              <a:gd name="connsiteX1" fmla="*/ 10147 w 600889"/>
              <a:gd name="connsiteY1" fmla="*/ 108588 h 110081"/>
              <a:gd name="connsiteX2" fmla="*/ 16435 w 600889"/>
              <a:gd name="connsiteY2" fmla="*/ 77661 h 110081"/>
              <a:gd name="connsiteX3" fmla="*/ 0 w 600889"/>
              <a:gd name="connsiteY3" fmla="*/ 77661 h 110081"/>
              <a:gd name="connsiteX4" fmla="*/ 0 w 600889"/>
              <a:gd name="connsiteY4" fmla="*/ 67206 h 110081"/>
              <a:gd name="connsiteX5" fmla="*/ 18675 w 600889"/>
              <a:gd name="connsiteY5" fmla="*/ 67206 h 110081"/>
              <a:gd name="connsiteX6" fmla="*/ 24216 w 600889"/>
              <a:gd name="connsiteY6" fmla="*/ 40012 h 110081"/>
              <a:gd name="connsiteX7" fmla="*/ 4047 w 600889"/>
              <a:gd name="connsiteY7" fmla="*/ 40012 h 110081"/>
              <a:gd name="connsiteX8" fmla="*/ 4047 w 600889"/>
              <a:gd name="connsiteY8" fmla="*/ 29559 h 110081"/>
              <a:gd name="connsiteX9" fmla="*/ 26269 w 600889"/>
              <a:gd name="connsiteY9" fmla="*/ 29559 h 110081"/>
              <a:gd name="connsiteX10" fmla="*/ 32121 w 600889"/>
              <a:gd name="connsiteY10" fmla="*/ 1493 h 110081"/>
              <a:gd name="connsiteX11" fmla="*/ 44073 w 600889"/>
              <a:gd name="connsiteY11" fmla="*/ 1493 h 110081"/>
              <a:gd name="connsiteX12" fmla="*/ 38222 w 600889"/>
              <a:gd name="connsiteY12" fmla="*/ 29559 h 110081"/>
              <a:gd name="connsiteX13" fmla="*/ 60630 w 600889"/>
              <a:gd name="connsiteY13" fmla="*/ 29559 h 110081"/>
              <a:gd name="connsiteX14" fmla="*/ 66481 w 600889"/>
              <a:gd name="connsiteY14" fmla="*/ 1493 h 110081"/>
              <a:gd name="connsiteX15" fmla="*/ 78434 w 600889"/>
              <a:gd name="connsiteY15" fmla="*/ 1493 h 110081"/>
              <a:gd name="connsiteX16" fmla="*/ 72583 w 600889"/>
              <a:gd name="connsiteY16" fmla="*/ 29559 h 110081"/>
              <a:gd name="connsiteX17" fmla="*/ 89328 w 600889"/>
              <a:gd name="connsiteY17" fmla="*/ 29559 h 110081"/>
              <a:gd name="connsiteX18" fmla="*/ 89328 w 600889"/>
              <a:gd name="connsiteY18" fmla="*/ 40012 h 110081"/>
              <a:gd name="connsiteX19" fmla="*/ 70529 w 600889"/>
              <a:gd name="connsiteY19" fmla="*/ 40012 h 110081"/>
              <a:gd name="connsiteX20" fmla="*/ 64988 w 600889"/>
              <a:gd name="connsiteY20" fmla="*/ 67206 h 110081"/>
              <a:gd name="connsiteX21" fmla="*/ 85281 w 600889"/>
              <a:gd name="connsiteY21" fmla="*/ 67206 h 110081"/>
              <a:gd name="connsiteX22" fmla="*/ 85281 w 600889"/>
              <a:gd name="connsiteY22" fmla="*/ 77661 h 110081"/>
              <a:gd name="connsiteX23" fmla="*/ 62747 w 600889"/>
              <a:gd name="connsiteY23" fmla="*/ 77661 h 110081"/>
              <a:gd name="connsiteX24" fmla="*/ 56460 w 600889"/>
              <a:gd name="connsiteY24" fmla="*/ 108588 h 110081"/>
              <a:gd name="connsiteX25" fmla="*/ 44509 w 600889"/>
              <a:gd name="connsiteY25" fmla="*/ 108588 h 110081"/>
              <a:gd name="connsiteX26" fmla="*/ 50796 w 600889"/>
              <a:gd name="connsiteY26" fmla="*/ 77661 h 110081"/>
              <a:gd name="connsiteX27" fmla="*/ 28386 w 600889"/>
              <a:gd name="connsiteY27" fmla="*/ 77661 h 110081"/>
              <a:gd name="connsiteX28" fmla="*/ 22099 w 600889"/>
              <a:gd name="connsiteY28" fmla="*/ 108588 h 110081"/>
              <a:gd name="connsiteX29" fmla="*/ 30626 w 600889"/>
              <a:gd name="connsiteY29" fmla="*/ 67206 h 110081"/>
              <a:gd name="connsiteX30" fmla="*/ 53036 w 600889"/>
              <a:gd name="connsiteY30" fmla="*/ 67206 h 110081"/>
              <a:gd name="connsiteX31" fmla="*/ 58577 w 600889"/>
              <a:gd name="connsiteY31" fmla="*/ 40012 h 110081"/>
              <a:gd name="connsiteX32" fmla="*/ 36167 w 600889"/>
              <a:gd name="connsiteY32" fmla="*/ 40012 h 110081"/>
              <a:gd name="connsiteX33" fmla="*/ 30626 w 600889"/>
              <a:gd name="connsiteY33" fmla="*/ 67206 h 110081"/>
              <a:gd name="connsiteX34" fmla="*/ 136823 w 600889"/>
              <a:gd name="connsiteY34" fmla="*/ 110082 h 110081"/>
              <a:gd name="connsiteX35" fmla="*/ 118148 w 600889"/>
              <a:gd name="connsiteY35" fmla="*/ 106473 h 110081"/>
              <a:gd name="connsiteX36" fmla="*/ 105449 w 600889"/>
              <a:gd name="connsiteY36" fmla="*/ 96205 h 110081"/>
              <a:gd name="connsiteX37" fmla="*/ 100781 w 600889"/>
              <a:gd name="connsiteY37" fmla="*/ 79777 h 110081"/>
              <a:gd name="connsiteX38" fmla="*/ 106197 w 600889"/>
              <a:gd name="connsiteY38" fmla="*/ 62291 h 110081"/>
              <a:gd name="connsiteX39" fmla="*/ 120949 w 600889"/>
              <a:gd name="connsiteY39" fmla="*/ 51711 h 110081"/>
              <a:gd name="connsiteX40" fmla="*/ 108998 w 600889"/>
              <a:gd name="connsiteY40" fmla="*/ 42564 h 110081"/>
              <a:gd name="connsiteX41" fmla="*/ 104703 w 600889"/>
              <a:gd name="connsiteY41" fmla="*/ 27504 h 110081"/>
              <a:gd name="connsiteX42" fmla="*/ 108873 w 600889"/>
              <a:gd name="connsiteY42" fmla="*/ 12570 h 110081"/>
              <a:gd name="connsiteX43" fmla="*/ 120390 w 600889"/>
              <a:gd name="connsiteY43" fmla="*/ 3298 h 110081"/>
              <a:gd name="connsiteX44" fmla="*/ 136823 w 600889"/>
              <a:gd name="connsiteY44" fmla="*/ 186 h 110081"/>
              <a:gd name="connsiteX45" fmla="*/ 152946 w 600889"/>
              <a:gd name="connsiteY45" fmla="*/ 3298 h 110081"/>
              <a:gd name="connsiteX46" fmla="*/ 164276 w 600889"/>
              <a:gd name="connsiteY46" fmla="*/ 12259 h 110081"/>
              <a:gd name="connsiteX47" fmla="*/ 168633 w 600889"/>
              <a:gd name="connsiteY47" fmla="*/ 27194 h 110081"/>
              <a:gd name="connsiteX48" fmla="*/ 164151 w 600889"/>
              <a:gd name="connsiteY48" fmla="*/ 42439 h 110081"/>
              <a:gd name="connsiteX49" fmla="*/ 152323 w 600889"/>
              <a:gd name="connsiteY49" fmla="*/ 51711 h 110081"/>
              <a:gd name="connsiteX50" fmla="*/ 166703 w 600889"/>
              <a:gd name="connsiteY50" fmla="*/ 61855 h 110081"/>
              <a:gd name="connsiteX51" fmla="*/ 172242 w 600889"/>
              <a:gd name="connsiteY51" fmla="*/ 79341 h 110081"/>
              <a:gd name="connsiteX52" fmla="*/ 167574 w 600889"/>
              <a:gd name="connsiteY52" fmla="*/ 95893 h 110081"/>
              <a:gd name="connsiteX53" fmla="*/ 154876 w 600889"/>
              <a:gd name="connsiteY53" fmla="*/ 106473 h 110081"/>
              <a:gd name="connsiteX54" fmla="*/ 136823 w 600889"/>
              <a:gd name="connsiteY54" fmla="*/ 110082 h 110081"/>
              <a:gd name="connsiteX55" fmla="*/ 136823 w 600889"/>
              <a:gd name="connsiteY55" fmla="*/ 46298 h 110081"/>
              <a:gd name="connsiteX56" fmla="*/ 149834 w 600889"/>
              <a:gd name="connsiteY56" fmla="*/ 41817 h 110081"/>
              <a:gd name="connsiteX57" fmla="*/ 155063 w 600889"/>
              <a:gd name="connsiteY57" fmla="*/ 29122 h 110081"/>
              <a:gd name="connsiteX58" fmla="*/ 149834 w 600889"/>
              <a:gd name="connsiteY58" fmla="*/ 16615 h 110081"/>
              <a:gd name="connsiteX59" fmla="*/ 136823 w 600889"/>
              <a:gd name="connsiteY59" fmla="*/ 11947 h 110081"/>
              <a:gd name="connsiteX60" fmla="*/ 123502 w 600889"/>
              <a:gd name="connsiteY60" fmla="*/ 16615 h 110081"/>
              <a:gd name="connsiteX61" fmla="*/ 118273 w 600889"/>
              <a:gd name="connsiteY61" fmla="*/ 29122 h 110081"/>
              <a:gd name="connsiteX62" fmla="*/ 123502 w 600889"/>
              <a:gd name="connsiteY62" fmla="*/ 41817 h 110081"/>
              <a:gd name="connsiteX63" fmla="*/ 136823 w 600889"/>
              <a:gd name="connsiteY63" fmla="*/ 46298 h 110081"/>
              <a:gd name="connsiteX64" fmla="*/ 136823 w 600889"/>
              <a:gd name="connsiteY64" fmla="*/ 98258 h 110081"/>
              <a:gd name="connsiteX65" fmla="*/ 152198 w 600889"/>
              <a:gd name="connsiteY65" fmla="*/ 92907 h 110081"/>
              <a:gd name="connsiteX66" fmla="*/ 158486 w 600889"/>
              <a:gd name="connsiteY66" fmla="*/ 77536 h 110081"/>
              <a:gd name="connsiteX67" fmla="*/ 152198 w 600889"/>
              <a:gd name="connsiteY67" fmla="*/ 62291 h 110081"/>
              <a:gd name="connsiteX68" fmla="*/ 136823 w 600889"/>
              <a:gd name="connsiteY68" fmla="*/ 56752 h 110081"/>
              <a:gd name="connsiteX69" fmla="*/ 120826 w 600889"/>
              <a:gd name="connsiteY69" fmla="*/ 62291 h 110081"/>
              <a:gd name="connsiteX70" fmla="*/ 114539 w 600889"/>
              <a:gd name="connsiteY70" fmla="*/ 77536 h 110081"/>
              <a:gd name="connsiteX71" fmla="*/ 120826 w 600889"/>
              <a:gd name="connsiteY71" fmla="*/ 92907 h 110081"/>
              <a:gd name="connsiteX72" fmla="*/ 136823 w 600889"/>
              <a:gd name="connsiteY72" fmla="*/ 98258 h 110081"/>
              <a:gd name="connsiteX73" fmla="*/ 252981 w 600889"/>
              <a:gd name="connsiteY73" fmla="*/ 108588 h 110081"/>
              <a:gd name="connsiteX74" fmla="*/ 184754 w 600889"/>
              <a:gd name="connsiteY74" fmla="*/ 108588 h 110081"/>
              <a:gd name="connsiteX75" fmla="*/ 184754 w 600889"/>
              <a:gd name="connsiteY75" fmla="*/ 94400 h 110081"/>
              <a:gd name="connsiteX76" fmla="*/ 210900 w 600889"/>
              <a:gd name="connsiteY76" fmla="*/ 72433 h 110081"/>
              <a:gd name="connsiteX77" fmla="*/ 226835 w 600889"/>
              <a:gd name="connsiteY77" fmla="*/ 56628 h 110081"/>
              <a:gd name="connsiteX78" fmla="*/ 234927 w 600889"/>
              <a:gd name="connsiteY78" fmla="*/ 43933 h 110081"/>
              <a:gd name="connsiteX79" fmla="*/ 237294 w 600889"/>
              <a:gd name="connsiteY79" fmla="*/ 32109 h 110081"/>
              <a:gd name="connsiteX80" fmla="*/ 231815 w 600889"/>
              <a:gd name="connsiteY80" fmla="*/ 17610 h 110081"/>
              <a:gd name="connsiteX81" fmla="*/ 216564 w 600889"/>
              <a:gd name="connsiteY81" fmla="*/ 12383 h 110081"/>
              <a:gd name="connsiteX82" fmla="*/ 187557 w 600889"/>
              <a:gd name="connsiteY82" fmla="*/ 27194 h 110081"/>
              <a:gd name="connsiteX83" fmla="*/ 187557 w 600889"/>
              <a:gd name="connsiteY83" fmla="*/ 12134 h 110081"/>
              <a:gd name="connsiteX84" fmla="*/ 217001 w 600889"/>
              <a:gd name="connsiteY84" fmla="*/ 0 h 110081"/>
              <a:gd name="connsiteX85" fmla="*/ 242397 w 600889"/>
              <a:gd name="connsiteY85" fmla="*/ 8401 h 110081"/>
              <a:gd name="connsiteX86" fmla="*/ 251797 w 600889"/>
              <a:gd name="connsiteY86" fmla="*/ 30803 h 110081"/>
              <a:gd name="connsiteX87" fmla="*/ 249432 w 600889"/>
              <a:gd name="connsiteY87" fmla="*/ 44804 h 110081"/>
              <a:gd name="connsiteX88" fmla="*/ 241339 w 600889"/>
              <a:gd name="connsiteY88" fmla="*/ 58681 h 110081"/>
              <a:gd name="connsiteX89" fmla="*/ 225652 w 600889"/>
              <a:gd name="connsiteY89" fmla="*/ 74860 h 110081"/>
              <a:gd name="connsiteX90" fmla="*/ 200254 w 600889"/>
              <a:gd name="connsiteY90" fmla="*/ 95769 h 110081"/>
              <a:gd name="connsiteX91" fmla="*/ 252981 w 600889"/>
              <a:gd name="connsiteY91" fmla="*/ 95769 h 110081"/>
              <a:gd name="connsiteX92" fmla="*/ 252981 w 600889"/>
              <a:gd name="connsiteY92" fmla="*/ 108588 h 110081"/>
              <a:gd name="connsiteX93" fmla="*/ 272090 w 600889"/>
              <a:gd name="connsiteY93" fmla="*/ 1493 h 110081"/>
              <a:gd name="connsiteX94" fmla="*/ 308382 w 600889"/>
              <a:gd name="connsiteY94" fmla="*/ 1493 h 110081"/>
              <a:gd name="connsiteX95" fmla="*/ 335149 w 600889"/>
              <a:gd name="connsiteY95" fmla="*/ 7467 h 110081"/>
              <a:gd name="connsiteX96" fmla="*/ 344424 w 600889"/>
              <a:gd name="connsiteY96" fmla="*/ 27629 h 110081"/>
              <a:gd name="connsiteX97" fmla="*/ 338573 w 600889"/>
              <a:gd name="connsiteY97" fmla="*/ 45116 h 110081"/>
              <a:gd name="connsiteX98" fmla="*/ 323073 w 600889"/>
              <a:gd name="connsiteY98" fmla="*/ 53018 h 110081"/>
              <a:gd name="connsiteX99" fmla="*/ 341871 w 600889"/>
              <a:gd name="connsiteY99" fmla="*/ 60361 h 110081"/>
              <a:gd name="connsiteX100" fmla="*/ 348283 w 600889"/>
              <a:gd name="connsiteY100" fmla="*/ 77661 h 110081"/>
              <a:gd name="connsiteX101" fmla="*/ 343055 w 600889"/>
              <a:gd name="connsiteY101" fmla="*/ 95583 h 110081"/>
              <a:gd name="connsiteX102" fmla="*/ 328737 w 600889"/>
              <a:gd name="connsiteY102" fmla="*/ 105601 h 110081"/>
              <a:gd name="connsiteX103" fmla="*/ 308132 w 600889"/>
              <a:gd name="connsiteY103" fmla="*/ 108588 h 110081"/>
              <a:gd name="connsiteX104" fmla="*/ 272090 w 600889"/>
              <a:gd name="connsiteY104" fmla="*/ 108588 h 110081"/>
              <a:gd name="connsiteX105" fmla="*/ 272090 w 600889"/>
              <a:gd name="connsiteY105" fmla="*/ 1493 h 110081"/>
              <a:gd name="connsiteX106" fmla="*/ 307386 w 600889"/>
              <a:gd name="connsiteY106" fmla="*/ 47231 h 110081"/>
              <a:gd name="connsiteX107" fmla="*/ 323819 w 600889"/>
              <a:gd name="connsiteY107" fmla="*/ 42751 h 110081"/>
              <a:gd name="connsiteX108" fmla="*/ 330231 w 600889"/>
              <a:gd name="connsiteY108" fmla="*/ 28376 h 110081"/>
              <a:gd name="connsiteX109" fmla="*/ 324567 w 600889"/>
              <a:gd name="connsiteY109" fmla="*/ 17361 h 110081"/>
              <a:gd name="connsiteX110" fmla="*/ 308382 w 600889"/>
              <a:gd name="connsiteY110" fmla="*/ 14374 h 110081"/>
              <a:gd name="connsiteX111" fmla="*/ 286158 w 600889"/>
              <a:gd name="connsiteY111" fmla="*/ 14374 h 110081"/>
              <a:gd name="connsiteX112" fmla="*/ 286158 w 600889"/>
              <a:gd name="connsiteY112" fmla="*/ 47231 h 110081"/>
              <a:gd name="connsiteX113" fmla="*/ 307386 w 600889"/>
              <a:gd name="connsiteY113" fmla="*/ 47231 h 110081"/>
              <a:gd name="connsiteX114" fmla="*/ 308132 w 600889"/>
              <a:gd name="connsiteY114" fmla="*/ 95893 h 110081"/>
              <a:gd name="connsiteX115" fmla="*/ 326495 w 600889"/>
              <a:gd name="connsiteY115" fmla="*/ 92035 h 110081"/>
              <a:gd name="connsiteX116" fmla="*/ 333530 w 600889"/>
              <a:gd name="connsiteY116" fmla="*/ 77972 h 110081"/>
              <a:gd name="connsiteX117" fmla="*/ 326932 w 600889"/>
              <a:gd name="connsiteY117" fmla="*/ 63908 h 110081"/>
              <a:gd name="connsiteX118" fmla="*/ 306451 w 600889"/>
              <a:gd name="connsiteY118" fmla="*/ 59926 h 110081"/>
              <a:gd name="connsiteX119" fmla="*/ 286158 w 600889"/>
              <a:gd name="connsiteY119" fmla="*/ 59926 h 110081"/>
              <a:gd name="connsiteX120" fmla="*/ 286158 w 600889"/>
              <a:gd name="connsiteY120" fmla="*/ 95893 h 110081"/>
              <a:gd name="connsiteX121" fmla="*/ 308132 w 600889"/>
              <a:gd name="connsiteY121" fmla="*/ 95893 h 110081"/>
              <a:gd name="connsiteX122" fmla="*/ 360795 w 600889"/>
              <a:gd name="connsiteY122" fmla="*/ 35844 h 110081"/>
              <a:gd name="connsiteX123" fmla="*/ 365401 w 600889"/>
              <a:gd name="connsiteY123" fmla="*/ 17051 h 110081"/>
              <a:gd name="connsiteX124" fmla="*/ 378287 w 600889"/>
              <a:gd name="connsiteY124" fmla="*/ 4480 h 110081"/>
              <a:gd name="connsiteX125" fmla="*/ 396339 w 600889"/>
              <a:gd name="connsiteY125" fmla="*/ 0 h 110081"/>
              <a:gd name="connsiteX126" fmla="*/ 418003 w 600889"/>
              <a:gd name="connsiteY126" fmla="*/ 5849 h 110081"/>
              <a:gd name="connsiteX127" fmla="*/ 430079 w 600889"/>
              <a:gd name="connsiteY127" fmla="*/ 21842 h 110081"/>
              <a:gd name="connsiteX128" fmla="*/ 433813 w 600889"/>
              <a:gd name="connsiteY128" fmla="*/ 45426 h 110081"/>
              <a:gd name="connsiteX129" fmla="*/ 429206 w 600889"/>
              <a:gd name="connsiteY129" fmla="*/ 80088 h 110081"/>
              <a:gd name="connsiteX130" fmla="*/ 414890 w 600889"/>
              <a:gd name="connsiteY130" fmla="*/ 102303 h 110081"/>
              <a:gd name="connsiteX131" fmla="*/ 390363 w 600889"/>
              <a:gd name="connsiteY131" fmla="*/ 110082 h 110081"/>
              <a:gd name="connsiteX132" fmla="*/ 367331 w 600889"/>
              <a:gd name="connsiteY132" fmla="*/ 104543 h 110081"/>
              <a:gd name="connsiteX133" fmla="*/ 367331 w 600889"/>
              <a:gd name="connsiteY133" fmla="*/ 91413 h 110081"/>
              <a:gd name="connsiteX134" fmla="*/ 390363 w 600889"/>
              <a:gd name="connsiteY134" fmla="*/ 98010 h 110081"/>
              <a:gd name="connsiteX135" fmla="*/ 405925 w 600889"/>
              <a:gd name="connsiteY135" fmla="*/ 92907 h 110081"/>
              <a:gd name="connsiteX136" fmla="*/ 415636 w 600889"/>
              <a:gd name="connsiteY136" fmla="*/ 79154 h 110081"/>
              <a:gd name="connsiteX137" fmla="*/ 419931 w 600889"/>
              <a:gd name="connsiteY137" fmla="*/ 59739 h 110081"/>
              <a:gd name="connsiteX138" fmla="*/ 408913 w 600889"/>
              <a:gd name="connsiteY138" fmla="*/ 68389 h 110081"/>
              <a:gd name="connsiteX139" fmla="*/ 394969 w 600889"/>
              <a:gd name="connsiteY139" fmla="*/ 71127 h 110081"/>
              <a:gd name="connsiteX140" fmla="*/ 377664 w 600889"/>
              <a:gd name="connsiteY140" fmla="*/ 67082 h 110081"/>
              <a:gd name="connsiteX141" fmla="*/ 365276 w 600889"/>
              <a:gd name="connsiteY141" fmla="*/ 55134 h 110081"/>
              <a:gd name="connsiteX142" fmla="*/ 360795 w 600889"/>
              <a:gd name="connsiteY142" fmla="*/ 35844 h 110081"/>
              <a:gd name="connsiteX143" fmla="*/ 396775 w 600889"/>
              <a:gd name="connsiteY143" fmla="*/ 12134 h 110081"/>
              <a:gd name="connsiteX144" fmla="*/ 386006 w 600889"/>
              <a:gd name="connsiteY144" fmla="*/ 14810 h 110081"/>
              <a:gd name="connsiteX145" fmla="*/ 377975 w 600889"/>
              <a:gd name="connsiteY145" fmla="*/ 22589 h 110081"/>
              <a:gd name="connsiteX146" fmla="*/ 374988 w 600889"/>
              <a:gd name="connsiteY146" fmla="*/ 35532 h 110081"/>
              <a:gd name="connsiteX147" fmla="*/ 377975 w 600889"/>
              <a:gd name="connsiteY147" fmla="*/ 48725 h 110081"/>
              <a:gd name="connsiteX148" fmla="*/ 385570 w 600889"/>
              <a:gd name="connsiteY148" fmla="*/ 56752 h 110081"/>
              <a:gd name="connsiteX149" fmla="*/ 395281 w 600889"/>
              <a:gd name="connsiteY149" fmla="*/ 59428 h 110081"/>
              <a:gd name="connsiteX150" fmla="*/ 411715 w 600889"/>
              <a:gd name="connsiteY150" fmla="*/ 53329 h 110081"/>
              <a:gd name="connsiteX151" fmla="*/ 418437 w 600889"/>
              <a:gd name="connsiteY151" fmla="*/ 35283 h 110081"/>
              <a:gd name="connsiteX152" fmla="*/ 412649 w 600889"/>
              <a:gd name="connsiteY152" fmla="*/ 18544 h 110081"/>
              <a:gd name="connsiteX153" fmla="*/ 396775 w 600889"/>
              <a:gd name="connsiteY153" fmla="*/ 12134 h 110081"/>
              <a:gd name="connsiteX154" fmla="*/ 450559 w 600889"/>
              <a:gd name="connsiteY154" fmla="*/ 1493 h 110081"/>
              <a:gd name="connsiteX155" fmla="*/ 515982 w 600889"/>
              <a:gd name="connsiteY155" fmla="*/ 1493 h 110081"/>
              <a:gd name="connsiteX156" fmla="*/ 515982 w 600889"/>
              <a:gd name="connsiteY156" fmla="*/ 14374 h 110081"/>
              <a:gd name="connsiteX157" fmla="*/ 464565 w 600889"/>
              <a:gd name="connsiteY157" fmla="*/ 14374 h 110081"/>
              <a:gd name="connsiteX158" fmla="*/ 464565 w 600889"/>
              <a:gd name="connsiteY158" fmla="*/ 49907 h 110081"/>
              <a:gd name="connsiteX159" fmla="*/ 508201 w 600889"/>
              <a:gd name="connsiteY159" fmla="*/ 49907 h 110081"/>
              <a:gd name="connsiteX160" fmla="*/ 508201 w 600889"/>
              <a:gd name="connsiteY160" fmla="*/ 62601 h 110081"/>
              <a:gd name="connsiteX161" fmla="*/ 464565 w 600889"/>
              <a:gd name="connsiteY161" fmla="*/ 62601 h 110081"/>
              <a:gd name="connsiteX162" fmla="*/ 464565 w 600889"/>
              <a:gd name="connsiteY162" fmla="*/ 108588 h 110081"/>
              <a:gd name="connsiteX163" fmla="*/ 450559 w 600889"/>
              <a:gd name="connsiteY163" fmla="*/ 108588 h 110081"/>
              <a:gd name="connsiteX164" fmla="*/ 450559 w 600889"/>
              <a:gd name="connsiteY164" fmla="*/ 1493 h 110081"/>
              <a:gd name="connsiteX165" fmla="*/ 535466 w 600889"/>
              <a:gd name="connsiteY165" fmla="*/ 1493 h 110081"/>
              <a:gd name="connsiteX166" fmla="*/ 600889 w 600889"/>
              <a:gd name="connsiteY166" fmla="*/ 1493 h 110081"/>
              <a:gd name="connsiteX167" fmla="*/ 600889 w 600889"/>
              <a:gd name="connsiteY167" fmla="*/ 14374 h 110081"/>
              <a:gd name="connsiteX168" fmla="*/ 549472 w 600889"/>
              <a:gd name="connsiteY168" fmla="*/ 14374 h 110081"/>
              <a:gd name="connsiteX169" fmla="*/ 549472 w 600889"/>
              <a:gd name="connsiteY169" fmla="*/ 49907 h 110081"/>
              <a:gd name="connsiteX170" fmla="*/ 593108 w 600889"/>
              <a:gd name="connsiteY170" fmla="*/ 49907 h 110081"/>
              <a:gd name="connsiteX171" fmla="*/ 593108 w 600889"/>
              <a:gd name="connsiteY171" fmla="*/ 62601 h 110081"/>
              <a:gd name="connsiteX172" fmla="*/ 549472 w 600889"/>
              <a:gd name="connsiteY172" fmla="*/ 62601 h 110081"/>
              <a:gd name="connsiteX173" fmla="*/ 549472 w 600889"/>
              <a:gd name="connsiteY173" fmla="*/ 108588 h 110081"/>
              <a:gd name="connsiteX174" fmla="*/ 535466 w 600889"/>
              <a:gd name="connsiteY174" fmla="*/ 108588 h 110081"/>
              <a:gd name="connsiteX175" fmla="*/ 535466 w 600889"/>
              <a:gd name="connsiteY175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600889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2" y="110082"/>
                  <a:pt x="123627" y="108900"/>
                  <a:pt x="118148" y="106473"/>
                </a:cubicBezTo>
                <a:cubicBezTo>
                  <a:pt x="112734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7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1" y="49720"/>
                  <a:pt x="111986" y="46671"/>
                  <a:pt x="108998" y="42564"/>
                </a:cubicBezTo>
                <a:cubicBezTo>
                  <a:pt x="106135" y="38519"/>
                  <a:pt x="104703" y="33479"/>
                  <a:pt x="104703" y="27504"/>
                </a:cubicBezTo>
                <a:cubicBezTo>
                  <a:pt x="104703" y="21593"/>
                  <a:pt x="106072" y="16615"/>
                  <a:pt x="108873" y="12570"/>
                </a:cubicBezTo>
                <a:cubicBezTo>
                  <a:pt x="111674" y="8463"/>
                  <a:pt x="115472" y="5414"/>
                  <a:pt x="120390" y="3298"/>
                </a:cubicBezTo>
                <a:cubicBezTo>
                  <a:pt x="125246" y="1182"/>
                  <a:pt x="130723" y="186"/>
                  <a:pt x="136823" y="186"/>
                </a:cubicBezTo>
                <a:cubicBezTo>
                  <a:pt x="142799" y="186"/>
                  <a:pt x="148153" y="1182"/>
                  <a:pt x="152946" y="3298"/>
                </a:cubicBezTo>
                <a:cubicBezTo>
                  <a:pt x="157739" y="5289"/>
                  <a:pt x="161536" y="8276"/>
                  <a:pt x="164276" y="12259"/>
                </a:cubicBezTo>
                <a:cubicBezTo>
                  <a:pt x="167201" y="16242"/>
                  <a:pt x="168633" y="21219"/>
                  <a:pt x="168633" y="27194"/>
                </a:cubicBezTo>
                <a:cubicBezTo>
                  <a:pt x="168633" y="33292"/>
                  <a:pt x="167139" y="38332"/>
                  <a:pt x="164151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6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6" y="106473"/>
                </a:cubicBezTo>
                <a:cubicBezTo>
                  <a:pt x="149584" y="108900"/>
                  <a:pt x="143609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5" y="46298"/>
                  <a:pt x="146410" y="44804"/>
                  <a:pt x="149834" y="41817"/>
                </a:cubicBezTo>
                <a:cubicBezTo>
                  <a:pt x="153320" y="38768"/>
                  <a:pt x="155063" y="34536"/>
                  <a:pt x="155063" y="29122"/>
                </a:cubicBezTo>
                <a:cubicBezTo>
                  <a:pt x="155063" y="23771"/>
                  <a:pt x="153320" y="19601"/>
                  <a:pt x="149834" y="16615"/>
                </a:cubicBezTo>
                <a:cubicBezTo>
                  <a:pt x="146410" y="13503"/>
                  <a:pt x="142115" y="11947"/>
                  <a:pt x="136823" y="11947"/>
                </a:cubicBezTo>
                <a:cubicBezTo>
                  <a:pt x="131533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3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70" y="89235"/>
                  <a:pt x="158486" y="84071"/>
                  <a:pt x="158486" y="77536"/>
                </a:cubicBezTo>
                <a:cubicBezTo>
                  <a:pt x="158486" y="70940"/>
                  <a:pt x="156370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1" y="58619"/>
                  <a:pt x="120826" y="62291"/>
                </a:cubicBezTo>
                <a:cubicBezTo>
                  <a:pt x="116654" y="65900"/>
                  <a:pt x="114539" y="70940"/>
                  <a:pt x="114539" y="77536"/>
                </a:cubicBezTo>
                <a:cubicBezTo>
                  <a:pt x="114539" y="84071"/>
                  <a:pt x="116654" y="89235"/>
                  <a:pt x="120826" y="92907"/>
                </a:cubicBezTo>
                <a:cubicBezTo>
                  <a:pt x="125121" y="96516"/>
                  <a:pt x="130411" y="98258"/>
                  <a:pt x="136823" y="98258"/>
                </a:cubicBezTo>
                <a:close/>
                <a:moveTo>
                  <a:pt x="252981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5" y="78532"/>
                  <a:pt x="210900" y="72433"/>
                </a:cubicBezTo>
                <a:cubicBezTo>
                  <a:pt x="217747" y="66397"/>
                  <a:pt x="223101" y="61108"/>
                  <a:pt x="226835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4" y="36092"/>
                  <a:pt x="237294" y="32109"/>
                </a:cubicBezTo>
                <a:cubicBezTo>
                  <a:pt x="237294" y="25949"/>
                  <a:pt x="235488" y="21095"/>
                  <a:pt x="231815" y="17610"/>
                </a:cubicBezTo>
                <a:cubicBezTo>
                  <a:pt x="228081" y="14125"/>
                  <a:pt x="223038" y="12383"/>
                  <a:pt x="216564" y="12383"/>
                </a:cubicBezTo>
                <a:cubicBezTo>
                  <a:pt x="206169" y="12383"/>
                  <a:pt x="196520" y="17361"/>
                  <a:pt x="187557" y="27194"/>
                </a:cubicBezTo>
                <a:lnTo>
                  <a:pt x="187557" y="12134"/>
                </a:lnTo>
                <a:cubicBezTo>
                  <a:pt x="195835" y="4044"/>
                  <a:pt x="205671" y="0"/>
                  <a:pt x="217001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2" y="53827"/>
                  <a:pt x="241339" y="58681"/>
                </a:cubicBezTo>
                <a:cubicBezTo>
                  <a:pt x="237543" y="63473"/>
                  <a:pt x="232314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2981" y="95769"/>
                </a:lnTo>
                <a:lnTo>
                  <a:pt x="252981" y="108588"/>
                </a:lnTo>
                <a:close/>
                <a:moveTo>
                  <a:pt x="272090" y="1493"/>
                </a:moveTo>
                <a:lnTo>
                  <a:pt x="308382" y="1493"/>
                </a:lnTo>
                <a:cubicBezTo>
                  <a:pt x="320146" y="1493"/>
                  <a:pt x="329049" y="3484"/>
                  <a:pt x="335149" y="7467"/>
                </a:cubicBezTo>
                <a:cubicBezTo>
                  <a:pt x="341311" y="11450"/>
                  <a:pt x="344424" y="18170"/>
                  <a:pt x="344424" y="27629"/>
                </a:cubicBezTo>
                <a:cubicBezTo>
                  <a:pt x="344424" y="35283"/>
                  <a:pt x="342494" y="41133"/>
                  <a:pt x="338573" y="45116"/>
                </a:cubicBezTo>
                <a:cubicBezTo>
                  <a:pt x="334713" y="48974"/>
                  <a:pt x="329546" y="51649"/>
                  <a:pt x="323073" y="53018"/>
                </a:cubicBezTo>
                <a:cubicBezTo>
                  <a:pt x="331289" y="54014"/>
                  <a:pt x="337576" y="56441"/>
                  <a:pt x="341871" y="60361"/>
                </a:cubicBezTo>
                <a:cubicBezTo>
                  <a:pt x="346167" y="64157"/>
                  <a:pt x="348283" y="69882"/>
                  <a:pt x="348283" y="77661"/>
                </a:cubicBezTo>
                <a:cubicBezTo>
                  <a:pt x="348283" y="85066"/>
                  <a:pt x="346539" y="91040"/>
                  <a:pt x="343055" y="95583"/>
                </a:cubicBezTo>
                <a:cubicBezTo>
                  <a:pt x="339568" y="100188"/>
                  <a:pt x="334775" y="103486"/>
                  <a:pt x="328737" y="105601"/>
                </a:cubicBezTo>
                <a:cubicBezTo>
                  <a:pt x="322637" y="107592"/>
                  <a:pt x="315789" y="108588"/>
                  <a:pt x="308132" y="108588"/>
                </a:cubicBezTo>
                <a:lnTo>
                  <a:pt x="272090" y="108588"/>
                </a:lnTo>
                <a:lnTo>
                  <a:pt x="272090" y="1493"/>
                </a:lnTo>
                <a:close/>
                <a:moveTo>
                  <a:pt x="307386" y="47231"/>
                </a:moveTo>
                <a:cubicBezTo>
                  <a:pt x="314108" y="47231"/>
                  <a:pt x="319587" y="45738"/>
                  <a:pt x="323819" y="42751"/>
                </a:cubicBezTo>
                <a:cubicBezTo>
                  <a:pt x="328052" y="39639"/>
                  <a:pt x="330231" y="34848"/>
                  <a:pt x="330231" y="28376"/>
                </a:cubicBezTo>
                <a:cubicBezTo>
                  <a:pt x="330231" y="22900"/>
                  <a:pt x="328301" y="19228"/>
                  <a:pt x="324567" y="17361"/>
                </a:cubicBezTo>
                <a:cubicBezTo>
                  <a:pt x="320769" y="15370"/>
                  <a:pt x="315354" y="14374"/>
                  <a:pt x="308382" y="14374"/>
                </a:cubicBezTo>
                <a:lnTo>
                  <a:pt x="286158" y="14374"/>
                </a:lnTo>
                <a:lnTo>
                  <a:pt x="286158" y="47231"/>
                </a:lnTo>
                <a:lnTo>
                  <a:pt x="307386" y="47231"/>
                </a:lnTo>
                <a:close/>
                <a:moveTo>
                  <a:pt x="308132" y="95893"/>
                </a:moveTo>
                <a:cubicBezTo>
                  <a:pt x="315664" y="95893"/>
                  <a:pt x="321827" y="94587"/>
                  <a:pt x="326495" y="92035"/>
                </a:cubicBezTo>
                <a:cubicBezTo>
                  <a:pt x="331164" y="89422"/>
                  <a:pt x="333530" y="84755"/>
                  <a:pt x="333530" y="77972"/>
                </a:cubicBezTo>
                <a:cubicBezTo>
                  <a:pt x="333530" y="71189"/>
                  <a:pt x="331289" y="66522"/>
                  <a:pt x="326932" y="63908"/>
                </a:cubicBezTo>
                <a:cubicBezTo>
                  <a:pt x="322637" y="61233"/>
                  <a:pt x="315851" y="59926"/>
                  <a:pt x="306451" y="59926"/>
                </a:cubicBezTo>
                <a:lnTo>
                  <a:pt x="286158" y="59926"/>
                </a:lnTo>
                <a:lnTo>
                  <a:pt x="286158" y="95893"/>
                </a:lnTo>
                <a:lnTo>
                  <a:pt x="308132" y="95893"/>
                </a:lnTo>
                <a:close/>
                <a:moveTo>
                  <a:pt x="360795" y="35844"/>
                </a:moveTo>
                <a:cubicBezTo>
                  <a:pt x="360795" y="28687"/>
                  <a:pt x="362351" y="22402"/>
                  <a:pt x="365401" y="17051"/>
                </a:cubicBezTo>
                <a:cubicBezTo>
                  <a:pt x="368576" y="11637"/>
                  <a:pt x="372872" y="7467"/>
                  <a:pt x="378287" y="4480"/>
                </a:cubicBezTo>
                <a:cubicBezTo>
                  <a:pt x="383641" y="1493"/>
                  <a:pt x="389679" y="0"/>
                  <a:pt x="396339" y="0"/>
                </a:cubicBezTo>
                <a:cubicBezTo>
                  <a:pt x="405304" y="0"/>
                  <a:pt x="412524" y="1929"/>
                  <a:pt x="418003" y="5849"/>
                </a:cubicBezTo>
                <a:cubicBezTo>
                  <a:pt x="423604" y="9645"/>
                  <a:pt x="427588" y="14934"/>
                  <a:pt x="430079" y="21842"/>
                </a:cubicBezTo>
                <a:cubicBezTo>
                  <a:pt x="432568" y="28563"/>
                  <a:pt x="433813" y="36466"/>
                  <a:pt x="433813" y="45426"/>
                </a:cubicBezTo>
                <a:cubicBezTo>
                  <a:pt x="433813" y="58868"/>
                  <a:pt x="432319" y="70380"/>
                  <a:pt x="429206" y="80088"/>
                </a:cubicBezTo>
                <a:cubicBezTo>
                  <a:pt x="426094" y="89733"/>
                  <a:pt x="421363" y="97138"/>
                  <a:pt x="414890" y="102303"/>
                </a:cubicBezTo>
                <a:cubicBezTo>
                  <a:pt x="408478" y="107468"/>
                  <a:pt x="400323" y="110082"/>
                  <a:pt x="390363" y="110082"/>
                </a:cubicBezTo>
                <a:cubicBezTo>
                  <a:pt x="381399" y="110082"/>
                  <a:pt x="373743" y="108215"/>
                  <a:pt x="367331" y="104543"/>
                </a:cubicBezTo>
                <a:lnTo>
                  <a:pt x="367331" y="91413"/>
                </a:lnTo>
                <a:cubicBezTo>
                  <a:pt x="374117" y="95769"/>
                  <a:pt x="381773" y="98010"/>
                  <a:pt x="390363" y="98010"/>
                </a:cubicBezTo>
                <a:cubicBezTo>
                  <a:pt x="396526" y="98010"/>
                  <a:pt x="401693" y="96267"/>
                  <a:pt x="405925" y="92907"/>
                </a:cubicBezTo>
                <a:cubicBezTo>
                  <a:pt x="410097" y="89546"/>
                  <a:pt x="413334" y="84941"/>
                  <a:pt x="415636" y="79154"/>
                </a:cubicBezTo>
                <a:cubicBezTo>
                  <a:pt x="418003" y="73367"/>
                  <a:pt x="419434" y="66896"/>
                  <a:pt x="419931" y="59739"/>
                </a:cubicBezTo>
                <a:cubicBezTo>
                  <a:pt x="416881" y="63660"/>
                  <a:pt x="413147" y="66522"/>
                  <a:pt x="408913" y="68389"/>
                </a:cubicBezTo>
                <a:cubicBezTo>
                  <a:pt x="404618" y="70193"/>
                  <a:pt x="399950" y="71127"/>
                  <a:pt x="394969" y="71127"/>
                </a:cubicBezTo>
                <a:cubicBezTo>
                  <a:pt x="388620" y="71127"/>
                  <a:pt x="382831" y="69758"/>
                  <a:pt x="377664" y="67082"/>
                </a:cubicBezTo>
                <a:cubicBezTo>
                  <a:pt x="372498" y="64406"/>
                  <a:pt x="368327" y="60424"/>
                  <a:pt x="365276" y="55134"/>
                </a:cubicBezTo>
                <a:cubicBezTo>
                  <a:pt x="362289" y="49845"/>
                  <a:pt x="360795" y="43435"/>
                  <a:pt x="360795" y="35844"/>
                </a:cubicBezTo>
                <a:close/>
                <a:moveTo>
                  <a:pt x="396775" y="12134"/>
                </a:moveTo>
                <a:cubicBezTo>
                  <a:pt x="392978" y="12134"/>
                  <a:pt x="389430" y="13006"/>
                  <a:pt x="386006" y="14810"/>
                </a:cubicBezTo>
                <a:cubicBezTo>
                  <a:pt x="382769" y="16490"/>
                  <a:pt x="380030" y="19104"/>
                  <a:pt x="377975" y="22589"/>
                </a:cubicBezTo>
                <a:cubicBezTo>
                  <a:pt x="375985" y="25949"/>
                  <a:pt x="374988" y="30305"/>
                  <a:pt x="374988" y="35532"/>
                </a:cubicBezTo>
                <a:cubicBezTo>
                  <a:pt x="374988" y="40759"/>
                  <a:pt x="375985" y="45116"/>
                  <a:pt x="377975" y="48725"/>
                </a:cubicBezTo>
                <a:cubicBezTo>
                  <a:pt x="379968" y="52271"/>
                  <a:pt x="382519" y="54947"/>
                  <a:pt x="385570" y="56752"/>
                </a:cubicBezTo>
                <a:cubicBezTo>
                  <a:pt x="388682" y="58556"/>
                  <a:pt x="391919" y="59428"/>
                  <a:pt x="395281" y="59428"/>
                </a:cubicBezTo>
                <a:cubicBezTo>
                  <a:pt x="401880" y="59428"/>
                  <a:pt x="407357" y="57437"/>
                  <a:pt x="411715" y="53329"/>
                </a:cubicBezTo>
                <a:cubicBezTo>
                  <a:pt x="416197" y="49160"/>
                  <a:pt x="418437" y="43124"/>
                  <a:pt x="418437" y="35283"/>
                </a:cubicBezTo>
                <a:cubicBezTo>
                  <a:pt x="418437" y="28313"/>
                  <a:pt x="416509" y="22713"/>
                  <a:pt x="412649" y="18544"/>
                </a:cubicBezTo>
                <a:cubicBezTo>
                  <a:pt x="408728" y="14250"/>
                  <a:pt x="403436" y="12134"/>
                  <a:pt x="396775" y="12134"/>
                </a:cubicBezTo>
                <a:close/>
                <a:moveTo>
                  <a:pt x="450559" y="1493"/>
                </a:moveTo>
                <a:lnTo>
                  <a:pt x="515982" y="1493"/>
                </a:lnTo>
                <a:lnTo>
                  <a:pt x="515982" y="14374"/>
                </a:lnTo>
                <a:lnTo>
                  <a:pt x="464565" y="14374"/>
                </a:lnTo>
                <a:lnTo>
                  <a:pt x="464565" y="49907"/>
                </a:lnTo>
                <a:lnTo>
                  <a:pt x="508201" y="49907"/>
                </a:lnTo>
                <a:lnTo>
                  <a:pt x="508201" y="62601"/>
                </a:lnTo>
                <a:lnTo>
                  <a:pt x="464565" y="62601"/>
                </a:lnTo>
                <a:lnTo>
                  <a:pt x="464565" y="108588"/>
                </a:lnTo>
                <a:lnTo>
                  <a:pt x="450559" y="108588"/>
                </a:lnTo>
                <a:lnTo>
                  <a:pt x="450559" y="1493"/>
                </a:lnTo>
                <a:close/>
                <a:moveTo>
                  <a:pt x="535466" y="1493"/>
                </a:moveTo>
                <a:lnTo>
                  <a:pt x="600889" y="1493"/>
                </a:lnTo>
                <a:lnTo>
                  <a:pt x="600889" y="14374"/>
                </a:lnTo>
                <a:lnTo>
                  <a:pt x="549472" y="14374"/>
                </a:lnTo>
                <a:lnTo>
                  <a:pt x="549472" y="49907"/>
                </a:lnTo>
                <a:lnTo>
                  <a:pt x="593108" y="49907"/>
                </a:lnTo>
                <a:lnTo>
                  <a:pt x="593108" y="62601"/>
                </a:lnTo>
                <a:lnTo>
                  <a:pt x="549472" y="62601"/>
                </a:lnTo>
                <a:lnTo>
                  <a:pt x="549472" y="108588"/>
                </a:lnTo>
                <a:lnTo>
                  <a:pt x="535466" y="108588"/>
                </a:lnTo>
                <a:lnTo>
                  <a:pt x="535466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2" name="Полилиния 961">
            <a:extLst>
              <a:ext uri="{FF2B5EF4-FFF2-40B4-BE49-F238E27FC236}">
                <a16:creationId xmlns:a16="http://schemas.microsoft.com/office/drawing/2014/main" id="{C1E626BB-FC96-F4E1-72E8-8A7F32EC0406}"/>
              </a:ext>
            </a:extLst>
          </p:cNvPr>
          <p:cNvSpPr/>
          <p:nvPr userDrawn="1"/>
        </p:nvSpPr>
        <p:spPr>
          <a:xfrm>
            <a:off x="9547358" y="9597431"/>
            <a:ext cx="2557159" cy="726227"/>
          </a:xfrm>
          <a:custGeom>
            <a:avLst/>
            <a:gdLst>
              <a:gd name="connsiteX0" fmla="*/ 2604 w 2191162"/>
              <a:gd name="connsiteY0" fmla="*/ 1822 h 622284"/>
              <a:gd name="connsiteX1" fmla="*/ 2193767 w 2191162"/>
              <a:gd name="connsiteY1" fmla="*/ 1822 h 622284"/>
              <a:gd name="connsiteX2" fmla="*/ 2193767 w 2191162"/>
              <a:gd name="connsiteY2" fmla="*/ 624106 h 622284"/>
              <a:gd name="connsiteX3" fmla="*/ 2604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822"/>
                </a:moveTo>
                <a:lnTo>
                  <a:pt x="2193767" y="1822"/>
                </a:lnTo>
                <a:lnTo>
                  <a:pt x="2193767" y="624106"/>
                </a:lnTo>
                <a:lnTo>
                  <a:pt x="2604" y="624106"/>
                </a:lnTo>
                <a:close/>
              </a:path>
            </a:pathLst>
          </a:custGeom>
          <a:solidFill>
            <a:srgbClr val="B4D7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3" name="Полилиния 962">
            <a:extLst>
              <a:ext uri="{FF2B5EF4-FFF2-40B4-BE49-F238E27FC236}">
                <a16:creationId xmlns:a16="http://schemas.microsoft.com/office/drawing/2014/main" id="{40F916A1-87A8-3E12-02DD-0AEDA93B347D}"/>
              </a:ext>
            </a:extLst>
          </p:cNvPr>
          <p:cNvSpPr/>
          <p:nvPr userDrawn="1"/>
        </p:nvSpPr>
        <p:spPr>
          <a:xfrm>
            <a:off x="9670565" y="9900922"/>
            <a:ext cx="728500" cy="124982"/>
          </a:xfrm>
          <a:custGeom>
            <a:avLst/>
            <a:gdLst>
              <a:gd name="connsiteX0" fmla="*/ 22099 w 624232"/>
              <a:gd name="connsiteY0" fmla="*/ 107095 h 107094"/>
              <a:gd name="connsiteX1" fmla="*/ 10147 w 624232"/>
              <a:gd name="connsiteY1" fmla="*/ 107095 h 107094"/>
              <a:gd name="connsiteX2" fmla="*/ 16435 w 624232"/>
              <a:gd name="connsiteY2" fmla="*/ 76168 h 107094"/>
              <a:gd name="connsiteX3" fmla="*/ 0 w 624232"/>
              <a:gd name="connsiteY3" fmla="*/ 76168 h 107094"/>
              <a:gd name="connsiteX4" fmla="*/ 0 w 624232"/>
              <a:gd name="connsiteY4" fmla="*/ 65713 h 107094"/>
              <a:gd name="connsiteX5" fmla="*/ 18675 w 624232"/>
              <a:gd name="connsiteY5" fmla="*/ 65713 h 107094"/>
              <a:gd name="connsiteX6" fmla="*/ 24216 w 624232"/>
              <a:gd name="connsiteY6" fmla="*/ 38519 h 107094"/>
              <a:gd name="connsiteX7" fmla="*/ 4047 w 624232"/>
              <a:gd name="connsiteY7" fmla="*/ 38519 h 107094"/>
              <a:gd name="connsiteX8" fmla="*/ 4047 w 624232"/>
              <a:gd name="connsiteY8" fmla="*/ 28065 h 107094"/>
              <a:gd name="connsiteX9" fmla="*/ 26269 w 624232"/>
              <a:gd name="connsiteY9" fmla="*/ 28065 h 107094"/>
              <a:gd name="connsiteX10" fmla="*/ 32121 w 624232"/>
              <a:gd name="connsiteY10" fmla="*/ 0 h 107094"/>
              <a:gd name="connsiteX11" fmla="*/ 44073 w 624232"/>
              <a:gd name="connsiteY11" fmla="*/ 0 h 107094"/>
              <a:gd name="connsiteX12" fmla="*/ 38222 w 624232"/>
              <a:gd name="connsiteY12" fmla="*/ 28065 h 107094"/>
              <a:gd name="connsiteX13" fmla="*/ 60630 w 624232"/>
              <a:gd name="connsiteY13" fmla="*/ 28065 h 107094"/>
              <a:gd name="connsiteX14" fmla="*/ 66481 w 624232"/>
              <a:gd name="connsiteY14" fmla="*/ 0 h 107094"/>
              <a:gd name="connsiteX15" fmla="*/ 78434 w 624232"/>
              <a:gd name="connsiteY15" fmla="*/ 0 h 107094"/>
              <a:gd name="connsiteX16" fmla="*/ 72583 w 624232"/>
              <a:gd name="connsiteY16" fmla="*/ 28065 h 107094"/>
              <a:gd name="connsiteX17" fmla="*/ 89328 w 624232"/>
              <a:gd name="connsiteY17" fmla="*/ 28065 h 107094"/>
              <a:gd name="connsiteX18" fmla="*/ 89328 w 624232"/>
              <a:gd name="connsiteY18" fmla="*/ 38519 h 107094"/>
              <a:gd name="connsiteX19" fmla="*/ 70529 w 624232"/>
              <a:gd name="connsiteY19" fmla="*/ 38519 h 107094"/>
              <a:gd name="connsiteX20" fmla="*/ 64988 w 624232"/>
              <a:gd name="connsiteY20" fmla="*/ 65713 h 107094"/>
              <a:gd name="connsiteX21" fmla="*/ 85281 w 624232"/>
              <a:gd name="connsiteY21" fmla="*/ 65713 h 107094"/>
              <a:gd name="connsiteX22" fmla="*/ 85281 w 624232"/>
              <a:gd name="connsiteY22" fmla="*/ 76168 h 107094"/>
              <a:gd name="connsiteX23" fmla="*/ 62747 w 624232"/>
              <a:gd name="connsiteY23" fmla="*/ 76168 h 107094"/>
              <a:gd name="connsiteX24" fmla="*/ 56460 w 624232"/>
              <a:gd name="connsiteY24" fmla="*/ 107095 h 107094"/>
              <a:gd name="connsiteX25" fmla="*/ 44509 w 624232"/>
              <a:gd name="connsiteY25" fmla="*/ 107095 h 107094"/>
              <a:gd name="connsiteX26" fmla="*/ 50796 w 624232"/>
              <a:gd name="connsiteY26" fmla="*/ 76168 h 107094"/>
              <a:gd name="connsiteX27" fmla="*/ 28386 w 624232"/>
              <a:gd name="connsiteY27" fmla="*/ 76168 h 107094"/>
              <a:gd name="connsiteX28" fmla="*/ 22099 w 624232"/>
              <a:gd name="connsiteY28" fmla="*/ 107095 h 107094"/>
              <a:gd name="connsiteX29" fmla="*/ 30626 w 624232"/>
              <a:gd name="connsiteY29" fmla="*/ 65713 h 107094"/>
              <a:gd name="connsiteX30" fmla="*/ 53036 w 624232"/>
              <a:gd name="connsiteY30" fmla="*/ 65713 h 107094"/>
              <a:gd name="connsiteX31" fmla="*/ 58577 w 624232"/>
              <a:gd name="connsiteY31" fmla="*/ 38519 h 107094"/>
              <a:gd name="connsiteX32" fmla="*/ 36167 w 624232"/>
              <a:gd name="connsiteY32" fmla="*/ 38519 h 107094"/>
              <a:gd name="connsiteX33" fmla="*/ 30626 w 624232"/>
              <a:gd name="connsiteY33" fmla="*/ 65713 h 107094"/>
              <a:gd name="connsiteX34" fmla="*/ 107816 w 624232"/>
              <a:gd name="connsiteY34" fmla="*/ 0 h 107094"/>
              <a:gd name="connsiteX35" fmla="*/ 144107 w 624232"/>
              <a:gd name="connsiteY35" fmla="*/ 0 h 107094"/>
              <a:gd name="connsiteX36" fmla="*/ 170873 w 624232"/>
              <a:gd name="connsiteY36" fmla="*/ 5974 h 107094"/>
              <a:gd name="connsiteX37" fmla="*/ 180148 w 624232"/>
              <a:gd name="connsiteY37" fmla="*/ 26136 h 107094"/>
              <a:gd name="connsiteX38" fmla="*/ 174297 w 624232"/>
              <a:gd name="connsiteY38" fmla="*/ 43622 h 107094"/>
              <a:gd name="connsiteX39" fmla="*/ 158797 w 624232"/>
              <a:gd name="connsiteY39" fmla="*/ 51525 h 107094"/>
              <a:gd name="connsiteX40" fmla="*/ 177596 w 624232"/>
              <a:gd name="connsiteY40" fmla="*/ 58868 h 107094"/>
              <a:gd name="connsiteX41" fmla="*/ 184008 w 624232"/>
              <a:gd name="connsiteY41" fmla="*/ 76168 h 107094"/>
              <a:gd name="connsiteX42" fmla="*/ 178779 w 624232"/>
              <a:gd name="connsiteY42" fmla="*/ 94089 h 107094"/>
              <a:gd name="connsiteX43" fmla="*/ 164461 w 624232"/>
              <a:gd name="connsiteY43" fmla="*/ 104108 h 107094"/>
              <a:gd name="connsiteX44" fmla="*/ 143858 w 624232"/>
              <a:gd name="connsiteY44" fmla="*/ 107095 h 107094"/>
              <a:gd name="connsiteX45" fmla="*/ 107816 w 624232"/>
              <a:gd name="connsiteY45" fmla="*/ 107095 h 107094"/>
              <a:gd name="connsiteX46" fmla="*/ 107816 w 624232"/>
              <a:gd name="connsiteY46" fmla="*/ 0 h 107094"/>
              <a:gd name="connsiteX47" fmla="*/ 143110 w 624232"/>
              <a:gd name="connsiteY47" fmla="*/ 45738 h 107094"/>
              <a:gd name="connsiteX48" fmla="*/ 159545 w 624232"/>
              <a:gd name="connsiteY48" fmla="*/ 41257 h 107094"/>
              <a:gd name="connsiteX49" fmla="*/ 165957 w 624232"/>
              <a:gd name="connsiteY49" fmla="*/ 26882 h 107094"/>
              <a:gd name="connsiteX50" fmla="*/ 160291 w 624232"/>
              <a:gd name="connsiteY50" fmla="*/ 15868 h 107094"/>
              <a:gd name="connsiteX51" fmla="*/ 144107 w 624232"/>
              <a:gd name="connsiteY51" fmla="*/ 12881 h 107094"/>
              <a:gd name="connsiteX52" fmla="*/ 121884 w 624232"/>
              <a:gd name="connsiteY52" fmla="*/ 12881 h 107094"/>
              <a:gd name="connsiteX53" fmla="*/ 121884 w 624232"/>
              <a:gd name="connsiteY53" fmla="*/ 45738 h 107094"/>
              <a:gd name="connsiteX54" fmla="*/ 143110 w 624232"/>
              <a:gd name="connsiteY54" fmla="*/ 45738 h 107094"/>
              <a:gd name="connsiteX55" fmla="*/ 143858 w 624232"/>
              <a:gd name="connsiteY55" fmla="*/ 94400 h 107094"/>
              <a:gd name="connsiteX56" fmla="*/ 162221 w 624232"/>
              <a:gd name="connsiteY56" fmla="*/ 90542 h 107094"/>
              <a:gd name="connsiteX57" fmla="*/ 169255 w 624232"/>
              <a:gd name="connsiteY57" fmla="*/ 76478 h 107094"/>
              <a:gd name="connsiteX58" fmla="*/ 162657 w 624232"/>
              <a:gd name="connsiteY58" fmla="*/ 62415 h 107094"/>
              <a:gd name="connsiteX59" fmla="*/ 142177 w 624232"/>
              <a:gd name="connsiteY59" fmla="*/ 58433 h 107094"/>
              <a:gd name="connsiteX60" fmla="*/ 121884 w 624232"/>
              <a:gd name="connsiteY60" fmla="*/ 58433 h 107094"/>
              <a:gd name="connsiteX61" fmla="*/ 121884 w 624232"/>
              <a:gd name="connsiteY61" fmla="*/ 94400 h 107094"/>
              <a:gd name="connsiteX62" fmla="*/ 143858 w 624232"/>
              <a:gd name="connsiteY62" fmla="*/ 94400 h 107094"/>
              <a:gd name="connsiteX63" fmla="*/ 255034 w 624232"/>
              <a:gd name="connsiteY63" fmla="*/ 107095 h 107094"/>
              <a:gd name="connsiteX64" fmla="*/ 241900 w 624232"/>
              <a:gd name="connsiteY64" fmla="*/ 107095 h 107094"/>
              <a:gd name="connsiteX65" fmla="*/ 241900 w 624232"/>
              <a:gd name="connsiteY65" fmla="*/ 81706 h 107094"/>
              <a:gd name="connsiteX66" fmla="*/ 195586 w 624232"/>
              <a:gd name="connsiteY66" fmla="*/ 81706 h 107094"/>
              <a:gd name="connsiteX67" fmla="*/ 195586 w 624232"/>
              <a:gd name="connsiteY67" fmla="*/ 72434 h 107094"/>
              <a:gd name="connsiteX68" fmla="*/ 237418 w 624232"/>
              <a:gd name="connsiteY68" fmla="*/ 0 h 107094"/>
              <a:gd name="connsiteX69" fmla="*/ 255034 w 624232"/>
              <a:gd name="connsiteY69" fmla="*/ 0 h 107094"/>
              <a:gd name="connsiteX70" fmla="*/ 255034 w 624232"/>
              <a:gd name="connsiteY70" fmla="*/ 70380 h 107094"/>
              <a:gd name="connsiteX71" fmla="*/ 269538 w 624232"/>
              <a:gd name="connsiteY71" fmla="*/ 70380 h 107094"/>
              <a:gd name="connsiteX72" fmla="*/ 269538 w 624232"/>
              <a:gd name="connsiteY72" fmla="*/ 81706 h 107094"/>
              <a:gd name="connsiteX73" fmla="*/ 255034 w 624232"/>
              <a:gd name="connsiteY73" fmla="*/ 81706 h 107094"/>
              <a:gd name="connsiteX74" fmla="*/ 255034 w 624232"/>
              <a:gd name="connsiteY74" fmla="*/ 107095 h 107094"/>
              <a:gd name="connsiteX75" fmla="*/ 209219 w 624232"/>
              <a:gd name="connsiteY75" fmla="*/ 70380 h 107094"/>
              <a:gd name="connsiteX76" fmla="*/ 241900 w 624232"/>
              <a:gd name="connsiteY76" fmla="*/ 70380 h 107094"/>
              <a:gd name="connsiteX77" fmla="*/ 241900 w 624232"/>
              <a:gd name="connsiteY77" fmla="*/ 14624 h 107094"/>
              <a:gd name="connsiteX78" fmla="*/ 209219 w 624232"/>
              <a:gd name="connsiteY78" fmla="*/ 70380 h 107094"/>
              <a:gd name="connsiteX79" fmla="*/ 286283 w 624232"/>
              <a:gd name="connsiteY79" fmla="*/ 0 h 107094"/>
              <a:gd name="connsiteX80" fmla="*/ 322263 w 624232"/>
              <a:gd name="connsiteY80" fmla="*/ 0 h 107094"/>
              <a:gd name="connsiteX81" fmla="*/ 342307 w 624232"/>
              <a:gd name="connsiteY81" fmla="*/ 2551 h 107094"/>
              <a:gd name="connsiteX82" fmla="*/ 358430 w 624232"/>
              <a:gd name="connsiteY82" fmla="*/ 10890 h 107094"/>
              <a:gd name="connsiteX83" fmla="*/ 369199 w 624232"/>
              <a:gd name="connsiteY83" fmla="*/ 26136 h 107094"/>
              <a:gd name="connsiteX84" fmla="*/ 373058 w 624232"/>
              <a:gd name="connsiteY84" fmla="*/ 49907 h 107094"/>
              <a:gd name="connsiteX85" fmla="*/ 366211 w 624232"/>
              <a:gd name="connsiteY85" fmla="*/ 81581 h 107094"/>
              <a:gd name="connsiteX86" fmla="*/ 347661 w 624232"/>
              <a:gd name="connsiteY86" fmla="*/ 100685 h 107094"/>
              <a:gd name="connsiteX87" fmla="*/ 320644 w 624232"/>
              <a:gd name="connsiteY87" fmla="*/ 107095 h 107094"/>
              <a:gd name="connsiteX88" fmla="*/ 286283 w 624232"/>
              <a:gd name="connsiteY88" fmla="*/ 107095 h 107094"/>
              <a:gd name="connsiteX89" fmla="*/ 286283 w 624232"/>
              <a:gd name="connsiteY89" fmla="*/ 0 h 107094"/>
              <a:gd name="connsiteX90" fmla="*/ 320644 w 624232"/>
              <a:gd name="connsiteY90" fmla="*/ 94400 h 107094"/>
              <a:gd name="connsiteX91" fmla="*/ 340067 w 624232"/>
              <a:gd name="connsiteY91" fmla="*/ 89920 h 107094"/>
              <a:gd name="connsiteX92" fmla="*/ 353014 w 624232"/>
              <a:gd name="connsiteY92" fmla="*/ 75732 h 107094"/>
              <a:gd name="connsiteX93" fmla="*/ 357807 w 624232"/>
              <a:gd name="connsiteY93" fmla="*/ 50965 h 107094"/>
              <a:gd name="connsiteX94" fmla="*/ 353200 w 624232"/>
              <a:gd name="connsiteY94" fmla="*/ 27629 h 107094"/>
              <a:gd name="connsiteX95" fmla="*/ 340501 w 624232"/>
              <a:gd name="connsiteY95" fmla="*/ 16117 h 107094"/>
              <a:gd name="connsiteX96" fmla="*/ 322263 w 624232"/>
              <a:gd name="connsiteY96" fmla="*/ 12881 h 107094"/>
              <a:gd name="connsiteX97" fmla="*/ 300289 w 624232"/>
              <a:gd name="connsiteY97" fmla="*/ 12881 h 107094"/>
              <a:gd name="connsiteX98" fmla="*/ 300289 w 624232"/>
              <a:gd name="connsiteY98" fmla="*/ 94400 h 107094"/>
              <a:gd name="connsiteX99" fmla="*/ 320644 w 624232"/>
              <a:gd name="connsiteY99" fmla="*/ 94400 h 107094"/>
              <a:gd name="connsiteX100" fmla="*/ 454791 w 624232"/>
              <a:gd name="connsiteY100" fmla="*/ 12134 h 107094"/>
              <a:gd name="connsiteX101" fmla="*/ 409349 w 624232"/>
              <a:gd name="connsiteY101" fmla="*/ 107095 h 107094"/>
              <a:gd name="connsiteX102" fmla="*/ 394722 w 624232"/>
              <a:gd name="connsiteY102" fmla="*/ 107095 h 107094"/>
              <a:gd name="connsiteX103" fmla="*/ 440474 w 624232"/>
              <a:gd name="connsiteY103" fmla="*/ 12881 h 107094"/>
              <a:gd name="connsiteX104" fmla="*/ 385943 w 624232"/>
              <a:gd name="connsiteY104" fmla="*/ 12881 h 107094"/>
              <a:gd name="connsiteX105" fmla="*/ 385943 w 624232"/>
              <a:gd name="connsiteY105" fmla="*/ 0 h 107094"/>
              <a:gd name="connsiteX106" fmla="*/ 454791 w 624232"/>
              <a:gd name="connsiteY106" fmla="*/ 0 h 107094"/>
              <a:gd name="connsiteX107" fmla="*/ 454791 w 624232"/>
              <a:gd name="connsiteY107" fmla="*/ 12134 h 107094"/>
              <a:gd name="connsiteX108" fmla="*/ 473902 w 624232"/>
              <a:gd name="connsiteY108" fmla="*/ 0 h 107094"/>
              <a:gd name="connsiteX109" fmla="*/ 539326 w 624232"/>
              <a:gd name="connsiteY109" fmla="*/ 0 h 107094"/>
              <a:gd name="connsiteX110" fmla="*/ 539326 w 624232"/>
              <a:gd name="connsiteY110" fmla="*/ 12881 h 107094"/>
              <a:gd name="connsiteX111" fmla="*/ 487908 w 624232"/>
              <a:gd name="connsiteY111" fmla="*/ 12881 h 107094"/>
              <a:gd name="connsiteX112" fmla="*/ 487908 w 624232"/>
              <a:gd name="connsiteY112" fmla="*/ 48413 h 107094"/>
              <a:gd name="connsiteX113" fmla="*/ 531545 w 624232"/>
              <a:gd name="connsiteY113" fmla="*/ 48413 h 107094"/>
              <a:gd name="connsiteX114" fmla="*/ 531545 w 624232"/>
              <a:gd name="connsiteY114" fmla="*/ 61108 h 107094"/>
              <a:gd name="connsiteX115" fmla="*/ 487908 w 624232"/>
              <a:gd name="connsiteY115" fmla="*/ 61108 h 107094"/>
              <a:gd name="connsiteX116" fmla="*/ 487908 w 624232"/>
              <a:gd name="connsiteY116" fmla="*/ 107095 h 107094"/>
              <a:gd name="connsiteX117" fmla="*/ 473902 w 624232"/>
              <a:gd name="connsiteY117" fmla="*/ 107095 h 107094"/>
              <a:gd name="connsiteX118" fmla="*/ 473902 w 624232"/>
              <a:gd name="connsiteY118" fmla="*/ 0 h 107094"/>
              <a:gd name="connsiteX119" fmla="*/ 558809 w 624232"/>
              <a:gd name="connsiteY119" fmla="*/ 0 h 107094"/>
              <a:gd name="connsiteX120" fmla="*/ 624233 w 624232"/>
              <a:gd name="connsiteY120" fmla="*/ 0 h 107094"/>
              <a:gd name="connsiteX121" fmla="*/ 624233 w 624232"/>
              <a:gd name="connsiteY121" fmla="*/ 12881 h 107094"/>
              <a:gd name="connsiteX122" fmla="*/ 572815 w 624232"/>
              <a:gd name="connsiteY122" fmla="*/ 12881 h 107094"/>
              <a:gd name="connsiteX123" fmla="*/ 572815 w 624232"/>
              <a:gd name="connsiteY123" fmla="*/ 48413 h 107094"/>
              <a:gd name="connsiteX124" fmla="*/ 616452 w 624232"/>
              <a:gd name="connsiteY124" fmla="*/ 48413 h 107094"/>
              <a:gd name="connsiteX125" fmla="*/ 616452 w 624232"/>
              <a:gd name="connsiteY125" fmla="*/ 61108 h 107094"/>
              <a:gd name="connsiteX126" fmla="*/ 572815 w 624232"/>
              <a:gd name="connsiteY126" fmla="*/ 61108 h 107094"/>
              <a:gd name="connsiteX127" fmla="*/ 572815 w 624232"/>
              <a:gd name="connsiteY127" fmla="*/ 107095 h 107094"/>
              <a:gd name="connsiteX128" fmla="*/ 558809 w 624232"/>
              <a:gd name="connsiteY128" fmla="*/ 107095 h 107094"/>
              <a:gd name="connsiteX129" fmla="*/ 558809 w 624232"/>
              <a:gd name="connsiteY129" fmla="*/ 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624232" h="107094">
                <a:moveTo>
                  <a:pt x="22099" y="107095"/>
                </a:moveTo>
                <a:lnTo>
                  <a:pt x="10147" y="107095"/>
                </a:lnTo>
                <a:lnTo>
                  <a:pt x="16435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6" y="38519"/>
                </a:lnTo>
                <a:lnTo>
                  <a:pt x="4047" y="38519"/>
                </a:lnTo>
                <a:lnTo>
                  <a:pt x="4047" y="28065"/>
                </a:lnTo>
                <a:lnTo>
                  <a:pt x="26269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2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3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9" y="107095"/>
                </a:lnTo>
                <a:lnTo>
                  <a:pt x="50796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7" y="38519"/>
                </a:lnTo>
                <a:lnTo>
                  <a:pt x="36167" y="38519"/>
                </a:lnTo>
                <a:lnTo>
                  <a:pt x="30626" y="65713"/>
                </a:lnTo>
                <a:close/>
                <a:moveTo>
                  <a:pt x="107816" y="0"/>
                </a:moveTo>
                <a:lnTo>
                  <a:pt x="144107" y="0"/>
                </a:lnTo>
                <a:cubicBezTo>
                  <a:pt x="155872" y="0"/>
                  <a:pt x="164773" y="1991"/>
                  <a:pt x="170873" y="5974"/>
                </a:cubicBezTo>
                <a:cubicBezTo>
                  <a:pt x="177036" y="9956"/>
                  <a:pt x="180148" y="16677"/>
                  <a:pt x="180148" y="26136"/>
                </a:cubicBezTo>
                <a:cubicBezTo>
                  <a:pt x="180148" y="33790"/>
                  <a:pt x="178220" y="39639"/>
                  <a:pt x="174297" y="43622"/>
                </a:cubicBezTo>
                <a:cubicBezTo>
                  <a:pt x="170438" y="47480"/>
                  <a:pt x="165271" y="50156"/>
                  <a:pt x="158797" y="51525"/>
                </a:cubicBezTo>
                <a:cubicBezTo>
                  <a:pt x="167014" y="52520"/>
                  <a:pt x="173302" y="54947"/>
                  <a:pt x="177596" y="58868"/>
                </a:cubicBezTo>
                <a:cubicBezTo>
                  <a:pt x="181891" y="62664"/>
                  <a:pt x="184008" y="68389"/>
                  <a:pt x="184008" y="76168"/>
                </a:cubicBezTo>
                <a:cubicBezTo>
                  <a:pt x="184008" y="83572"/>
                  <a:pt x="182265" y="89547"/>
                  <a:pt x="178779" y="94089"/>
                </a:cubicBezTo>
                <a:cubicBezTo>
                  <a:pt x="175294" y="98694"/>
                  <a:pt x="170501" y="101992"/>
                  <a:pt x="164461" y="104108"/>
                </a:cubicBezTo>
                <a:cubicBezTo>
                  <a:pt x="158361" y="106099"/>
                  <a:pt x="151514" y="107095"/>
                  <a:pt x="143858" y="107095"/>
                </a:cubicBezTo>
                <a:lnTo>
                  <a:pt x="107816" y="107095"/>
                </a:lnTo>
                <a:lnTo>
                  <a:pt x="107816" y="0"/>
                </a:lnTo>
                <a:close/>
                <a:moveTo>
                  <a:pt x="143110" y="45738"/>
                </a:moveTo>
                <a:cubicBezTo>
                  <a:pt x="149834" y="45738"/>
                  <a:pt x="155311" y="44244"/>
                  <a:pt x="159545" y="41257"/>
                </a:cubicBezTo>
                <a:cubicBezTo>
                  <a:pt x="163777" y="38146"/>
                  <a:pt x="165957" y="33354"/>
                  <a:pt x="165957" y="26882"/>
                </a:cubicBezTo>
                <a:cubicBezTo>
                  <a:pt x="165957" y="21406"/>
                  <a:pt x="164027" y="17735"/>
                  <a:pt x="160291" y="15868"/>
                </a:cubicBezTo>
                <a:cubicBezTo>
                  <a:pt x="156495" y="13877"/>
                  <a:pt x="151078" y="12881"/>
                  <a:pt x="144107" y="12881"/>
                </a:cubicBezTo>
                <a:lnTo>
                  <a:pt x="121884" y="12881"/>
                </a:lnTo>
                <a:lnTo>
                  <a:pt x="121884" y="45738"/>
                </a:lnTo>
                <a:lnTo>
                  <a:pt x="143110" y="45738"/>
                </a:lnTo>
                <a:close/>
                <a:moveTo>
                  <a:pt x="143858" y="94400"/>
                </a:moveTo>
                <a:cubicBezTo>
                  <a:pt x="151390" y="94400"/>
                  <a:pt x="157552" y="93093"/>
                  <a:pt x="162221" y="90542"/>
                </a:cubicBezTo>
                <a:cubicBezTo>
                  <a:pt x="166890" y="87929"/>
                  <a:pt x="169255" y="83262"/>
                  <a:pt x="169255" y="76478"/>
                </a:cubicBezTo>
                <a:cubicBezTo>
                  <a:pt x="169255" y="69696"/>
                  <a:pt x="167014" y="65028"/>
                  <a:pt x="162657" y="62415"/>
                </a:cubicBezTo>
                <a:cubicBezTo>
                  <a:pt x="158361" y="59739"/>
                  <a:pt x="151577" y="58433"/>
                  <a:pt x="142177" y="58433"/>
                </a:cubicBezTo>
                <a:lnTo>
                  <a:pt x="121884" y="58433"/>
                </a:lnTo>
                <a:lnTo>
                  <a:pt x="121884" y="94400"/>
                </a:lnTo>
                <a:lnTo>
                  <a:pt x="143858" y="94400"/>
                </a:lnTo>
                <a:close/>
                <a:moveTo>
                  <a:pt x="255034" y="107095"/>
                </a:moveTo>
                <a:lnTo>
                  <a:pt x="241900" y="107095"/>
                </a:lnTo>
                <a:lnTo>
                  <a:pt x="241900" y="81706"/>
                </a:lnTo>
                <a:lnTo>
                  <a:pt x="195586" y="81706"/>
                </a:lnTo>
                <a:lnTo>
                  <a:pt x="195586" y="72434"/>
                </a:lnTo>
                <a:lnTo>
                  <a:pt x="237418" y="0"/>
                </a:lnTo>
                <a:lnTo>
                  <a:pt x="255034" y="0"/>
                </a:lnTo>
                <a:lnTo>
                  <a:pt x="255034" y="70380"/>
                </a:lnTo>
                <a:lnTo>
                  <a:pt x="269538" y="70380"/>
                </a:lnTo>
                <a:lnTo>
                  <a:pt x="269538" y="81706"/>
                </a:lnTo>
                <a:lnTo>
                  <a:pt x="255034" y="81706"/>
                </a:lnTo>
                <a:lnTo>
                  <a:pt x="255034" y="107095"/>
                </a:lnTo>
                <a:close/>
                <a:moveTo>
                  <a:pt x="209219" y="70380"/>
                </a:moveTo>
                <a:lnTo>
                  <a:pt x="241900" y="70380"/>
                </a:lnTo>
                <a:lnTo>
                  <a:pt x="241900" y="14624"/>
                </a:lnTo>
                <a:lnTo>
                  <a:pt x="209219" y="70380"/>
                </a:lnTo>
                <a:close/>
                <a:moveTo>
                  <a:pt x="286283" y="0"/>
                </a:moveTo>
                <a:lnTo>
                  <a:pt x="322263" y="0"/>
                </a:lnTo>
                <a:cubicBezTo>
                  <a:pt x="329421" y="0"/>
                  <a:pt x="336082" y="871"/>
                  <a:pt x="342307" y="2551"/>
                </a:cubicBezTo>
                <a:cubicBezTo>
                  <a:pt x="348470" y="4231"/>
                  <a:pt x="353824" y="7032"/>
                  <a:pt x="358430" y="10890"/>
                </a:cubicBezTo>
                <a:cubicBezTo>
                  <a:pt x="362974" y="14686"/>
                  <a:pt x="366585" y="19788"/>
                  <a:pt x="369199" y="26136"/>
                </a:cubicBezTo>
                <a:cubicBezTo>
                  <a:pt x="371751" y="32545"/>
                  <a:pt x="373058" y="40448"/>
                  <a:pt x="373058" y="49907"/>
                </a:cubicBezTo>
                <a:cubicBezTo>
                  <a:pt x="373058" y="62415"/>
                  <a:pt x="370755" y="72994"/>
                  <a:pt x="366211" y="81581"/>
                </a:cubicBezTo>
                <a:cubicBezTo>
                  <a:pt x="361729" y="90044"/>
                  <a:pt x="355504" y="96392"/>
                  <a:pt x="347661" y="100685"/>
                </a:cubicBezTo>
                <a:cubicBezTo>
                  <a:pt x="339818" y="104979"/>
                  <a:pt x="330792" y="107095"/>
                  <a:pt x="320644" y="107095"/>
                </a:cubicBezTo>
                <a:lnTo>
                  <a:pt x="286283" y="107095"/>
                </a:lnTo>
                <a:lnTo>
                  <a:pt x="286283" y="0"/>
                </a:lnTo>
                <a:close/>
                <a:moveTo>
                  <a:pt x="320644" y="94400"/>
                </a:moveTo>
                <a:cubicBezTo>
                  <a:pt x="327989" y="94400"/>
                  <a:pt x="334463" y="92907"/>
                  <a:pt x="340067" y="89920"/>
                </a:cubicBezTo>
                <a:cubicBezTo>
                  <a:pt x="345606" y="86808"/>
                  <a:pt x="349963" y="82079"/>
                  <a:pt x="353014" y="75732"/>
                </a:cubicBezTo>
                <a:cubicBezTo>
                  <a:pt x="356251" y="69260"/>
                  <a:pt x="357807" y="60983"/>
                  <a:pt x="357807" y="50965"/>
                </a:cubicBezTo>
                <a:cubicBezTo>
                  <a:pt x="357807" y="40884"/>
                  <a:pt x="356251" y="33105"/>
                  <a:pt x="353200" y="27629"/>
                </a:cubicBezTo>
                <a:cubicBezTo>
                  <a:pt x="350088" y="22153"/>
                  <a:pt x="345856" y="18357"/>
                  <a:pt x="340501" y="16117"/>
                </a:cubicBezTo>
                <a:cubicBezTo>
                  <a:pt x="335211" y="13939"/>
                  <a:pt x="329111" y="12881"/>
                  <a:pt x="322263" y="12881"/>
                </a:cubicBezTo>
                <a:lnTo>
                  <a:pt x="300289" y="12881"/>
                </a:lnTo>
                <a:lnTo>
                  <a:pt x="300289" y="94400"/>
                </a:lnTo>
                <a:lnTo>
                  <a:pt x="320644" y="94400"/>
                </a:lnTo>
                <a:close/>
                <a:moveTo>
                  <a:pt x="454791" y="12134"/>
                </a:moveTo>
                <a:lnTo>
                  <a:pt x="409349" y="107095"/>
                </a:lnTo>
                <a:lnTo>
                  <a:pt x="394722" y="107095"/>
                </a:lnTo>
                <a:lnTo>
                  <a:pt x="440474" y="12881"/>
                </a:lnTo>
                <a:lnTo>
                  <a:pt x="385943" y="12881"/>
                </a:lnTo>
                <a:lnTo>
                  <a:pt x="385943" y="0"/>
                </a:lnTo>
                <a:lnTo>
                  <a:pt x="454791" y="0"/>
                </a:lnTo>
                <a:lnTo>
                  <a:pt x="454791" y="12134"/>
                </a:lnTo>
                <a:close/>
                <a:moveTo>
                  <a:pt x="473902" y="0"/>
                </a:moveTo>
                <a:lnTo>
                  <a:pt x="539326" y="0"/>
                </a:lnTo>
                <a:lnTo>
                  <a:pt x="539326" y="12881"/>
                </a:lnTo>
                <a:lnTo>
                  <a:pt x="487908" y="12881"/>
                </a:lnTo>
                <a:lnTo>
                  <a:pt x="487908" y="48413"/>
                </a:lnTo>
                <a:lnTo>
                  <a:pt x="531545" y="48413"/>
                </a:lnTo>
                <a:lnTo>
                  <a:pt x="531545" y="61108"/>
                </a:lnTo>
                <a:lnTo>
                  <a:pt x="487908" y="61108"/>
                </a:lnTo>
                <a:lnTo>
                  <a:pt x="487908" y="107095"/>
                </a:lnTo>
                <a:lnTo>
                  <a:pt x="473902" y="107095"/>
                </a:lnTo>
                <a:lnTo>
                  <a:pt x="473902" y="0"/>
                </a:lnTo>
                <a:close/>
                <a:moveTo>
                  <a:pt x="558809" y="0"/>
                </a:moveTo>
                <a:lnTo>
                  <a:pt x="624233" y="0"/>
                </a:lnTo>
                <a:lnTo>
                  <a:pt x="624233" y="12881"/>
                </a:lnTo>
                <a:lnTo>
                  <a:pt x="572815" y="12881"/>
                </a:lnTo>
                <a:lnTo>
                  <a:pt x="572815" y="48413"/>
                </a:lnTo>
                <a:lnTo>
                  <a:pt x="616452" y="48413"/>
                </a:lnTo>
                <a:lnTo>
                  <a:pt x="616452" y="61108"/>
                </a:lnTo>
                <a:lnTo>
                  <a:pt x="572815" y="61108"/>
                </a:lnTo>
                <a:lnTo>
                  <a:pt x="572815" y="107095"/>
                </a:lnTo>
                <a:lnTo>
                  <a:pt x="558809" y="107095"/>
                </a:lnTo>
                <a:lnTo>
                  <a:pt x="558809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4" name="Полилиния 963">
            <a:extLst>
              <a:ext uri="{FF2B5EF4-FFF2-40B4-BE49-F238E27FC236}">
                <a16:creationId xmlns:a16="http://schemas.microsoft.com/office/drawing/2014/main" id="{CAF624B8-FDD0-A520-3872-8B1EB813C741}"/>
              </a:ext>
            </a:extLst>
          </p:cNvPr>
          <p:cNvSpPr/>
          <p:nvPr userDrawn="1"/>
        </p:nvSpPr>
        <p:spPr>
          <a:xfrm>
            <a:off x="9547358" y="10323656"/>
            <a:ext cx="257126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BF5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5" name="Полилиния 964">
            <a:extLst>
              <a:ext uri="{FF2B5EF4-FFF2-40B4-BE49-F238E27FC236}">
                <a16:creationId xmlns:a16="http://schemas.microsoft.com/office/drawing/2014/main" id="{90951562-DF66-3FCD-0B83-47D606DD624D}"/>
              </a:ext>
            </a:extLst>
          </p:cNvPr>
          <p:cNvSpPr/>
          <p:nvPr userDrawn="1"/>
        </p:nvSpPr>
        <p:spPr>
          <a:xfrm>
            <a:off x="9670565" y="10627147"/>
            <a:ext cx="712808" cy="126725"/>
          </a:xfrm>
          <a:custGeom>
            <a:avLst/>
            <a:gdLst>
              <a:gd name="connsiteX0" fmla="*/ 22099 w 610787"/>
              <a:gd name="connsiteY0" fmla="*/ 107095 h 108588"/>
              <a:gd name="connsiteX1" fmla="*/ 10147 w 610787"/>
              <a:gd name="connsiteY1" fmla="*/ 107095 h 108588"/>
              <a:gd name="connsiteX2" fmla="*/ 16435 w 610787"/>
              <a:gd name="connsiteY2" fmla="*/ 76168 h 108588"/>
              <a:gd name="connsiteX3" fmla="*/ 0 w 610787"/>
              <a:gd name="connsiteY3" fmla="*/ 76168 h 108588"/>
              <a:gd name="connsiteX4" fmla="*/ 0 w 610787"/>
              <a:gd name="connsiteY4" fmla="*/ 65713 h 108588"/>
              <a:gd name="connsiteX5" fmla="*/ 18675 w 610787"/>
              <a:gd name="connsiteY5" fmla="*/ 65713 h 108588"/>
              <a:gd name="connsiteX6" fmla="*/ 24216 w 610787"/>
              <a:gd name="connsiteY6" fmla="*/ 38519 h 108588"/>
              <a:gd name="connsiteX7" fmla="*/ 4047 w 610787"/>
              <a:gd name="connsiteY7" fmla="*/ 38519 h 108588"/>
              <a:gd name="connsiteX8" fmla="*/ 4047 w 610787"/>
              <a:gd name="connsiteY8" fmla="*/ 28065 h 108588"/>
              <a:gd name="connsiteX9" fmla="*/ 26269 w 610787"/>
              <a:gd name="connsiteY9" fmla="*/ 28065 h 108588"/>
              <a:gd name="connsiteX10" fmla="*/ 32121 w 610787"/>
              <a:gd name="connsiteY10" fmla="*/ 0 h 108588"/>
              <a:gd name="connsiteX11" fmla="*/ 44073 w 610787"/>
              <a:gd name="connsiteY11" fmla="*/ 0 h 108588"/>
              <a:gd name="connsiteX12" fmla="*/ 38222 w 610787"/>
              <a:gd name="connsiteY12" fmla="*/ 28065 h 108588"/>
              <a:gd name="connsiteX13" fmla="*/ 60630 w 610787"/>
              <a:gd name="connsiteY13" fmla="*/ 28065 h 108588"/>
              <a:gd name="connsiteX14" fmla="*/ 66481 w 610787"/>
              <a:gd name="connsiteY14" fmla="*/ 0 h 108588"/>
              <a:gd name="connsiteX15" fmla="*/ 78434 w 610787"/>
              <a:gd name="connsiteY15" fmla="*/ 0 h 108588"/>
              <a:gd name="connsiteX16" fmla="*/ 72583 w 610787"/>
              <a:gd name="connsiteY16" fmla="*/ 28065 h 108588"/>
              <a:gd name="connsiteX17" fmla="*/ 89328 w 610787"/>
              <a:gd name="connsiteY17" fmla="*/ 28065 h 108588"/>
              <a:gd name="connsiteX18" fmla="*/ 89328 w 610787"/>
              <a:gd name="connsiteY18" fmla="*/ 38519 h 108588"/>
              <a:gd name="connsiteX19" fmla="*/ 70529 w 610787"/>
              <a:gd name="connsiteY19" fmla="*/ 38519 h 108588"/>
              <a:gd name="connsiteX20" fmla="*/ 64988 w 610787"/>
              <a:gd name="connsiteY20" fmla="*/ 65713 h 108588"/>
              <a:gd name="connsiteX21" fmla="*/ 85281 w 610787"/>
              <a:gd name="connsiteY21" fmla="*/ 65713 h 108588"/>
              <a:gd name="connsiteX22" fmla="*/ 85281 w 610787"/>
              <a:gd name="connsiteY22" fmla="*/ 76168 h 108588"/>
              <a:gd name="connsiteX23" fmla="*/ 62747 w 610787"/>
              <a:gd name="connsiteY23" fmla="*/ 76168 h 108588"/>
              <a:gd name="connsiteX24" fmla="*/ 56460 w 610787"/>
              <a:gd name="connsiteY24" fmla="*/ 107095 h 108588"/>
              <a:gd name="connsiteX25" fmla="*/ 44509 w 610787"/>
              <a:gd name="connsiteY25" fmla="*/ 107095 h 108588"/>
              <a:gd name="connsiteX26" fmla="*/ 50796 w 610787"/>
              <a:gd name="connsiteY26" fmla="*/ 76168 h 108588"/>
              <a:gd name="connsiteX27" fmla="*/ 28386 w 610787"/>
              <a:gd name="connsiteY27" fmla="*/ 76168 h 108588"/>
              <a:gd name="connsiteX28" fmla="*/ 22099 w 610787"/>
              <a:gd name="connsiteY28" fmla="*/ 107095 h 108588"/>
              <a:gd name="connsiteX29" fmla="*/ 30626 w 610787"/>
              <a:gd name="connsiteY29" fmla="*/ 65713 h 108588"/>
              <a:gd name="connsiteX30" fmla="*/ 53036 w 610787"/>
              <a:gd name="connsiteY30" fmla="*/ 65713 h 108588"/>
              <a:gd name="connsiteX31" fmla="*/ 58577 w 610787"/>
              <a:gd name="connsiteY31" fmla="*/ 38519 h 108588"/>
              <a:gd name="connsiteX32" fmla="*/ 36167 w 610787"/>
              <a:gd name="connsiteY32" fmla="*/ 38519 h 108588"/>
              <a:gd name="connsiteX33" fmla="*/ 30626 w 610787"/>
              <a:gd name="connsiteY33" fmla="*/ 65713 h 108588"/>
              <a:gd name="connsiteX34" fmla="*/ 107816 w 610787"/>
              <a:gd name="connsiteY34" fmla="*/ 0 h 108588"/>
              <a:gd name="connsiteX35" fmla="*/ 174172 w 610787"/>
              <a:gd name="connsiteY35" fmla="*/ 0 h 108588"/>
              <a:gd name="connsiteX36" fmla="*/ 174172 w 610787"/>
              <a:gd name="connsiteY36" fmla="*/ 12881 h 108588"/>
              <a:gd name="connsiteX37" fmla="*/ 121884 w 610787"/>
              <a:gd name="connsiteY37" fmla="*/ 12881 h 108588"/>
              <a:gd name="connsiteX38" fmla="*/ 121884 w 610787"/>
              <a:gd name="connsiteY38" fmla="*/ 45240 h 108588"/>
              <a:gd name="connsiteX39" fmla="*/ 166267 w 610787"/>
              <a:gd name="connsiteY39" fmla="*/ 45240 h 108588"/>
              <a:gd name="connsiteX40" fmla="*/ 166267 w 610787"/>
              <a:gd name="connsiteY40" fmla="*/ 57934 h 108588"/>
              <a:gd name="connsiteX41" fmla="*/ 121884 w 610787"/>
              <a:gd name="connsiteY41" fmla="*/ 57934 h 108588"/>
              <a:gd name="connsiteX42" fmla="*/ 121884 w 610787"/>
              <a:gd name="connsiteY42" fmla="*/ 94400 h 108588"/>
              <a:gd name="connsiteX43" fmla="*/ 174920 w 610787"/>
              <a:gd name="connsiteY43" fmla="*/ 94400 h 108588"/>
              <a:gd name="connsiteX44" fmla="*/ 174920 w 610787"/>
              <a:gd name="connsiteY44" fmla="*/ 107095 h 108588"/>
              <a:gd name="connsiteX45" fmla="*/ 107816 w 610787"/>
              <a:gd name="connsiteY45" fmla="*/ 107095 h 108588"/>
              <a:gd name="connsiteX46" fmla="*/ 107816 w 610787"/>
              <a:gd name="connsiteY46" fmla="*/ 0 h 108588"/>
              <a:gd name="connsiteX47" fmla="*/ 197142 w 610787"/>
              <a:gd name="connsiteY47" fmla="*/ 0 h 108588"/>
              <a:gd name="connsiteX48" fmla="*/ 233434 w 610787"/>
              <a:gd name="connsiteY48" fmla="*/ 0 h 108588"/>
              <a:gd name="connsiteX49" fmla="*/ 260139 w 610787"/>
              <a:gd name="connsiteY49" fmla="*/ 5974 h 108588"/>
              <a:gd name="connsiteX50" fmla="*/ 269414 w 610787"/>
              <a:gd name="connsiteY50" fmla="*/ 26136 h 108588"/>
              <a:gd name="connsiteX51" fmla="*/ 263625 w 610787"/>
              <a:gd name="connsiteY51" fmla="*/ 43622 h 108588"/>
              <a:gd name="connsiteX52" fmla="*/ 248063 w 610787"/>
              <a:gd name="connsiteY52" fmla="*/ 51525 h 108588"/>
              <a:gd name="connsiteX53" fmla="*/ 266862 w 610787"/>
              <a:gd name="connsiteY53" fmla="*/ 58868 h 108588"/>
              <a:gd name="connsiteX54" fmla="*/ 273336 w 610787"/>
              <a:gd name="connsiteY54" fmla="*/ 76168 h 108588"/>
              <a:gd name="connsiteX55" fmla="*/ 268107 w 610787"/>
              <a:gd name="connsiteY55" fmla="*/ 94089 h 108588"/>
              <a:gd name="connsiteX56" fmla="*/ 253727 w 610787"/>
              <a:gd name="connsiteY56" fmla="*/ 104108 h 108588"/>
              <a:gd name="connsiteX57" fmla="*/ 233122 w 610787"/>
              <a:gd name="connsiteY57" fmla="*/ 107095 h 108588"/>
              <a:gd name="connsiteX58" fmla="*/ 197142 w 610787"/>
              <a:gd name="connsiteY58" fmla="*/ 107095 h 108588"/>
              <a:gd name="connsiteX59" fmla="*/ 197142 w 610787"/>
              <a:gd name="connsiteY59" fmla="*/ 0 h 108588"/>
              <a:gd name="connsiteX60" fmla="*/ 232376 w 610787"/>
              <a:gd name="connsiteY60" fmla="*/ 45738 h 108588"/>
              <a:gd name="connsiteX61" fmla="*/ 248809 w 610787"/>
              <a:gd name="connsiteY61" fmla="*/ 41257 h 108588"/>
              <a:gd name="connsiteX62" fmla="*/ 255221 w 610787"/>
              <a:gd name="connsiteY62" fmla="*/ 26882 h 108588"/>
              <a:gd name="connsiteX63" fmla="*/ 249557 w 610787"/>
              <a:gd name="connsiteY63" fmla="*/ 15868 h 108588"/>
              <a:gd name="connsiteX64" fmla="*/ 233434 w 610787"/>
              <a:gd name="connsiteY64" fmla="*/ 12881 h 108588"/>
              <a:gd name="connsiteX65" fmla="*/ 211148 w 610787"/>
              <a:gd name="connsiteY65" fmla="*/ 12881 h 108588"/>
              <a:gd name="connsiteX66" fmla="*/ 211148 w 610787"/>
              <a:gd name="connsiteY66" fmla="*/ 45738 h 108588"/>
              <a:gd name="connsiteX67" fmla="*/ 232376 w 610787"/>
              <a:gd name="connsiteY67" fmla="*/ 45738 h 108588"/>
              <a:gd name="connsiteX68" fmla="*/ 233122 w 610787"/>
              <a:gd name="connsiteY68" fmla="*/ 94400 h 108588"/>
              <a:gd name="connsiteX69" fmla="*/ 251487 w 610787"/>
              <a:gd name="connsiteY69" fmla="*/ 90542 h 108588"/>
              <a:gd name="connsiteX70" fmla="*/ 258520 w 610787"/>
              <a:gd name="connsiteY70" fmla="*/ 76478 h 108588"/>
              <a:gd name="connsiteX71" fmla="*/ 251921 w 610787"/>
              <a:gd name="connsiteY71" fmla="*/ 62415 h 108588"/>
              <a:gd name="connsiteX72" fmla="*/ 231503 w 610787"/>
              <a:gd name="connsiteY72" fmla="*/ 58433 h 108588"/>
              <a:gd name="connsiteX73" fmla="*/ 211148 w 610787"/>
              <a:gd name="connsiteY73" fmla="*/ 58433 h 108588"/>
              <a:gd name="connsiteX74" fmla="*/ 211148 w 610787"/>
              <a:gd name="connsiteY74" fmla="*/ 94400 h 108588"/>
              <a:gd name="connsiteX75" fmla="*/ 233122 w 610787"/>
              <a:gd name="connsiteY75" fmla="*/ 94400 h 108588"/>
              <a:gd name="connsiteX76" fmla="*/ 293380 w 610787"/>
              <a:gd name="connsiteY76" fmla="*/ 0 h 108588"/>
              <a:gd name="connsiteX77" fmla="*/ 358866 w 610787"/>
              <a:gd name="connsiteY77" fmla="*/ 0 h 108588"/>
              <a:gd name="connsiteX78" fmla="*/ 358866 w 610787"/>
              <a:gd name="connsiteY78" fmla="*/ 12881 h 108588"/>
              <a:gd name="connsiteX79" fmla="*/ 307448 w 610787"/>
              <a:gd name="connsiteY79" fmla="*/ 12881 h 108588"/>
              <a:gd name="connsiteX80" fmla="*/ 307448 w 610787"/>
              <a:gd name="connsiteY80" fmla="*/ 48413 h 108588"/>
              <a:gd name="connsiteX81" fmla="*/ 351085 w 610787"/>
              <a:gd name="connsiteY81" fmla="*/ 48413 h 108588"/>
              <a:gd name="connsiteX82" fmla="*/ 351085 w 610787"/>
              <a:gd name="connsiteY82" fmla="*/ 61108 h 108588"/>
              <a:gd name="connsiteX83" fmla="*/ 307448 w 610787"/>
              <a:gd name="connsiteY83" fmla="*/ 61108 h 108588"/>
              <a:gd name="connsiteX84" fmla="*/ 307448 w 610787"/>
              <a:gd name="connsiteY84" fmla="*/ 107095 h 108588"/>
              <a:gd name="connsiteX85" fmla="*/ 293380 w 610787"/>
              <a:gd name="connsiteY85" fmla="*/ 107095 h 108588"/>
              <a:gd name="connsiteX86" fmla="*/ 293380 w 610787"/>
              <a:gd name="connsiteY86" fmla="*/ 0 h 108588"/>
              <a:gd name="connsiteX87" fmla="*/ 402191 w 610787"/>
              <a:gd name="connsiteY87" fmla="*/ 108588 h 108588"/>
              <a:gd name="connsiteX88" fmla="*/ 373681 w 610787"/>
              <a:gd name="connsiteY88" fmla="*/ 100997 h 108588"/>
              <a:gd name="connsiteX89" fmla="*/ 373681 w 610787"/>
              <a:gd name="connsiteY89" fmla="*/ 86311 h 108588"/>
              <a:gd name="connsiteX90" fmla="*/ 386816 w 610787"/>
              <a:gd name="connsiteY90" fmla="*/ 93965 h 108588"/>
              <a:gd name="connsiteX91" fmla="*/ 402191 w 610787"/>
              <a:gd name="connsiteY91" fmla="*/ 96329 h 108588"/>
              <a:gd name="connsiteX92" fmla="*/ 419247 w 610787"/>
              <a:gd name="connsiteY92" fmla="*/ 89608 h 108588"/>
              <a:gd name="connsiteX93" fmla="*/ 425348 w 610787"/>
              <a:gd name="connsiteY93" fmla="*/ 71998 h 108588"/>
              <a:gd name="connsiteX94" fmla="*/ 419372 w 610787"/>
              <a:gd name="connsiteY94" fmla="*/ 54947 h 108588"/>
              <a:gd name="connsiteX95" fmla="*/ 404307 w 610787"/>
              <a:gd name="connsiteY95" fmla="*/ 49596 h 108588"/>
              <a:gd name="connsiteX96" fmla="*/ 393725 w 610787"/>
              <a:gd name="connsiteY96" fmla="*/ 51836 h 108588"/>
              <a:gd name="connsiteX97" fmla="*/ 387562 w 610787"/>
              <a:gd name="connsiteY97" fmla="*/ 56316 h 108588"/>
              <a:gd name="connsiteX98" fmla="*/ 376668 w 610787"/>
              <a:gd name="connsiteY98" fmla="*/ 56316 h 108588"/>
              <a:gd name="connsiteX99" fmla="*/ 376668 w 610787"/>
              <a:gd name="connsiteY99" fmla="*/ 0 h 108588"/>
              <a:gd name="connsiteX100" fmla="*/ 434623 w 610787"/>
              <a:gd name="connsiteY100" fmla="*/ 0 h 108588"/>
              <a:gd name="connsiteX101" fmla="*/ 434623 w 610787"/>
              <a:gd name="connsiteY101" fmla="*/ 12881 h 108588"/>
              <a:gd name="connsiteX102" fmla="*/ 388931 w 610787"/>
              <a:gd name="connsiteY102" fmla="*/ 12881 h 108588"/>
              <a:gd name="connsiteX103" fmla="*/ 388931 w 610787"/>
              <a:gd name="connsiteY103" fmla="*/ 43498 h 108588"/>
              <a:gd name="connsiteX104" fmla="*/ 396215 w 610787"/>
              <a:gd name="connsiteY104" fmla="*/ 39577 h 108588"/>
              <a:gd name="connsiteX105" fmla="*/ 406548 w 610787"/>
              <a:gd name="connsiteY105" fmla="*/ 37772 h 108588"/>
              <a:gd name="connsiteX106" fmla="*/ 423293 w 610787"/>
              <a:gd name="connsiteY106" fmla="*/ 41693 h 108588"/>
              <a:gd name="connsiteX107" fmla="*/ 435059 w 610787"/>
              <a:gd name="connsiteY107" fmla="*/ 53019 h 108588"/>
              <a:gd name="connsiteX108" fmla="*/ 439541 w 610787"/>
              <a:gd name="connsiteY108" fmla="*/ 71687 h 108588"/>
              <a:gd name="connsiteX109" fmla="*/ 434934 w 610787"/>
              <a:gd name="connsiteY109" fmla="*/ 91103 h 108588"/>
              <a:gd name="connsiteX110" fmla="*/ 422110 w 610787"/>
              <a:gd name="connsiteY110" fmla="*/ 104108 h 108588"/>
              <a:gd name="connsiteX111" fmla="*/ 402191 w 610787"/>
              <a:gd name="connsiteY111" fmla="*/ 108588 h 108588"/>
              <a:gd name="connsiteX112" fmla="*/ 460455 w 610787"/>
              <a:gd name="connsiteY112" fmla="*/ 0 h 108588"/>
              <a:gd name="connsiteX113" fmla="*/ 525879 w 610787"/>
              <a:gd name="connsiteY113" fmla="*/ 0 h 108588"/>
              <a:gd name="connsiteX114" fmla="*/ 525879 w 610787"/>
              <a:gd name="connsiteY114" fmla="*/ 12881 h 108588"/>
              <a:gd name="connsiteX115" fmla="*/ 474524 w 610787"/>
              <a:gd name="connsiteY115" fmla="*/ 12881 h 108588"/>
              <a:gd name="connsiteX116" fmla="*/ 474524 w 610787"/>
              <a:gd name="connsiteY116" fmla="*/ 48413 h 108588"/>
              <a:gd name="connsiteX117" fmla="*/ 518098 w 610787"/>
              <a:gd name="connsiteY117" fmla="*/ 48413 h 108588"/>
              <a:gd name="connsiteX118" fmla="*/ 518098 w 610787"/>
              <a:gd name="connsiteY118" fmla="*/ 61108 h 108588"/>
              <a:gd name="connsiteX119" fmla="*/ 474524 w 610787"/>
              <a:gd name="connsiteY119" fmla="*/ 61108 h 108588"/>
              <a:gd name="connsiteX120" fmla="*/ 474524 w 610787"/>
              <a:gd name="connsiteY120" fmla="*/ 107095 h 108588"/>
              <a:gd name="connsiteX121" fmla="*/ 460455 w 610787"/>
              <a:gd name="connsiteY121" fmla="*/ 107095 h 108588"/>
              <a:gd name="connsiteX122" fmla="*/ 460455 w 610787"/>
              <a:gd name="connsiteY122" fmla="*/ 0 h 108588"/>
              <a:gd name="connsiteX123" fmla="*/ 545364 w 610787"/>
              <a:gd name="connsiteY123" fmla="*/ 0 h 108588"/>
              <a:gd name="connsiteX124" fmla="*/ 610787 w 610787"/>
              <a:gd name="connsiteY124" fmla="*/ 0 h 108588"/>
              <a:gd name="connsiteX125" fmla="*/ 610787 w 610787"/>
              <a:gd name="connsiteY125" fmla="*/ 12881 h 108588"/>
              <a:gd name="connsiteX126" fmla="*/ 559432 w 610787"/>
              <a:gd name="connsiteY126" fmla="*/ 12881 h 108588"/>
              <a:gd name="connsiteX127" fmla="*/ 559432 w 610787"/>
              <a:gd name="connsiteY127" fmla="*/ 48413 h 108588"/>
              <a:gd name="connsiteX128" fmla="*/ 603006 w 610787"/>
              <a:gd name="connsiteY128" fmla="*/ 48413 h 108588"/>
              <a:gd name="connsiteX129" fmla="*/ 603006 w 610787"/>
              <a:gd name="connsiteY129" fmla="*/ 61108 h 108588"/>
              <a:gd name="connsiteX130" fmla="*/ 559432 w 610787"/>
              <a:gd name="connsiteY130" fmla="*/ 61108 h 108588"/>
              <a:gd name="connsiteX131" fmla="*/ 559432 w 610787"/>
              <a:gd name="connsiteY131" fmla="*/ 107095 h 108588"/>
              <a:gd name="connsiteX132" fmla="*/ 545364 w 610787"/>
              <a:gd name="connsiteY132" fmla="*/ 107095 h 108588"/>
              <a:gd name="connsiteX133" fmla="*/ 545364 w 610787"/>
              <a:gd name="connsiteY133" fmla="*/ 0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610787" h="108588">
                <a:moveTo>
                  <a:pt x="22099" y="107095"/>
                </a:moveTo>
                <a:lnTo>
                  <a:pt x="10147" y="107095"/>
                </a:lnTo>
                <a:lnTo>
                  <a:pt x="16435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6" y="38519"/>
                </a:lnTo>
                <a:lnTo>
                  <a:pt x="4047" y="38519"/>
                </a:lnTo>
                <a:lnTo>
                  <a:pt x="4047" y="28065"/>
                </a:lnTo>
                <a:lnTo>
                  <a:pt x="26269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2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3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9" y="107095"/>
                </a:lnTo>
                <a:lnTo>
                  <a:pt x="50796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7" y="38519"/>
                </a:lnTo>
                <a:lnTo>
                  <a:pt x="36167" y="38519"/>
                </a:lnTo>
                <a:lnTo>
                  <a:pt x="30626" y="65713"/>
                </a:lnTo>
                <a:close/>
                <a:moveTo>
                  <a:pt x="107816" y="0"/>
                </a:moveTo>
                <a:lnTo>
                  <a:pt x="174172" y="0"/>
                </a:lnTo>
                <a:lnTo>
                  <a:pt x="174172" y="12881"/>
                </a:lnTo>
                <a:lnTo>
                  <a:pt x="121884" y="12881"/>
                </a:lnTo>
                <a:lnTo>
                  <a:pt x="121884" y="45240"/>
                </a:lnTo>
                <a:lnTo>
                  <a:pt x="166267" y="45240"/>
                </a:lnTo>
                <a:lnTo>
                  <a:pt x="166267" y="57934"/>
                </a:lnTo>
                <a:lnTo>
                  <a:pt x="121884" y="57934"/>
                </a:lnTo>
                <a:lnTo>
                  <a:pt x="121884" y="94400"/>
                </a:lnTo>
                <a:lnTo>
                  <a:pt x="174920" y="94400"/>
                </a:lnTo>
                <a:lnTo>
                  <a:pt x="174920" y="107095"/>
                </a:lnTo>
                <a:lnTo>
                  <a:pt x="107816" y="107095"/>
                </a:lnTo>
                <a:lnTo>
                  <a:pt x="107816" y="0"/>
                </a:lnTo>
                <a:close/>
                <a:moveTo>
                  <a:pt x="197142" y="0"/>
                </a:moveTo>
                <a:lnTo>
                  <a:pt x="233434" y="0"/>
                </a:lnTo>
                <a:cubicBezTo>
                  <a:pt x="245199" y="0"/>
                  <a:pt x="254101" y="1991"/>
                  <a:pt x="260139" y="5974"/>
                </a:cubicBezTo>
                <a:cubicBezTo>
                  <a:pt x="266364" y="9956"/>
                  <a:pt x="269414" y="16677"/>
                  <a:pt x="269414" y="26136"/>
                </a:cubicBezTo>
                <a:cubicBezTo>
                  <a:pt x="269414" y="33790"/>
                  <a:pt x="267484" y="39639"/>
                  <a:pt x="263625" y="43622"/>
                </a:cubicBezTo>
                <a:cubicBezTo>
                  <a:pt x="259702" y="47480"/>
                  <a:pt x="254537" y="50156"/>
                  <a:pt x="248063" y="51525"/>
                </a:cubicBezTo>
                <a:cubicBezTo>
                  <a:pt x="256341" y="52520"/>
                  <a:pt x="262628" y="54947"/>
                  <a:pt x="266862" y="58868"/>
                </a:cubicBezTo>
                <a:cubicBezTo>
                  <a:pt x="271157" y="62664"/>
                  <a:pt x="273336" y="68389"/>
                  <a:pt x="273336" y="76168"/>
                </a:cubicBezTo>
                <a:cubicBezTo>
                  <a:pt x="273336" y="83572"/>
                  <a:pt x="271593" y="89547"/>
                  <a:pt x="268107" y="94089"/>
                </a:cubicBezTo>
                <a:cubicBezTo>
                  <a:pt x="264620" y="98694"/>
                  <a:pt x="259827" y="101992"/>
                  <a:pt x="253727" y="104108"/>
                </a:cubicBezTo>
                <a:cubicBezTo>
                  <a:pt x="247689" y="106099"/>
                  <a:pt x="240779" y="107095"/>
                  <a:pt x="233122" y="107095"/>
                </a:cubicBezTo>
                <a:lnTo>
                  <a:pt x="197142" y="107095"/>
                </a:lnTo>
                <a:lnTo>
                  <a:pt x="197142" y="0"/>
                </a:lnTo>
                <a:close/>
                <a:moveTo>
                  <a:pt x="232376" y="45738"/>
                </a:moveTo>
                <a:cubicBezTo>
                  <a:pt x="239160" y="45738"/>
                  <a:pt x="244639" y="44244"/>
                  <a:pt x="248809" y="41257"/>
                </a:cubicBezTo>
                <a:cubicBezTo>
                  <a:pt x="253105" y="38146"/>
                  <a:pt x="255221" y="33354"/>
                  <a:pt x="255221" y="26882"/>
                </a:cubicBezTo>
                <a:cubicBezTo>
                  <a:pt x="255221" y="21406"/>
                  <a:pt x="253353" y="17735"/>
                  <a:pt x="249557" y="15868"/>
                </a:cubicBezTo>
                <a:cubicBezTo>
                  <a:pt x="245759" y="13877"/>
                  <a:pt x="240406" y="12881"/>
                  <a:pt x="233434" y="12881"/>
                </a:cubicBezTo>
                <a:lnTo>
                  <a:pt x="211148" y="12881"/>
                </a:lnTo>
                <a:lnTo>
                  <a:pt x="211148" y="45738"/>
                </a:lnTo>
                <a:lnTo>
                  <a:pt x="232376" y="45738"/>
                </a:lnTo>
                <a:close/>
                <a:moveTo>
                  <a:pt x="233122" y="94400"/>
                </a:moveTo>
                <a:cubicBezTo>
                  <a:pt x="240716" y="94400"/>
                  <a:pt x="246818" y="93093"/>
                  <a:pt x="251487" y="90542"/>
                </a:cubicBezTo>
                <a:cubicBezTo>
                  <a:pt x="256155" y="87929"/>
                  <a:pt x="258520" y="83262"/>
                  <a:pt x="258520" y="76478"/>
                </a:cubicBezTo>
                <a:cubicBezTo>
                  <a:pt x="258520" y="69696"/>
                  <a:pt x="256341" y="65028"/>
                  <a:pt x="251921" y="62415"/>
                </a:cubicBezTo>
                <a:cubicBezTo>
                  <a:pt x="247689" y="59739"/>
                  <a:pt x="240841" y="58433"/>
                  <a:pt x="231503" y="58433"/>
                </a:cubicBezTo>
                <a:lnTo>
                  <a:pt x="211148" y="58433"/>
                </a:lnTo>
                <a:lnTo>
                  <a:pt x="211148" y="94400"/>
                </a:lnTo>
                <a:lnTo>
                  <a:pt x="233122" y="94400"/>
                </a:lnTo>
                <a:close/>
                <a:moveTo>
                  <a:pt x="293380" y="0"/>
                </a:moveTo>
                <a:lnTo>
                  <a:pt x="358866" y="0"/>
                </a:lnTo>
                <a:lnTo>
                  <a:pt x="358866" y="12881"/>
                </a:lnTo>
                <a:lnTo>
                  <a:pt x="307448" y="12881"/>
                </a:lnTo>
                <a:lnTo>
                  <a:pt x="307448" y="48413"/>
                </a:lnTo>
                <a:lnTo>
                  <a:pt x="351085" y="48413"/>
                </a:lnTo>
                <a:lnTo>
                  <a:pt x="351085" y="61108"/>
                </a:lnTo>
                <a:lnTo>
                  <a:pt x="307448" y="61108"/>
                </a:lnTo>
                <a:lnTo>
                  <a:pt x="307448" y="107095"/>
                </a:lnTo>
                <a:lnTo>
                  <a:pt x="293380" y="107095"/>
                </a:lnTo>
                <a:lnTo>
                  <a:pt x="293380" y="0"/>
                </a:lnTo>
                <a:close/>
                <a:moveTo>
                  <a:pt x="402191" y="108588"/>
                </a:moveTo>
                <a:cubicBezTo>
                  <a:pt x="390238" y="108588"/>
                  <a:pt x="380776" y="106037"/>
                  <a:pt x="373681" y="100997"/>
                </a:cubicBezTo>
                <a:lnTo>
                  <a:pt x="373681" y="86311"/>
                </a:lnTo>
                <a:cubicBezTo>
                  <a:pt x="377851" y="89733"/>
                  <a:pt x="382272" y="92284"/>
                  <a:pt x="386816" y="93965"/>
                </a:cubicBezTo>
                <a:cubicBezTo>
                  <a:pt x="391422" y="95520"/>
                  <a:pt x="396526" y="96329"/>
                  <a:pt x="402191" y="96329"/>
                </a:cubicBezTo>
                <a:cubicBezTo>
                  <a:pt x="409598" y="96329"/>
                  <a:pt x="415263" y="94089"/>
                  <a:pt x="419247" y="89608"/>
                </a:cubicBezTo>
                <a:cubicBezTo>
                  <a:pt x="423355" y="85128"/>
                  <a:pt x="425348" y="79279"/>
                  <a:pt x="425348" y="71998"/>
                </a:cubicBezTo>
                <a:cubicBezTo>
                  <a:pt x="425348" y="64219"/>
                  <a:pt x="423355" y="58556"/>
                  <a:pt x="419372" y="54947"/>
                </a:cubicBezTo>
                <a:cubicBezTo>
                  <a:pt x="415387" y="51401"/>
                  <a:pt x="410407" y="49596"/>
                  <a:pt x="404307" y="49596"/>
                </a:cubicBezTo>
                <a:cubicBezTo>
                  <a:pt x="399950" y="49596"/>
                  <a:pt x="396401" y="50343"/>
                  <a:pt x="393725" y="51836"/>
                </a:cubicBezTo>
                <a:cubicBezTo>
                  <a:pt x="390986" y="53205"/>
                  <a:pt x="388994" y="54698"/>
                  <a:pt x="387562" y="56316"/>
                </a:cubicBezTo>
                <a:lnTo>
                  <a:pt x="376668" y="56316"/>
                </a:lnTo>
                <a:lnTo>
                  <a:pt x="376668" y="0"/>
                </a:lnTo>
                <a:lnTo>
                  <a:pt x="434623" y="0"/>
                </a:lnTo>
                <a:lnTo>
                  <a:pt x="434623" y="12881"/>
                </a:lnTo>
                <a:lnTo>
                  <a:pt x="388931" y="12881"/>
                </a:lnTo>
                <a:lnTo>
                  <a:pt x="388931" y="43498"/>
                </a:lnTo>
                <a:cubicBezTo>
                  <a:pt x="390924" y="42004"/>
                  <a:pt x="393351" y="40697"/>
                  <a:pt x="396215" y="39577"/>
                </a:cubicBezTo>
                <a:cubicBezTo>
                  <a:pt x="399141" y="38394"/>
                  <a:pt x="402563" y="37772"/>
                  <a:pt x="406548" y="37772"/>
                </a:cubicBezTo>
                <a:cubicBezTo>
                  <a:pt x="412711" y="37772"/>
                  <a:pt x="418313" y="39079"/>
                  <a:pt x="423293" y="41693"/>
                </a:cubicBezTo>
                <a:cubicBezTo>
                  <a:pt x="428273" y="44182"/>
                  <a:pt x="432194" y="47978"/>
                  <a:pt x="435059" y="53019"/>
                </a:cubicBezTo>
                <a:cubicBezTo>
                  <a:pt x="438047" y="57997"/>
                  <a:pt x="439541" y="64219"/>
                  <a:pt x="439541" y="71687"/>
                </a:cubicBezTo>
                <a:cubicBezTo>
                  <a:pt x="439541" y="79092"/>
                  <a:pt x="438047" y="85564"/>
                  <a:pt x="434934" y="91103"/>
                </a:cubicBezTo>
                <a:cubicBezTo>
                  <a:pt x="431946" y="96702"/>
                  <a:pt x="427650" y="100997"/>
                  <a:pt x="422110" y="104108"/>
                </a:cubicBezTo>
                <a:cubicBezTo>
                  <a:pt x="416509" y="107095"/>
                  <a:pt x="409910" y="108588"/>
                  <a:pt x="402191" y="108588"/>
                </a:cubicBezTo>
                <a:close/>
                <a:moveTo>
                  <a:pt x="460455" y="0"/>
                </a:moveTo>
                <a:lnTo>
                  <a:pt x="525879" y="0"/>
                </a:lnTo>
                <a:lnTo>
                  <a:pt x="525879" y="12881"/>
                </a:lnTo>
                <a:lnTo>
                  <a:pt x="474524" y="12881"/>
                </a:lnTo>
                <a:lnTo>
                  <a:pt x="474524" y="48413"/>
                </a:lnTo>
                <a:lnTo>
                  <a:pt x="518098" y="48413"/>
                </a:lnTo>
                <a:lnTo>
                  <a:pt x="518098" y="61108"/>
                </a:lnTo>
                <a:lnTo>
                  <a:pt x="474524" y="61108"/>
                </a:lnTo>
                <a:lnTo>
                  <a:pt x="474524" y="107095"/>
                </a:lnTo>
                <a:lnTo>
                  <a:pt x="460455" y="107095"/>
                </a:lnTo>
                <a:lnTo>
                  <a:pt x="460455" y="0"/>
                </a:lnTo>
                <a:close/>
                <a:moveTo>
                  <a:pt x="545364" y="0"/>
                </a:moveTo>
                <a:lnTo>
                  <a:pt x="610787" y="0"/>
                </a:lnTo>
                <a:lnTo>
                  <a:pt x="610787" y="12881"/>
                </a:lnTo>
                <a:lnTo>
                  <a:pt x="559432" y="12881"/>
                </a:lnTo>
                <a:lnTo>
                  <a:pt x="559432" y="48413"/>
                </a:lnTo>
                <a:lnTo>
                  <a:pt x="603006" y="48413"/>
                </a:lnTo>
                <a:lnTo>
                  <a:pt x="603006" y="61108"/>
                </a:lnTo>
                <a:lnTo>
                  <a:pt x="559432" y="61108"/>
                </a:lnTo>
                <a:lnTo>
                  <a:pt x="559432" y="107095"/>
                </a:lnTo>
                <a:lnTo>
                  <a:pt x="545364" y="107095"/>
                </a:lnTo>
                <a:lnTo>
                  <a:pt x="545364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6" name="Полилиния 965">
            <a:extLst>
              <a:ext uri="{FF2B5EF4-FFF2-40B4-BE49-F238E27FC236}">
                <a16:creationId xmlns:a16="http://schemas.microsoft.com/office/drawing/2014/main" id="{8B248F5B-5D98-73F5-7DCD-87CB64FA9F3C}"/>
              </a:ext>
            </a:extLst>
          </p:cNvPr>
          <p:cNvSpPr/>
          <p:nvPr userDrawn="1"/>
        </p:nvSpPr>
        <p:spPr>
          <a:xfrm>
            <a:off x="12270615" y="3787620"/>
            <a:ext cx="1398954" cy="726227"/>
          </a:xfrm>
          <a:custGeom>
            <a:avLst/>
            <a:gdLst>
              <a:gd name="connsiteX0" fmla="*/ 0 w 1198727"/>
              <a:gd name="connsiteY0" fmla="*/ 1022 h 622284"/>
              <a:gd name="connsiteX1" fmla="*/ 1198728 w 1198727"/>
              <a:gd name="connsiteY1" fmla="*/ 1022 h 622284"/>
              <a:gd name="connsiteX2" fmla="*/ 1198728 w 1198727"/>
              <a:gd name="connsiteY2" fmla="*/ 623306 h 622284"/>
              <a:gd name="connsiteX3" fmla="*/ 0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022"/>
                </a:moveTo>
                <a:lnTo>
                  <a:pt x="1198728" y="1022"/>
                </a:lnTo>
                <a:lnTo>
                  <a:pt x="1198728" y="623306"/>
                </a:lnTo>
                <a:lnTo>
                  <a:pt x="0" y="623306"/>
                </a:lnTo>
                <a:close/>
              </a:path>
            </a:pathLst>
          </a:custGeom>
          <a:solidFill>
            <a:srgbClr val="00464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7" name="Полилиния 966">
            <a:extLst>
              <a:ext uri="{FF2B5EF4-FFF2-40B4-BE49-F238E27FC236}">
                <a16:creationId xmlns:a16="http://schemas.microsoft.com/office/drawing/2014/main" id="{BC64E5BA-F323-09DD-6DF1-CE5D7B8EE742}"/>
              </a:ext>
            </a:extLst>
          </p:cNvPr>
          <p:cNvSpPr/>
          <p:nvPr userDrawn="1"/>
        </p:nvSpPr>
        <p:spPr>
          <a:xfrm>
            <a:off x="12393824" y="4089368"/>
            <a:ext cx="694050" cy="128468"/>
          </a:xfrm>
          <a:custGeom>
            <a:avLst/>
            <a:gdLst>
              <a:gd name="connsiteX0" fmla="*/ 22111 w 594714"/>
              <a:gd name="connsiteY0" fmla="*/ 108588 h 110081"/>
              <a:gd name="connsiteX1" fmla="*/ 10159 w 594714"/>
              <a:gd name="connsiteY1" fmla="*/ 108588 h 110081"/>
              <a:gd name="connsiteX2" fmla="*/ 16434 w 594714"/>
              <a:gd name="connsiteY2" fmla="*/ 77661 h 110081"/>
              <a:gd name="connsiteX3" fmla="*/ 0 w 594714"/>
              <a:gd name="connsiteY3" fmla="*/ 77661 h 110081"/>
              <a:gd name="connsiteX4" fmla="*/ 0 w 594714"/>
              <a:gd name="connsiteY4" fmla="*/ 67206 h 110081"/>
              <a:gd name="connsiteX5" fmla="*/ 18675 w 594714"/>
              <a:gd name="connsiteY5" fmla="*/ 67206 h 110081"/>
              <a:gd name="connsiteX6" fmla="*/ 24202 w 594714"/>
              <a:gd name="connsiteY6" fmla="*/ 40012 h 110081"/>
              <a:gd name="connsiteX7" fmla="*/ 4034 w 594714"/>
              <a:gd name="connsiteY7" fmla="*/ 40012 h 110081"/>
              <a:gd name="connsiteX8" fmla="*/ 4034 w 594714"/>
              <a:gd name="connsiteY8" fmla="*/ 29559 h 110081"/>
              <a:gd name="connsiteX9" fmla="*/ 26294 w 594714"/>
              <a:gd name="connsiteY9" fmla="*/ 29559 h 110081"/>
              <a:gd name="connsiteX10" fmla="*/ 32120 w 594714"/>
              <a:gd name="connsiteY10" fmla="*/ 1493 h 110081"/>
              <a:gd name="connsiteX11" fmla="*/ 44072 w 594714"/>
              <a:gd name="connsiteY11" fmla="*/ 1493 h 110081"/>
              <a:gd name="connsiteX12" fmla="*/ 38246 w 594714"/>
              <a:gd name="connsiteY12" fmla="*/ 29559 h 110081"/>
              <a:gd name="connsiteX13" fmla="*/ 60655 w 594714"/>
              <a:gd name="connsiteY13" fmla="*/ 29559 h 110081"/>
              <a:gd name="connsiteX14" fmla="*/ 66482 w 594714"/>
              <a:gd name="connsiteY14" fmla="*/ 1493 h 110081"/>
              <a:gd name="connsiteX15" fmla="*/ 78434 w 594714"/>
              <a:gd name="connsiteY15" fmla="*/ 1493 h 110081"/>
              <a:gd name="connsiteX16" fmla="*/ 72607 w 594714"/>
              <a:gd name="connsiteY16" fmla="*/ 29559 h 110081"/>
              <a:gd name="connsiteX17" fmla="*/ 89340 w 594714"/>
              <a:gd name="connsiteY17" fmla="*/ 29559 h 110081"/>
              <a:gd name="connsiteX18" fmla="*/ 89340 w 594714"/>
              <a:gd name="connsiteY18" fmla="*/ 40012 h 110081"/>
              <a:gd name="connsiteX19" fmla="*/ 70516 w 594714"/>
              <a:gd name="connsiteY19" fmla="*/ 40012 h 110081"/>
              <a:gd name="connsiteX20" fmla="*/ 64988 w 594714"/>
              <a:gd name="connsiteY20" fmla="*/ 67206 h 110081"/>
              <a:gd name="connsiteX21" fmla="*/ 85306 w 594714"/>
              <a:gd name="connsiteY21" fmla="*/ 67206 h 110081"/>
              <a:gd name="connsiteX22" fmla="*/ 85306 w 594714"/>
              <a:gd name="connsiteY22" fmla="*/ 77661 h 110081"/>
              <a:gd name="connsiteX23" fmla="*/ 62747 w 594714"/>
              <a:gd name="connsiteY23" fmla="*/ 77661 h 110081"/>
              <a:gd name="connsiteX24" fmla="*/ 56472 w 594714"/>
              <a:gd name="connsiteY24" fmla="*/ 108588 h 110081"/>
              <a:gd name="connsiteX25" fmla="*/ 44520 w 594714"/>
              <a:gd name="connsiteY25" fmla="*/ 108588 h 110081"/>
              <a:gd name="connsiteX26" fmla="*/ 50795 w 594714"/>
              <a:gd name="connsiteY26" fmla="*/ 77661 h 110081"/>
              <a:gd name="connsiteX27" fmla="*/ 28386 w 594714"/>
              <a:gd name="connsiteY27" fmla="*/ 77661 h 110081"/>
              <a:gd name="connsiteX28" fmla="*/ 22111 w 594714"/>
              <a:gd name="connsiteY28" fmla="*/ 108588 h 110081"/>
              <a:gd name="connsiteX29" fmla="*/ 30626 w 594714"/>
              <a:gd name="connsiteY29" fmla="*/ 67206 h 110081"/>
              <a:gd name="connsiteX30" fmla="*/ 53036 w 594714"/>
              <a:gd name="connsiteY30" fmla="*/ 67206 h 110081"/>
              <a:gd name="connsiteX31" fmla="*/ 58564 w 594714"/>
              <a:gd name="connsiteY31" fmla="*/ 40012 h 110081"/>
              <a:gd name="connsiteX32" fmla="*/ 36154 w 594714"/>
              <a:gd name="connsiteY32" fmla="*/ 40012 h 110081"/>
              <a:gd name="connsiteX33" fmla="*/ 30626 w 594714"/>
              <a:gd name="connsiteY33" fmla="*/ 67206 h 110081"/>
              <a:gd name="connsiteX34" fmla="*/ 136659 w 594714"/>
              <a:gd name="connsiteY34" fmla="*/ 110082 h 110081"/>
              <a:gd name="connsiteX35" fmla="*/ 118432 w 594714"/>
              <a:gd name="connsiteY35" fmla="*/ 104233 h 110081"/>
              <a:gd name="connsiteX36" fmla="*/ 105734 w 594714"/>
              <a:gd name="connsiteY36" fmla="*/ 86311 h 110081"/>
              <a:gd name="connsiteX37" fmla="*/ 101252 w 594714"/>
              <a:gd name="connsiteY37" fmla="*/ 54947 h 110081"/>
              <a:gd name="connsiteX38" fmla="*/ 105734 w 594714"/>
              <a:gd name="connsiteY38" fmla="*/ 23584 h 110081"/>
              <a:gd name="connsiteX39" fmla="*/ 118432 w 594714"/>
              <a:gd name="connsiteY39" fmla="*/ 5849 h 110081"/>
              <a:gd name="connsiteX40" fmla="*/ 136659 w 594714"/>
              <a:gd name="connsiteY40" fmla="*/ 186 h 110081"/>
              <a:gd name="connsiteX41" fmla="*/ 154736 w 594714"/>
              <a:gd name="connsiteY41" fmla="*/ 5849 h 110081"/>
              <a:gd name="connsiteX42" fmla="*/ 167136 w 594714"/>
              <a:gd name="connsiteY42" fmla="*/ 23584 h 110081"/>
              <a:gd name="connsiteX43" fmla="*/ 171618 w 594714"/>
              <a:gd name="connsiteY43" fmla="*/ 54698 h 110081"/>
              <a:gd name="connsiteX44" fmla="*/ 167136 w 594714"/>
              <a:gd name="connsiteY44" fmla="*/ 86062 h 110081"/>
              <a:gd name="connsiteX45" fmla="*/ 154736 w 594714"/>
              <a:gd name="connsiteY45" fmla="*/ 104233 h 110081"/>
              <a:gd name="connsiteX46" fmla="*/ 136659 w 594714"/>
              <a:gd name="connsiteY46" fmla="*/ 110082 h 110081"/>
              <a:gd name="connsiteX47" fmla="*/ 136509 w 594714"/>
              <a:gd name="connsiteY47" fmla="*/ 98258 h 110081"/>
              <a:gd name="connsiteX48" fmla="*/ 147864 w 594714"/>
              <a:gd name="connsiteY48" fmla="*/ 94275 h 110081"/>
              <a:gd name="connsiteX49" fmla="*/ 155035 w 594714"/>
              <a:gd name="connsiteY49" fmla="*/ 80648 h 110081"/>
              <a:gd name="connsiteX50" fmla="*/ 157575 w 594714"/>
              <a:gd name="connsiteY50" fmla="*/ 55134 h 110081"/>
              <a:gd name="connsiteX51" fmla="*/ 155184 w 594714"/>
              <a:gd name="connsiteY51" fmla="*/ 29745 h 110081"/>
              <a:gd name="connsiteX52" fmla="*/ 148013 w 594714"/>
              <a:gd name="connsiteY52" fmla="*/ 16117 h 110081"/>
              <a:gd name="connsiteX53" fmla="*/ 136659 w 594714"/>
              <a:gd name="connsiteY53" fmla="*/ 11947 h 110081"/>
              <a:gd name="connsiteX54" fmla="*/ 125155 w 594714"/>
              <a:gd name="connsiteY54" fmla="*/ 16117 h 110081"/>
              <a:gd name="connsiteX55" fmla="*/ 117835 w 594714"/>
              <a:gd name="connsiteY55" fmla="*/ 29745 h 110081"/>
              <a:gd name="connsiteX56" fmla="*/ 115295 w 594714"/>
              <a:gd name="connsiteY56" fmla="*/ 55134 h 110081"/>
              <a:gd name="connsiteX57" fmla="*/ 117685 w 594714"/>
              <a:gd name="connsiteY57" fmla="*/ 80648 h 110081"/>
              <a:gd name="connsiteX58" fmla="*/ 125006 w 594714"/>
              <a:gd name="connsiteY58" fmla="*/ 94275 h 110081"/>
              <a:gd name="connsiteX59" fmla="*/ 136509 w 594714"/>
              <a:gd name="connsiteY59" fmla="*/ 98258 h 110081"/>
              <a:gd name="connsiteX60" fmla="*/ 218798 w 594714"/>
              <a:gd name="connsiteY60" fmla="*/ 110082 h 110081"/>
              <a:gd name="connsiteX61" fmla="*/ 200572 w 594714"/>
              <a:gd name="connsiteY61" fmla="*/ 104233 h 110081"/>
              <a:gd name="connsiteX62" fmla="*/ 187873 w 594714"/>
              <a:gd name="connsiteY62" fmla="*/ 86311 h 110081"/>
              <a:gd name="connsiteX63" fmla="*/ 183391 w 594714"/>
              <a:gd name="connsiteY63" fmla="*/ 54947 h 110081"/>
              <a:gd name="connsiteX64" fmla="*/ 187873 w 594714"/>
              <a:gd name="connsiteY64" fmla="*/ 23584 h 110081"/>
              <a:gd name="connsiteX65" fmla="*/ 200572 w 594714"/>
              <a:gd name="connsiteY65" fmla="*/ 5849 h 110081"/>
              <a:gd name="connsiteX66" fmla="*/ 218798 w 594714"/>
              <a:gd name="connsiteY66" fmla="*/ 186 h 110081"/>
              <a:gd name="connsiteX67" fmla="*/ 236875 w 594714"/>
              <a:gd name="connsiteY67" fmla="*/ 5849 h 110081"/>
              <a:gd name="connsiteX68" fmla="*/ 249275 w 594714"/>
              <a:gd name="connsiteY68" fmla="*/ 23584 h 110081"/>
              <a:gd name="connsiteX69" fmla="*/ 253757 w 594714"/>
              <a:gd name="connsiteY69" fmla="*/ 54698 h 110081"/>
              <a:gd name="connsiteX70" fmla="*/ 249275 w 594714"/>
              <a:gd name="connsiteY70" fmla="*/ 86062 h 110081"/>
              <a:gd name="connsiteX71" fmla="*/ 236875 w 594714"/>
              <a:gd name="connsiteY71" fmla="*/ 104233 h 110081"/>
              <a:gd name="connsiteX72" fmla="*/ 218798 w 594714"/>
              <a:gd name="connsiteY72" fmla="*/ 110082 h 110081"/>
              <a:gd name="connsiteX73" fmla="*/ 218649 w 594714"/>
              <a:gd name="connsiteY73" fmla="*/ 98258 h 110081"/>
              <a:gd name="connsiteX74" fmla="*/ 230003 w 594714"/>
              <a:gd name="connsiteY74" fmla="*/ 94275 h 110081"/>
              <a:gd name="connsiteX75" fmla="*/ 237174 w 594714"/>
              <a:gd name="connsiteY75" fmla="*/ 80648 h 110081"/>
              <a:gd name="connsiteX76" fmla="*/ 239714 w 594714"/>
              <a:gd name="connsiteY76" fmla="*/ 55134 h 110081"/>
              <a:gd name="connsiteX77" fmla="*/ 237324 w 594714"/>
              <a:gd name="connsiteY77" fmla="*/ 29745 h 110081"/>
              <a:gd name="connsiteX78" fmla="*/ 230152 w 594714"/>
              <a:gd name="connsiteY78" fmla="*/ 16117 h 110081"/>
              <a:gd name="connsiteX79" fmla="*/ 218798 w 594714"/>
              <a:gd name="connsiteY79" fmla="*/ 11947 h 110081"/>
              <a:gd name="connsiteX80" fmla="*/ 207295 w 594714"/>
              <a:gd name="connsiteY80" fmla="*/ 16117 h 110081"/>
              <a:gd name="connsiteX81" fmla="*/ 199974 w 594714"/>
              <a:gd name="connsiteY81" fmla="*/ 29745 h 110081"/>
              <a:gd name="connsiteX82" fmla="*/ 197434 w 594714"/>
              <a:gd name="connsiteY82" fmla="*/ 55134 h 110081"/>
              <a:gd name="connsiteX83" fmla="*/ 199825 w 594714"/>
              <a:gd name="connsiteY83" fmla="*/ 80648 h 110081"/>
              <a:gd name="connsiteX84" fmla="*/ 207145 w 594714"/>
              <a:gd name="connsiteY84" fmla="*/ 94275 h 110081"/>
              <a:gd name="connsiteX85" fmla="*/ 218649 w 594714"/>
              <a:gd name="connsiteY85" fmla="*/ 98258 h 110081"/>
              <a:gd name="connsiteX86" fmla="*/ 323049 w 594714"/>
              <a:gd name="connsiteY86" fmla="*/ 108588 h 110081"/>
              <a:gd name="connsiteX87" fmla="*/ 309902 w 594714"/>
              <a:gd name="connsiteY87" fmla="*/ 108588 h 110081"/>
              <a:gd name="connsiteX88" fmla="*/ 309902 w 594714"/>
              <a:gd name="connsiteY88" fmla="*/ 83199 h 110081"/>
              <a:gd name="connsiteX89" fmla="*/ 263589 w 594714"/>
              <a:gd name="connsiteY89" fmla="*/ 83199 h 110081"/>
              <a:gd name="connsiteX90" fmla="*/ 263589 w 594714"/>
              <a:gd name="connsiteY90" fmla="*/ 73927 h 110081"/>
              <a:gd name="connsiteX91" fmla="*/ 305420 w 594714"/>
              <a:gd name="connsiteY91" fmla="*/ 1493 h 110081"/>
              <a:gd name="connsiteX92" fmla="*/ 323049 w 594714"/>
              <a:gd name="connsiteY92" fmla="*/ 1493 h 110081"/>
              <a:gd name="connsiteX93" fmla="*/ 323049 w 594714"/>
              <a:gd name="connsiteY93" fmla="*/ 71873 h 110081"/>
              <a:gd name="connsiteX94" fmla="*/ 337541 w 594714"/>
              <a:gd name="connsiteY94" fmla="*/ 71873 h 110081"/>
              <a:gd name="connsiteX95" fmla="*/ 337541 w 594714"/>
              <a:gd name="connsiteY95" fmla="*/ 83199 h 110081"/>
              <a:gd name="connsiteX96" fmla="*/ 323049 w 594714"/>
              <a:gd name="connsiteY96" fmla="*/ 83199 h 110081"/>
              <a:gd name="connsiteX97" fmla="*/ 323049 w 594714"/>
              <a:gd name="connsiteY97" fmla="*/ 108588 h 110081"/>
              <a:gd name="connsiteX98" fmla="*/ 277184 w 594714"/>
              <a:gd name="connsiteY98" fmla="*/ 71873 h 110081"/>
              <a:gd name="connsiteX99" fmla="*/ 309902 w 594714"/>
              <a:gd name="connsiteY99" fmla="*/ 71873 h 110081"/>
              <a:gd name="connsiteX100" fmla="*/ 309902 w 594714"/>
              <a:gd name="connsiteY100" fmla="*/ 16117 h 110081"/>
              <a:gd name="connsiteX101" fmla="*/ 277184 w 594714"/>
              <a:gd name="connsiteY101" fmla="*/ 71873 h 110081"/>
              <a:gd name="connsiteX102" fmla="*/ 419680 w 594714"/>
              <a:gd name="connsiteY102" fmla="*/ 73491 h 110081"/>
              <a:gd name="connsiteX103" fmla="*/ 414899 w 594714"/>
              <a:gd name="connsiteY103" fmla="*/ 92782 h 110081"/>
              <a:gd name="connsiteX104" fmla="*/ 402200 w 594714"/>
              <a:gd name="connsiteY104" fmla="*/ 105601 h 110081"/>
              <a:gd name="connsiteX105" fmla="*/ 384123 w 594714"/>
              <a:gd name="connsiteY105" fmla="*/ 110082 h 110081"/>
              <a:gd name="connsiteX106" fmla="*/ 362461 w 594714"/>
              <a:gd name="connsiteY106" fmla="*/ 104108 h 110081"/>
              <a:gd name="connsiteX107" fmla="*/ 350360 w 594714"/>
              <a:gd name="connsiteY107" fmla="*/ 87555 h 110081"/>
              <a:gd name="connsiteX108" fmla="*/ 346625 w 594714"/>
              <a:gd name="connsiteY108" fmla="*/ 63161 h 110081"/>
              <a:gd name="connsiteX109" fmla="*/ 351107 w 594714"/>
              <a:gd name="connsiteY109" fmla="*/ 30181 h 110081"/>
              <a:gd name="connsiteX110" fmla="*/ 365150 w 594714"/>
              <a:gd name="connsiteY110" fmla="*/ 8089 h 110081"/>
              <a:gd name="connsiteX111" fmla="*/ 389651 w 594714"/>
              <a:gd name="connsiteY111" fmla="*/ 0 h 110081"/>
              <a:gd name="connsiteX112" fmla="*/ 412210 w 594714"/>
              <a:gd name="connsiteY112" fmla="*/ 5538 h 110081"/>
              <a:gd name="connsiteX113" fmla="*/ 412210 w 594714"/>
              <a:gd name="connsiteY113" fmla="*/ 18855 h 110081"/>
              <a:gd name="connsiteX114" fmla="*/ 389651 w 594714"/>
              <a:gd name="connsiteY114" fmla="*/ 12259 h 110081"/>
              <a:gd name="connsiteX115" fmla="*/ 374114 w 594714"/>
              <a:gd name="connsiteY115" fmla="*/ 17361 h 110081"/>
              <a:gd name="connsiteX116" fmla="*/ 364253 w 594714"/>
              <a:gd name="connsiteY116" fmla="*/ 31238 h 110081"/>
              <a:gd name="connsiteX117" fmla="*/ 360070 w 594714"/>
              <a:gd name="connsiteY117" fmla="*/ 50778 h 110081"/>
              <a:gd name="connsiteX118" fmla="*/ 371425 w 594714"/>
              <a:gd name="connsiteY118" fmla="*/ 40759 h 110081"/>
              <a:gd name="connsiteX119" fmla="*/ 385468 w 594714"/>
              <a:gd name="connsiteY119" fmla="*/ 37523 h 110081"/>
              <a:gd name="connsiteX120" fmla="*/ 402798 w 594714"/>
              <a:gd name="connsiteY120" fmla="*/ 41693 h 110081"/>
              <a:gd name="connsiteX121" fmla="*/ 415049 w 594714"/>
              <a:gd name="connsiteY121" fmla="*/ 53952 h 110081"/>
              <a:gd name="connsiteX122" fmla="*/ 419680 w 594714"/>
              <a:gd name="connsiteY122" fmla="*/ 73491 h 110081"/>
              <a:gd name="connsiteX123" fmla="*/ 383675 w 594714"/>
              <a:gd name="connsiteY123" fmla="*/ 98134 h 110081"/>
              <a:gd name="connsiteX124" fmla="*/ 394432 w 594714"/>
              <a:gd name="connsiteY124" fmla="*/ 95458 h 110081"/>
              <a:gd name="connsiteX125" fmla="*/ 402350 w 594714"/>
              <a:gd name="connsiteY125" fmla="*/ 87244 h 110081"/>
              <a:gd name="connsiteX126" fmla="*/ 405487 w 594714"/>
              <a:gd name="connsiteY126" fmla="*/ 73803 h 110081"/>
              <a:gd name="connsiteX127" fmla="*/ 402499 w 594714"/>
              <a:gd name="connsiteY127" fmla="*/ 60174 h 110081"/>
              <a:gd name="connsiteX128" fmla="*/ 394880 w 594714"/>
              <a:gd name="connsiteY128" fmla="*/ 51961 h 110081"/>
              <a:gd name="connsiteX129" fmla="*/ 385169 w 594714"/>
              <a:gd name="connsiteY129" fmla="*/ 49160 h 110081"/>
              <a:gd name="connsiteX130" fmla="*/ 368586 w 594714"/>
              <a:gd name="connsiteY130" fmla="*/ 55570 h 110081"/>
              <a:gd name="connsiteX131" fmla="*/ 362013 w 594714"/>
              <a:gd name="connsiteY131" fmla="*/ 74114 h 110081"/>
              <a:gd name="connsiteX132" fmla="*/ 367839 w 594714"/>
              <a:gd name="connsiteY132" fmla="*/ 91538 h 110081"/>
              <a:gd name="connsiteX133" fmla="*/ 383675 w 594714"/>
              <a:gd name="connsiteY133" fmla="*/ 98134 h 110081"/>
              <a:gd name="connsiteX134" fmla="*/ 487328 w 594714"/>
              <a:gd name="connsiteY134" fmla="*/ 108588 h 110081"/>
              <a:gd name="connsiteX135" fmla="*/ 474181 w 594714"/>
              <a:gd name="connsiteY135" fmla="*/ 108588 h 110081"/>
              <a:gd name="connsiteX136" fmla="*/ 474181 w 594714"/>
              <a:gd name="connsiteY136" fmla="*/ 83199 h 110081"/>
              <a:gd name="connsiteX137" fmla="*/ 427868 w 594714"/>
              <a:gd name="connsiteY137" fmla="*/ 83199 h 110081"/>
              <a:gd name="connsiteX138" fmla="*/ 427868 w 594714"/>
              <a:gd name="connsiteY138" fmla="*/ 73927 h 110081"/>
              <a:gd name="connsiteX139" fmla="*/ 469699 w 594714"/>
              <a:gd name="connsiteY139" fmla="*/ 1493 h 110081"/>
              <a:gd name="connsiteX140" fmla="*/ 487328 w 594714"/>
              <a:gd name="connsiteY140" fmla="*/ 1493 h 110081"/>
              <a:gd name="connsiteX141" fmla="*/ 487328 w 594714"/>
              <a:gd name="connsiteY141" fmla="*/ 71873 h 110081"/>
              <a:gd name="connsiteX142" fmla="*/ 501819 w 594714"/>
              <a:gd name="connsiteY142" fmla="*/ 71873 h 110081"/>
              <a:gd name="connsiteX143" fmla="*/ 501819 w 594714"/>
              <a:gd name="connsiteY143" fmla="*/ 83199 h 110081"/>
              <a:gd name="connsiteX144" fmla="*/ 487328 w 594714"/>
              <a:gd name="connsiteY144" fmla="*/ 83199 h 110081"/>
              <a:gd name="connsiteX145" fmla="*/ 487328 w 594714"/>
              <a:gd name="connsiteY145" fmla="*/ 108588 h 110081"/>
              <a:gd name="connsiteX146" fmla="*/ 441463 w 594714"/>
              <a:gd name="connsiteY146" fmla="*/ 71873 h 110081"/>
              <a:gd name="connsiteX147" fmla="*/ 474181 w 594714"/>
              <a:gd name="connsiteY147" fmla="*/ 71873 h 110081"/>
              <a:gd name="connsiteX148" fmla="*/ 474181 w 594714"/>
              <a:gd name="connsiteY148" fmla="*/ 16117 h 110081"/>
              <a:gd name="connsiteX149" fmla="*/ 441463 w 594714"/>
              <a:gd name="connsiteY149" fmla="*/ 71873 h 110081"/>
              <a:gd name="connsiteX150" fmla="*/ 518521 w 594714"/>
              <a:gd name="connsiteY150" fmla="*/ 1493 h 110081"/>
              <a:gd name="connsiteX151" fmla="*/ 554825 w 594714"/>
              <a:gd name="connsiteY151" fmla="*/ 1493 h 110081"/>
              <a:gd name="connsiteX152" fmla="*/ 581567 w 594714"/>
              <a:gd name="connsiteY152" fmla="*/ 7467 h 110081"/>
              <a:gd name="connsiteX153" fmla="*/ 590830 w 594714"/>
              <a:gd name="connsiteY153" fmla="*/ 27629 h 110081"/>
              <a:gd name="connsiteX154" fmla="*/ 585003 w 594714"/>
              <a:gd name="connsiteY154" fmla="*/ 45116 h 110081"/>
              <a:gd name="connsiteX155" fmla="*/ 569466 w 594714"/>
              <a:gd name="connsiteY155" fmla="*/ 53018 h 110081"/>
              <a:gd name="connsiteX156" fmla="*/ 588290 w 594714"/>
              <a:gd name="connsiteY156" fmla="*/ 60361 h 110081"/>
              <a:gd name="connsiteX157" fmla="*/ 594714 w 594714"/>
              <a:gd name="connsiteY157" fmla="*/ 77661 h 110081"/>
              <a:gd name="connsiteX158" fmla="*/ 589485 w 594714"/>
              <a:gd name="connsiteY158" fmla="*/ 95583 h 110081"/>
              <a:gd name="connsiteX159" fmla="*/ 575143 w 594714"/>
              <a:gd name="connsiteY159" fmla="*/ 105601 h 110081"/>
              <a:gd name="connsiteX160" fmla="*/ 554526 w 594714"/>
              <a:gd name="connsiteY160" fmla="*/ 108588 h 110081"/>
              <a:gd name="connsiteX161" fmla="*/ 518521 w 594714"/>
              <a:gd name="connsiteY161" fmla="*/ 108588 h 110081"/>
              <a:gd name="connsiteX162" fmla="*/ 518521 w 594714"/>
              <a:gd name="connsiteY162" fmla="*/ 1493 h 110081"/>
              <a:gd name="connsiteX163" fmla="*/ 553779 w 594714"/>
              <a:gd name="connsiteY163" fmla="*/ 47231 h 110081"/>
              <a:gd name="connsiteX164" fmla="*/ 570213 w 594714"/>
              <a:gd name="connsiteY164" fmla="*/ 42751 h 110081"/>
              <a:gd name="connsiteX165" fmla="*/ 576637 w 594714"/>
              <a:gd name="connsiteY165" fmla="*/ 28376 h 110081"/>
              <a:gd name="connsiteX166" fmla="*/ 570960 w 594714"/>
              <a:gd name="connsiteY166" fmla="*/ 17361 h 110081"/>
              <a:gd name="connsiteX167" fmla="*/ 554825 w 594714"/>
              <a:gd name="connsiteY167" fmla="*/ 14374 h 110081"/>
              <a:gd name="connsiteX168" fmla="*/ 532565 w 594714"/>
              <a:gd name="connsiteY168" fmla="*/ 14374 h 110081"/>
              <a:gd name="connsiteX169" fmla="*/ 532565 w 594714"/>
              <a:gd name="connsiteY169" fmla="*/ 47231 h 110081"/>
              <a:gd name="connsiteX170" fmla="*/ 553779 w 594714"/>
              <a:gd name="connsiteY170" fmla="*/ 47231 h 110081"/>
              <a:gd name="connsiteX171" fmla="*/ 554526 w 594714"/>
              <a:gd name="connsiteY171" fmla="*/ 95893 h 110081"/>
              <a:gd name="connsiteX172" fmla="*/ 572902 w 594714"/>
              <a:gd name="connsiteY172" fmla="*/ 92035 h 110081"/>
              <a:gd name="connsiteX173" fmla="*/ 579924 w 594714"/>
              <a:gd name="connsiteY173" fmla="*/ 77972 h 110081"/>
              <a:gd name="connsiteX174" fmla="*/ 573350 w 594714"/>
              <a:gd name="connsiteY174" fmla="*/ 63908 h 110081"/>
              <a:gd name="connsiteX175" fmla="*/ 552883 w 594714"/>
              <a:gd name="connsiteY175" fmla="*/ 59926 h 110081"/>
              <a:gd name="connsiteX176" fmla="*/ 532565 w 594714"/>
              <a:gd name="connsiteY176" fmla="*/ 59926 h 110081"/>
              <a:gd name="connsiteX177" fmla="*/ 532565 w 594714"/>
              <a:gd name="connsiteY177" fmla="*/ 95893 h 110081"/>
              <a:gd name="connsiteX178" fmla="*/ 554526 w 594714"/>
              <a:gd name="connsiteY17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594714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323049" y="108588"/>
                </a:moveTo>
                <a:lnTo>
                  <a:pt x="309902" y="108588"/>
                </a:lnTo>
                <a:lnTo>
                  <a:pt x="309902" y="83199"/>
                </a:lnTo>
                <a:lnTo>
                  <a:pt x="263589" y="83199"/>
                </a:lnTo>
                <a:lnTo>
                  <a:pt x="263589" y="73927"/>
                </a:lnTo>
                <a:lnTo>
                  <a:pt x="305420" y="1493"/>
                </a:lnTo>
                <a:lnTo>
                  <a:pt x="323049" y="1493"/>
                </a:lnTo>
                <a:lnTo>
                  <a:pt x="323049" y="71873"/>
                </a:lnTo>
                <a:lnTo>
                  <a:pt x="337541" y="71873"/>
                </a:lnTo>
                <a:lnTo>
                  <a:pt x="337541" y="83199"/>
                </a:lnTo>
                <a:lnTo>
                  <a:pt x="323049" y="83199"/>
                </a:lnTo>
                <a:lnTo>
                  <a:pt x="323049" y="108588"/>
                </a:lnTo>
                <a:close/>
                <a:moveTo>
                  <a:pt x="277184" y="71873"/>
                </a:moveTo>
                <a:lnTo>
                  <a:pt x="309902" y="71873"/>
                </a:lnTo>
                <a:lnTo>
                  <a:pt x="309902" y="16117"/>
                </a:lnTo>
                <a:lnTo>
                  <a:pt x="277184" y="71873"/>
                </a:lnTo>
                <a:close/>
                <a:moveTo>
                  <a:pt x="419680" y="73491"/>
                </a:moveTo>
                <a:cubicBezTo>
                  <a:pt x="419680" y="80772"/>
                  <a:pt x="418086" y="87182"/>
                  <a:pt x="414899" y="92782"/>
                </a:cubicBezTo>
                <a:cubicBezTo>
                  <a:pt x="411812" y="98258"/>
                  <a:pt x="407579" y="102490"/>
                  <a:pt x="402200" y="105601"/>
                </a:cubicBezTo>
                <a:cubicBezTo>
                  <a:pt x="396822" y="108588"/>
                  <a:pt x="390796" y="110082"/>
                  <a:pt x="384123" y="110082"/>
                </a:cubicBezTo>
                <a:cubicBezTo>
                  <a:pt x="375159" y="110082"/>
                  <a:pt x="367939" y="108091"/>
                  <a:pt x="362461" y="104108"/>
                </a:cubicBezTo>
                <a:cubicBezTo>
                  <a:pt x="356983" y="100125"/>
                  <a:pt x="352949" y="94587"/>
                  <a:pt x="350360" y="87555"/>
                </a:cubicBezTo>
                <a:cubicBezTo>
                  <a:pt x="347870" y="80461"/>
                  <a:pt x="346625" y="72372"/>
                  <a:pt x="346625" y="63161"/>
                </a:cubicBezTo>
                <a:cubicBezTo>
                  <a:pt x="346625" y="50653"/>
                  <a:pt x="348119" y="39639"/>
                  <a:pt x="351107" y="30181"/>
                </a:cubicBezTo>
                <a:cubicBezTo>
                  <a:pt x="354194" y="20722"/>
                  <a:pt x="358875" y="13379"/>
                  <a:pt x="365150" y="8089"/>
                </a:cubicBezTo>
                <a:cubicBezTo>
                  <a:pt x="371524" y="2675"/>
                  <a:pt x="379691" y="0"/>
                  <a:pt x="389651" y="0"/>
                </a:cubicBezTo>
                <a:cubicBezTo>
                  <a:pt x="398217" y="0"/>
                  <a:pt x="405736" y="1866"/>
                  <a:pt x="412210" y="5538"/>
                </a:cubicBezTo>
                <a:lnTo>
                  <a:pt x="412210" y="18855"/>
                </a:lnTo>
                <a:cubicBezTo>
                  <a:pt x="405736" y="14437"/>
                  <a:pt x="398217" y="12259"/>
                  <a:pt x="389651" y="12259"/>
                </a:cubicBezTo>
                <a:cubicBezTo>
                  <a:pt x="383476" y="12259"/>
                  <a:pt x="378297" y="13939"/>
                  <a:pt x="374114" y="17361"/>
                </a:cubicBezTo>
                <a:cubicBezTo>
                  <a:pt x="369931" y="20722"/>
                  <a:pt x="366644" y="25327"/>
                  <a:pt x="364253" y="31238"/>
                </a:cubicBezTo>
                <a:cubicBezTo>
                  <a:pt x="361963" y="37026"/>
                  <a:pt x="360568" y="43498"/>
                  <a:pt x="360070" y="50778"/>
                </a:cubicBezTo>
                <a:cubicBezTo>
                  <a:pt x="363357" y="46298"/>
                  <a:pt x="367142" y="42999"/>
                  <a:pt x="371425" y="40759"/>
                </a:cubicBezTo>
                <a:cubicBezTo>
                  <a:pt x="375707" y="38581"/>
                  <a:pt x="380388" y="37523"/>
                  <a:pt x="385468" y="37523"/>
                </a:cubicBezTo>
                <a:cubicBezTo>
                  <a:pt x="391942" y="37523"/>
                  <a:pt x="397719" y="38893"/>
                  <a:pt x="402798" y="41693"/>
                </a:cubicBezTo>
                <a:cubicBezTo>
                  <a:pt x="407977" y="44493"/>
                  <a:pt x="412061" y="48538"/>
                  <a:pt x="415049" y="53952"/>
                </a:cubicBezTo>
                <a:cubicBezTo>
                  <a:pt x="418136" y="59179"/>
                  <a:pt x="419680" y="65713"/>
                  <a:pt x="419680" y="73491"/>
                </a:cubicBezTo>
                <a:close/>
                <a:moveTo>
                  <a:pt x="383675" y="98134"/>
                </a:moveTo>
                <a:cubicBezTo>
                  <a:pt x="387559" y="98134"/>
                  <a:pt x="391145" y="97263"/>
                  <a:pt x="394432" y="95458"/>
                </a:cubicBezTo>
                <a:cubicBezTo>
                  <a:pt x="397719" y="93529"/>
                  <a:pt x="400358" y="90791"/>
                  <a:pt x="402350" y="87244"/>
                </a:cubicBezTo>
                <a:cubicBezTo>
                  <a:pt x="404441" y="83635"/>
                  <a:pt x="405487" y="79154"/>
                  <a:pt x="405487" y="73803"/>
                </a:cubicBezTo>
                <a:cubicBezTo>
                  <a:pt x="405487" y="68389"/>
                  <a:pt x="404491" y="63908"/>
                  <a:pt x="402499" y="60174"/>
                </a:cubicBezTo>
                <a:cubicBezTo>
                  <a:pt x="400507" y="56503"/>
                  <a:pt x="397968" y="53765"/>
                  <a:pt x="394880" y="51961"/>
                </a:cubicBezTo>
                <a:cubicBezTo>
                  <a:pt x="391792" y="50093"/>
                  <a:pt x="388555" y="49160"/>
                  <a:pt x="385169" y="49160"/>
                </a:cubicBezTo>
                <a:cubicBezTo>
                  <a:pt x="378596" y="49160"/>
                  <a:pt x="373068" y="51276"/>
                  <a:pt x="368586" y="55570"/>
                </a:cubicBezTo>
                <a:cubicBezTo>
                  <a:pt x="364204" y="59739"/>
                  <a:pt x="362013" y="65900"/>
                  <a:pt x="362013" y="74114"/>
                </a:cubicBezTo>
                <a:cubicBezTo>
                  <a:pt x="362013" y="81270"/>
                  <a:pt x="363955" y="87058"/>
                  <a:pt x="367839" y="91538"/>
                </a:cubicBezTo>
                <a:cubicBezTo>
                  <a:pt x="371723" y="95956"/>
                  <a:pt x="377002" y="98134"/>
                  <a:pt x="383675" y="98134"/>
                </a:cubicBezTo>
                <a:close/>
                <a:moveTo>
                  <a:pt x="487328" y="108588"/>
                </a:moveTo>
                <a:lnTo>
                  <a:pt x="474181" y="108588"/>
                </a:lnTo>
                <a:lnTo>
                  <a:pt x="474181" y="83199"/>
                </a:lnTo>
                <a:lnTo>
                  <a:pt x="427868" y="83199"/>
                </a:lnTo>
                <a:lnTo>
                  <a:pt x="427868" y="73927"/>
                </a:lnTo>
                <a:lnTo>
                  <a:pt x="469699" y="1493"/>
                </a:lnTo>
                <a:lnTo>
                  <a:pt x="487328" y="1493"/>
                </a:lnTo>
                <a:lnTo>
                  <a:pt x="487328" y="71873"/>
                </a:lnTo>
                <a:lnTo>
                  <a:pt x="501819" y="71873"/>
                </a:lnTo>
                <a:lnTo>
                  <a:pt x="501819" y="83199"/>
                </a:lnTo>
                <a:lnTo>
                  <a:pt x="487328" y="83199"/>
                </a:lnTo>
                <a:lnTo>
                  <a:pt x="487328" y="108588"/>
                </a:lnTo>
                <a:close/>
                <a:moveTo>
                  <a:pt x="441463" y="71873"/>
                </a:moveTo>
                <a:lnTo>
                  <a:pt x="474181" y="71873"/>
                </a:lnTo>
                <a:lnTo>
                  <a:pt x="474181" y="16117"/>
                </a:lnTo>
                <a:lnTo>
                  <a:pt x="441463" y="71873"/>
                </a:lnTo>
                <a:close/>
                <a:moveTo>
                  <a:pt x="518521" y="1493"/>
                </a:moveTo>
                <a:lnTo>
                  <a:pt x="554825" y="1493"/>
                </a:lnTo>
                <a:cubicBezTo>
                  <a:pt x="566577" y="1493"/>
                  <a:pt x="575492" y="3484"/>
                  <a:pt x="581567" y="7467"/>
                </a:cubicBezTo>
                <a:cubicBezTo>
                  <a:pt x="587742" y="11450"/>
                  <a:pt x="590830" y="18170"/>
                  <a:pt x="590830" y="27629"/>
                </a:cubicBezTo>
                <a:cubicBezTo>
                  <a:pt x="590830" y="35283"/>
                  <a:pt x="588888" y="41133"/>
                  <a:pt x="585003" y="45116"/>
                </a:cubicBezTo>
                <a:cubicBezTo>
                  <a:pt x="581119" y="48974"/>
                  <a:pt x="575940" y="51649"/>
                  <a:pt x="569466" y="53018"/>
                </a:cubicBezTo>
                <a:cubicBezTo>
                  <a:pt x="577733" y="54014"/>
                  <a:pt x="584007" y="56441"/>
                  <a:pt x="588290" y="60361"/>
                </a:cubicBezTo>
                <a:cubicBezTo>
                  <a:pt x="592573" y="64157"/>
                  <a:pt x="594714" y="69882"/>
                  <a:pt x="594714" y="77661"/>
                </a:cubicBezTo>
                <a:cubicBezTo>
                  <a:pt x="594714" y="85066"/>
                  <a:pt x="592971" y="91040"/>
                  <a:pt x="589485" y="95583"/>
                </a:cubicBezTo>
                <a:cubicBezTo>
                  <a:pt x="585999" y="100188"/>
                  <a:pt x="581218" y="103486"/>
                  <a:pt x="575143" y="105601"/>
                </a:cubicBezTo>
                <a:cubicBezTo>
                  <a:pt x="569067" y="107592"/>
                  <a:pt x="562195" y="108588"/>
                  <a:pt x="554526" y="108588"/>
                </a:cubicBezTo>
                <a:lnTo>
                  <a:pt x="518521" y="108588"/>
                </a:lnTo>
                <a:lnTo>
                  <a:pt x="518521" y="1493"/>
                </a:lnTo>
                <a:close/>
                <a:moveTo>
                  <a:pt x="553779" y="47231"/>
                </a:moveTo>
                <a:cubicBezTo>
                  <a:pt x="560552" y="47231"/>
                  <a:pt x="566030" y="45738"/>
                  <a:pt x="570213" y="42751"/>
                </a:cubicBezTo>
                <a:cubicBezTo>
                  <a:pt x="574496" y="39639"/>
                  <a:pt x="576637" y="34848"/>
                  <a:pt x="576637" y="28376"/>
                </a:cubicBezTo>
                <a:cubicBezTo>
                  <a:pt x="576637" y="22900"/>
                  <a:pt x="574745" y="19228"/>
                  <a:pt x="570960" y="17361"/>
                </a:cubicBezTo>
                <a:cubicBezTo>
                  <a:pt x="567175" y="15370"/>
                  <a:pt x="561797" y="14374"/>
                  <a:pt x="554825" y="14374"/>
                </a:cubicBezTo>
                <a:lnTo>
                  <a:pt x="532565" y="14374"/>
                </a:lnTo>
                <a:lnTo>
                  <a:pt x="532565" y="47231"/>
                </a:lnTo>
                <a:lnTo>
                  <a:pt x="553779" y="47231"/>
                </a:lnTo>
                <a:close/>
                <a:moveTo>
                  <a:pt x="554526" y="95893"/>
                </a:moveTo>
                <a:cubicBezTo>
                  <a:pt x="562096" y="95893"/>
                  <a:pt x="568221" y="94587"/>
                  <a:pt x="572902" y="92035"/>
                </a:cubicBezTo>
                <a:cubicBezTo>
                  <a:pt x="577583" y="89422"/>
                  <a:pt x="579924" y="84755"/>
                  <a:pt x="579924" y="77972"/>
                </a:cubicBezTo>
                <a:cubicBezTo>
                  <a:pt x="579924" y="71189"/>
                  <a:pt x="577733" y="66522"/>
                  <a:pt x="573350" y="63908"/>
                </a:cubicBezTo>
                <a:cubicBezTo>
                  <a:pt x="569067" y="61233"/>
                  <a:pt x="562245" y="59926"/>
                  <a:pt x="552883" y="59926"/>
                </a:cubicBezTo>
                <a:lnTo>
                  <a:pt x="532565" y="59926"/>
                </a:lnTo>
                <a:lnTo>
                  <a:pt x="532565" y="95893"/>
                </a:lnTo>
                <a:lnTo>
                  <a:pt x="554526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8" name="Полилиния 967">
            <a:extLst>
              <a:ext uri="{FF2B5EF4-FFF2-40B4-BE49-F238E27FC236}">
                <a16:creationId xmlns:a16="http://schemas.microsoft.com/office/drawing/2014/main" id="{25A9EF5D-33B7-49A0-35A3-2A1D8EF57471}"/>
              </a:ext>
            </a:extLst>
          </p:cNvPr>
          <p:cNvSpPr/>
          <p:nvPr userDrawn="1"/>
        </p:nvSpPr>
        <p:spPr>
          <a:xfrm>
            <a:off x="12270615" y="4513847"/>
            <a:ext cx="1398954" cy="726227"/>
          </a:xfrm>
          <a:custGeom>
            <a:avLst/>
            <a:gdLst>
              <a:gd name="connsiteX0" fmla="*/ 0 w 1198727"/>
              <a:gd name="connsiteY0" fmla="*/ 1122 h 622284"/>
              <a:gd name="connsiteX1" fmla="*/ 1198728 w 1198727"/>
              <a:gd name="connsiteY1" fmla="*/ 1122 h 622284"/>
              <a:gd name="connsiteX2" fmla="*/ 1198728 w 1198727"/>
              <a:gd name="connsiteY2" fmla="*/ 623406 h 622284"/>
              <a:gd name="connsiteX3" fmla="*/ 0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122"/>
                </a:moveTo>
                <a:lnTo>
                  <a:pt x="1198728" y="1122"/>
                </a:lnTo>
                <a:lnTo>
                  <a:pt x="1198728" y="623406"/>
                </a:lnTo>
                <a:lnTo>
                  <a:pt x="0" y="623406"/>
                </a:lnTo>
                <a:close/>
              </a:path>
            </a:pathLst>
          </a:custGeom>
          <a:solidFill>
            <a:srgbClr val="006469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9" name="Полилиния 968">
            <a:extLst>
              <a:ext uri="{FF2B5EF4-FFF2-40B4-BE49-F238E27FC236}">
                <a16:creationId xmlns:a16="http://schemas.microsoft.com/office/drawing/2014/main" id="{A4BC5B49-6451-488E-4A68-440356AB9477}"/>
              </a:ext>
            </a:extLst>
          </p:cNvPr>
          <p:cNvSpPr/>
          <p:nvPr userDrawn="1"/>
        </p:nvSpPr>
        <p:spPr>
          <a:xfrm>
            <a:off x="12393824" y="4815595"/>
            <a:ext cx="681497" cy="128468"/>
          </a:xfrm>
          <a:custGeom>
            <a:avLst/>
            <a:gdLst>
              <a:gd name="connsiteX0" fmla="*/ 22111 w 583957"/>
              <a:gd name="connsiteY0" fmla="*/ 108588 h 110081"/>
              <a:gd name="connsiteX1" fmla="*/ 10159 w 583957"/>
              <a:gd name="connsiteY1" fmla="*/ 108588 h 110081"/>
              <a:gd name="connsiteX2" fmla="*/ 16434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02 w 583957"/>
              <a:gd name="connsiteY6" fmla="*/ 40012 h 110081"/>
              <a:gd name="connsiteX7" fmla="*/ 4034 w 583957"/>
              <a:gd name="connsiteY7" fmla="*/ 40012 h 110081"/>
              <a:gd name="connsiteX8" fmla="*/ 4034 w 583957"/>
              <a:gd name="connsiteY8" fmla="*/ 29559 h 110081"/>
              <a:gd name="connsiteX9" fmla="*/ 26294 w 583957"/>
              <a:gd name="connsiteY9" fmla="*/ 29559 h 110081"/>
              <a:gd name="connsiteX10" fmla="*/ 32120 w 583957"/>
              <a:gd name="connsiteY10" fmla="*/ 1493 h 110081"/>
              <a:gd name="connsiteX11" fmla="*/ 44072 w 583957"/>
              <a:gd name="connsiteY11" fmla="*/ 1493 h 110081"/>
              <a:gd name="connsiteX12" fmla="*/ 38246 w 583957"/>
              <a:gd name="connsiteY12" fmla="*/ 29559 h 110081"/>
              <a:gd name="connsiteX13" fmla="*/ 60655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607 w 583957"/>
              <a:gd name="connsiteY16" fmla="*/ 29559 h 110081"/>
              <a:gd name="connsiteX17" fmla="*/ 89340 w 583957"/>
              <a:gd name="connsiteY17" fmla="*/ 29559 h 110081"/>
              <a:gd name="connsiteX18" fmla="*/ 89340 w 583957"/>
              <a:gd name="connsiteY18" fmla="*/ 40012 h 110081"/>
              <a:gd name="connsiteX19" fmla="*/ 70516 w 583957"/>
              <a:gd name="connsiteY19" fmla="*/ 40012 h 110081"/>
              <a:gd name="connsiteX20" fmla="*/ 64988 w 583957"/>
              <a:gd name="connsiteY20" fmla="*/ 67206 h 110081"/>
              <a:gd name="connsiteX21" fmla="*/ 85306 w 583957"/>
              <a:gd name="connsiteY21" fmla="*/ 67206 h 110081"/>
              <a:gd name="connsiteX22" fmla="*/ 85306 w 583957"/>
              <a:gd name="connsiteY22" fmla="*/ 77661 h 110081"/>
              <a:gd name="connsiteX23" fmla="*/ 62747 w 583957"/>
              <a:gd name="connsiteY23" fmla="*/ 77661 h 110081"/>
              <a:gd name="connsiteX24" fmla="*/ 56472 w 583957"/>
              <a:gd name="connsiteY24" fmla="*/ 108588 h 110081"/>
              <a:gd name="connsiteX25" fmla="*/ 44520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111 w 583957"/>
              <a:gd name="connsiteY28" fmla="*/ 108588 h 110081"/>
              <a:gd name="connsiteX29" fmla="*/ 30626 w 583957"/>
              <a:gd name="connsiteY29" fmla="*/ 67206 h 110081"/>
              <a:gd name="connsiteX30" fmla="*/ 53036 w 583957"/>
              <a:gd name="connsiteY30" fmla="*/ 67206 h 110081"/>
              <a:gd name="connsiteX31" fmla="*/ 58564 w 583957"/>
              <a:gd name="connsiteY31" fmla="*/ 40012 h 110081"/>
              <a:gd name="connsiteX32" fmla="*/ 36154 w 583957"/>
              <a:gd name="connsiteY32" fmla="*/ 40012 h 110081"/>
              <a:gd name="connsiteX33" fmla="*/ 30626 w 583957"/>
              <a:gd name="connsiteY33" fmla="*/ 67206 h 110081"/>
              <a:gd name="connsiteX34" fmla="*/ 136659 w 583957"/>
              <a:gd name="connsiteY34" fmla="*/ 110082 h 110081"/>
              <a:gd name="connsiteX35" fmla="*/ 118432 w 583957"/>
              <a:gd name="connsiteY35" fmla="*/ 104233 h 110081"/>
              <a:gd name="connsiteX36" fmla="*/ 105734 w 583957"/>
              <a:gd name="connsiteY36" fmla="*/ 86311 h 110081"/>
              <a:gd name="connsiteX37" fmla="*/ 101252 w 583957"/>
              <a:gd name="connsiteY37" fmla="*/ 54947 h 110081"/>
              <a:gd name="connsiteX38" fmla="*/ 105734 w 583957"/>
              <a:gd name="connsiteY38" fmla="*/ 23584 h 110081"/>
              <a:gd name="connsiteX39" fmla="*/ 118432 w 583957"/>
              <a:gd name="connsiteY39" fmla="*/ 5849 h 110081"/>
              <a:gd name="connsiteX40" fmla="*/ 136659 w 583957"/>
              <a:gd name="connsiteY40" fmla="*/ 186 h 110081"/>
              <a:gd name="connsiteX41" fmla="*/ 154736 w 583957"/>
              <a:gd name="connsiteY41" fmla="*/ 5849 h 110081"/>
              <a:gd name="connsiteX42" fmla="*/ 167136 w 583957"/>
              <a:gd name="connsiteY42" fmla="*/ 23584 h 110081"/>
              <a:gd name="connsiteX43" fmla="*/ 171618 w 583957"/>
              <a:gd name="connsiteY43" fmla="*/ 54698 h 110081"/>
              <a:gd name="connsiteX44" fmla="*/ 167136 w 583957"/>
              <a:gd name="connsiteY44" fmla="*/ 86062 h 110081"/>
              <a:gd name="connsiteX45" fmla="*/ 154736 w 583957"/>
              <a:gd name="connsiteY45" fmla="*/ 104233 h 110081"/>
              <a:gd name="connsiteX46" fmla="*/ 136659 w 583957"/>
              <a:gd name="connsiteY46" fmla="*/ 110082 h 110081"/>
              <a:gd name="connsiteX47" fmla="*/ 136509 w 583957"/>
              <a:gd name="connsiteY47" fmla="*/ 98258 h 110081"/>
              <a:gd name="connsiteX48" fmla="*/ 147864 w 583957"/>
              <a:gd name="connsiteY48" fmla="*/ 94275 h 110081"/>
              <a:gd name="connsiteX49" fmla="*/ 155035 w 583957"/>
              <a:gd name="connsiteY49" fmla="*/ 80648 h 110081"/>
              <a:gd name="connsiteX50" fmla="*/ 157575 w 583957"/>
              <a:gd name="connsiteY50" fmla="*/ 55134 h 110081"/>
              <a:gd name="connsiteX51" fmla="*/ 155184 w 583957"/>
              <a:gd name="connsiteY51" fmla="*/ 29745 h 110081"/>
              <a:gd name="connsiteX52" fmla="*/ 148013 w 583957"/>
              <a:gd name="connsiteY52" fmla="*/ 16117 h 110081"/>
              <a:gd name="connsiteX53" fmla="*/ 136659 w 583957"/>
              <a:gd name="connsiteY53" fmla="*/ 11947 h 110081"/>
              <a:gd name="connsiteX54" fmla="*/ 125155 w 583957"/>
              <a:gd name="connsiteY54" fmla="*/ 16117 h 110081"/>
              <a:gd name="connsiteX55" fmla="*/ 117835 w 583957"/>
              <a:gd name="connsiteY55" fmla="*/ 29745 h 110081"/>
              <a:gd name="connsiteX56" fmla="*/ 115295 w 583957"/>
              <a:gd name="connsiteY56" fmla="*/ 55134 h 110081"/>
              <a:gd name="connsiteX57" fmla="*/ 117685 w 583957"/>
              <a:gd name="connsiteY57" fmla="*/ 80648 h 110081"/>
              <a:gd name="connsiteX58" fmla="*/ 125006 w 583957"/>
              <a:gd name="connsiteY58" fmla="*/ 94275 h 110081"/>
              <a:gd name="connsiteX59" fmla="*/ 136509 w 583957"/>
              <a:gd name="connsiteY59" fmla="*/ 98258 h 110081"/>
              <a:gd name="connsiteX60" fmla="*/ 218798 w 583957"/>
              <a:gd name="connsiteY60" fmla="*/ 110082 h 110081"/>
              <a:gd name="connsiteX61" fmla="*/ 200572 w 583957"/>
              <a:gd name="connsiteY61" fmla="*/ 104233 h 110081"/>
              <a:gd name="connsiteX62" fmla="*/ 187873 w 583957"/>
              <a:gd name="connsiteY62" fmla="*/ 86311 h 110081"/>
              <a:gd name="connsiteX63" fmla="*/ 183391 w 583957"/>
              <a:gd name="connsiteY63" fmla="*/ 54947 h 110081"/>
              <a:gd name="connsiteX64" fmla="*/ 187873 w 583957"/>
              <a:gd name="connsiteY64" fmla="*/ 23584 h 110081"/>
              <a:gd name="connsiteX65" fmla="*/ 200572 w 583957"/>
              <a:gd name="connsiteY65" fmla="*/ 5849 h 110081"/>
              <a:gd name="connsiteX66" fmla="*/ 218798 w 583957"/>
              <a:gd name="connsiteY66" fmla="*/ 186 h 110081"/>
              <a:gd name="connsiteX67" fmla="*/ 236875 w 583957"/>
              <a:gd name="connsiteY67" fmla="*/ 5849 h 110081"/>
              <a:gd name="connsiteX68" fmla="*/ 249275 w 583957"/>
              <a:gd name="connsiteY68" fmla="*/ 23584 h 110081"/>
              <a:gd name="connsiteX69" fmla="*/ 253757 w 583957"/>
              <a:gd name="connsiteY69" fmla="*/ 54698 h 110081"/>
              <a:gd name="connsiteX70" fmla="*/ 249275 w 583957"/>
              <a:gd name="connsiteY70" fmla="*/ 86062 h 110081"/>
              <a:gd name="connsiteX71" fmla="*/ 236875 w 583957"/>
              <a:gd name="connsiteY71" fmla="*/ 104233 h 110081"/>
              <a:gd name="connsiteX72" fmla="*/ 218798 w 583957"/>
              <a:gd name="connsiteY72" fmla="*/ 110082 h 110081"/>
              <a:gd name="connsiteX73" fmla="*/ 218649 w 583957"/>
              <a:gd name="connsiteY73" fmla="*/ 98258 h 110081"/>
              <a:gd name="connsiteX74" fmla="*/ 230003 w 583957"/>
              <a:gd name="connsiteY74" fmla="*/ 94275 h 110081"/>
              <a:gd name="connsiteX75" fmla="*/ 237174 w 583957"/>
              <a:gd name="connsiteY75" fmla="*/ 80648 h 110081"/>
              <a:gd name="connsiteX76" fmla="*/ 239714 w 583957"/>
              <a:gd name="connsiteY76" fmla="*/ 55134 h 110081"/>
              <a:gd name="connsiteX77" fmla="*/ 237324 w 583957"/>
              <a:gd name="connsiteY77" fmla="*/ 29745 h 110081"/>
              <a:gd name="connsiteX78" fmla="*/ 230152 w 583957"/>
              <a:gd name="connsiteY78" fmla="*/ 16117 h 110081"/>
              <a:gd name="connsiteX79" fmla="*/ 218798 w 583957"/>
              <a:gd name="connsiteY79" fmla="*/ 11947 h 110081"/>
              <a:gd name="connsiteX80" fmla="*/ 207295 w 583957"/>
              <a:gd name="connsiteY80" fmla="*/ 16117 h 110081"/>
              <a:gd name="connsiteX81" fmla="*/ 199974 w 583957"/>
              <a:gd name="connsiteY81" fmla="*/ 29745 h 110081"/>
              <a:gd name="connsiteX82" fmla="*/ 197434 w 583957"/>
              <a:gd name="connsiteY82" fmla="*/ 55134 h 110081"/>
              <a:gd name="connsiteX83" fmla="*/ 199825 w 583957"/>
              <a:gd name="connsiteY83" fmla="*/ 80648 h 110081"/>
              <a:gd name="connsiteX84" fmla="*/ 207145 w 583957"/>
              <a:gd name="connsiteY84" fmla="*/ 94275 h 110081"/>
              <a:gd name="connsiteX85" fmla="*/ 218649 w 583957"/>
              <a:gd name="connsiteY85" fmla="*/ 98258 h 110081"/>
              <a:gd name="connsiteX86" fmla="*/ 337541 w 583957"/>
              <a:gd name="connsiteY86" fmla="*/ 73491 h 110081"/>
              <a:gd name="connsiteX87" fmla="*/ 332760 w 583957"/>
              <a:gd name="connsiteY87" fmla="*/ 92782 h 110081"/>
              <a:gd name="connsiteX88" fmla="*/ 320061 w 583957"/>
              <a:gd name="connsiteY88" fmla="*/ 105601 h 110081"/>
              <a:gd name="connsiteX89" fmla="*/ 301984 w 583957"/>
              <a:gd name="connsiteY89" fmla="*/ 110082 h 110081"/>
              <a:gd name="connsiteX90" fmla="*/ 280321 w 583957"/>
              <a:gd name="connsiteY90" fmla="*/ 104108 h 110081"/>
              <a:gd name="connsiteX91" fmla="*/ 268220 w 583957"/>
              <a:gd name="connsiteY91" fmla="*/ 87555 h 110081"/>
              <a:gd name="connsiteX92" fmla="*/ 264485 w 583957"/>
              <a:gd name="connsiteY92" fmla="*/ 63161 h 110081"/>
              <a:gd name="connsiteX93" fmla="*/ 268967 w 583957"/>
              <a:gd name="connsiteY93" fmla="*/ 30181 h 110081"/>
              <a:gd name="connsiteX94" fmla="*/ 283011 w 583957"/>
              <a:gd name="connsiteY94" fmla="*/ 8089 h 110081"/>
              <a:gd name="connsiteX95" fmla="*/ 307512 w 583957"/>
              <a:gd name="connsiteY95" fmla="*/ 0 h 110081"/>
              <a:gd name="connsiteX96" fmla="*/ 330071 w 583957"/>
              <a:gd name="connsiteY96" fmla="*/ 5538 h 110081"/>
              <a:gd name="connsiteX97" fmla="*/ 330071 w 583957"/>
              <a:gd name="connsiteY97" fmla="*/ 18855 h 110081"/>
              <a:gd name="connsiteX98" fmla="*/ 307512 w 583957"/>
              <a:gd name="connsiteY98" fmla="*/ 12259 h 110081"/>
              <a:gd name="connsiteX99" fmla="*/ 291974 w 583957"/>
              <a:gd name="connsiteY99" fmla="*/ 17361 h 110081"/>
              <a:gd name="connsiteX100" fmla="*/ 282114 w 583957"/>
              <a:gd name="connsiteY100" fmla="*/ 31238 h 110081"/>
              <a:gd name="connsiteX101" fmla="*/ 277931 w 583957"/>
              <a:gd name="connsiteY101" fmla="*/ 50778 h 110081"/>
              <a:gd name="connsiteX102" fmla="*/ 289285 w 583957"/>
              <a:gd name="connsiteY102" fmla="*/ 40759 h 110081"/>
              <a:gd name="connsiteX103" fmla="*/ 303329 w 583957"/>
              <a:gd name="connsiteY103" fmla="*/ 37523 h 110081"/>
              <a:gd name="connsiteX104" fmla="*/ 320659 w 583957"/>
              <a:gd name="connsiteY104" fmla="*/ 41693 h 110081"/>
              <a:gd name="connsiteX105" fmla="*/ 332909 w 583957"/>
              <a:gd name="connsiteY105" fmla="*/ 53952 h 110081"/>
              <a:gd name="connsiteX106" fmla="*/ 337541 w 583957"/>
              <a:gd name="connsiteY106" fmla="*/ 73491 h 110081"/>
              <a:gd name="connsiteX107" fmla="*/ 301536 w 583957"/>
              <a:gd name="connsiteY107" fmla="*/ 98134 h 110081"/>
              <a:gd name="connsiteX108" fmla="*/ 312292 w 583957"/>
              <a:gd name="connsiteY108" fmla="*/ 95458 h 110081"/>
              <a:gd name="connsiteX109" fmla="*/ 320210 w 583957"/>
              <a:gd name="connsiteY109" fmla="*/ 87244 h 110081"/>
              <a:gd name="connsiteX110" fmla="*/ 323348 w 583957"/>
              <a:gd name="connsiteY110" fmla="*/ 73803 h 110081"/>
              <a:gd name="connsiteX111" fmla="*/ 320360 w 583957"/>
              <a:gd name="connsiteY111" fmla="*/ 60174 h 110081"/>
              <a:gd name="connsiteX112" fmla="*/ 312741 w 583957"/>
              <a:gd name="connsiteY112" fmla="*/ 51961 h 110081"/>
              <a:gd name="connsiteX113" fmla="*/ 303030 w 583957"/>
              <a:gd name="connsiteY113" fmla="*/ 49160 h 110081"/>
              <a:gd name="connsiteX114" fmla="*/ 286447 w 583957"/>
              <a:gd name="connsiteY114" fmla="*/ 55570 h 110081"/>
              <a:gd name="connsiteX115" fmla="*/ 279873 w 583957"/>
              <a:gd name="connsiteY115" fmla="*/ 74114 h 110081"/>
              <a:gd name="connsiteX116" fmla="*/ 285700 w 583957"/>
              <a:gd name="connsiteY116" fmla="*/ 91538 h 110081"/>
              <a:gd name="connsiteX117" fmla="*/ 301536 w 583957"/>
              <a:gd name="connsiteY117" fmla="*/ 98134 h 110081"/>
              <a:gd name="connsiteX118" fmla="*/ 405188 w 583957"/>
              <a:gd name="connsiteY118" fmla="*/ 108588 h 110081"/>
              <a:gd name="connsiteX119" fmla="*/ 392041 w 583957"/>
              <a:gd name="connsiteY119" fmla="*/ 108588 h 110081"/>
              <a:gd name="connsiteX120" fmla="*/ 392041 w 583957"/>
              <a:gd name="connsiteY120" fmla="*/ 83199 h 110081"/>
              <a:gd name="connsiteX121" fmla="*/ 345728 w 583957"/>
              <a:gd name="connsiteY121" fmla="*/ 83199 h 110081"/>
              <a:gd name="connsiteX122" fmla="*/ 345728 w 583957"/>
              <a:gd name="connsiteY122" fmla="*/ 73927 h 110081"/>
              <a:gd name="connsiteX123" fmla="*/ 387559 w 583957"/>
              <a:gd name="connsiteY123" fmla="*/ 1493 h 110081"/>
              <a:gd name="connsiteX124" fmla="*/ 405188 w 583957"/>
              <a:gd name="connsiteY124" fmla="*/ 1493 h 110081"/>
              <a:gd name="connsiteX125" fmla="*/ 405188 w 583957"/>
              <a:gd name="connsiteY125" fmla="*/ 71873 h 110081"/>
              <a:gd name="connsiteX126" fmla="*/ 419680 w 583957"/>
              <a:gd name="connsiteY126" fmla="*/ 71873 h 110081"/>
              <a:gd name="connsiteX127" fmla="*/ 419680 w 583957"/>
              <a:gd name="connsiteY127" fmla="*/ 83199 h 110081"/>
              <a:gd name="connsiteX128" fmla="*/ 405188 w 583957"/>
              <a:gd name="connsiteY128" fmla="*/ 83199 h 110081"/>
              <a:gd name="connsiteX129" fmla="*/ 405188 w 583957"/>
              <a:gd name="connsiteY129" fmla="*/ 108588 h 110081"/>
              <a:gd name="connsiteX130" fmla="*/ 359323 w 583957"/>
              <a:gd name="connsiteY130" fmla="*/ 71873 h 110081"/>
              <a:gd name="connsiteX131" fmla="*/ 392041 w 583957"/>
              <a:gd name="connsiteY131" fmla="*/ 71873 h 110081"/>
              <a:gd name="connsiteX132" fmla="*/ 392041 w 583957"/>
              <a:gd name="connsiteY132" fmla="*/ 16117 h 110081"/>
              <a:gd name="connsiteX133" fmla="*/ 359323 w 583957"/>
              <a:gd name="connsiteY133" fmla="*/ 71873 h 110081"/>
              <a:gd name="connsiteX134" fmla="*/ 501819 w 583957"/>
              <a:gd name="connsiteY134" fmla="*/ 73491 h 110081"/>
              <a:gd name="connsiteX135" fmla="*/ 497039 w 583957"/>
              <a:gd name="connsiteY135" fmla="*/ 92782 h 110081"/>
              <a:gd name="connsiteX136" fmla="*/ 484340 w 583957"/>
              <a:gd name="connsiteY136" fmla="*/ 105601 h 110081"/>
              <a:gd name="connsiteX137" fmla="*/ 466263 w 583957"/>
              <a:gd name="connsiteY137" fmla="*/ 110082 h 110081"/>
              <a:gd name="connsiteX138" fmla="*/ 444600 w 583957"/>
              <a:gd name="connsiteY138" fmla="*/ 104108 h 110081"/>
              <a:gd name="connsiteX139" fmla="*/ 432499 w 583957"/>
              <a:gd name="connsiteY139" fmla="*/ 87555 h 110081"/>
              <a:gd name="connsiteX140" fmla="*/ 428764 w 583957"/>
              <a:gd name="connsiteY140" fmla="*/ 63161 h 110081"/>
              <a:gd name="connsiteX141" fmla="*/ 433246 w 583957"/>
              <a:gd name="connsiteY141" fmla="*/ 30181 h 110081"/>
              <a:gd name="connsiteX142" fmla="*/ 447289 w 583957"/>
              <a:gd name="connsiteY142" fmla="*/ 8089 h 110081"/>
              <a:gd name="connsiteX143" fmla="*/ 471790 w 583957"/>
              <a:gd name="connsiteY143" fmla="*/ 0 h 110081"/>
              <a:gd name="connsiteX144" fmla="*/ 494349 w 583957"/>
              <a:gd name="connsiteY144" fmla="*/ 5538 h 110081"/>
              <a:gd name="connsiteX145" fmla="*/ 494349 w 583957"/>
              <a:gd name="connsiteY145" fmla="*/ 18855 h 110081"/>
              <a:gd name="connsiteX146" fmla="*/ 471790 w 583957"/>
              <a:gd name="connsiteY146" fmla="*/ 12259 h 110081"/>
              <a:gd name="connsiteX147" fmla="*/ 456253 w 583957"/>
              <a:gd name="connsiteY147" fmla="*/ 17361 h 110081"/>
              <a:gd name="connsiteX148" fmla="*/ 446393 w 583957"/>
              <a:gd name="connsiteY148" fmla="*/ 31238 h 110081"/>
              <a:gd name="connsiteX149" fmla="*/ 442210 w 583957"/>
              <a:gd name="connsiteY149" fmla="*/ 50778 h 110081"/>
              <a:gd name="connsiteX150" fmla="*/ 453564 w 583957"/>
              <a:gd name="connsiteY150" fmla="*/ 40759 h 110081"/>
              <a:gd name="connsiteX151" fmla="*/ 467607 w 583957"/>
              <a:gd name="connsiteY151" fmla="*/ 37523 h 110081"/>
              <a:gd name="connsiteX152" fmla="*/ 484937 w 583957"/>
              <a:gd name="connsiteY152" fmla="*/ 41693 h 110081"/>
              <a:gd name="connsiteX153" fmla="*/ 497188 w 583957"/>
              <a:gd name="connsiteY153" fmla="*/ 53952 h 110081"/>
              <a:gd name="connsiteX154" fmla="*/ 501819 w 583957"/>
              <a:gd name="connsiteY154" fmla="*/ 73491 h 110081"/>
              <a:gd name="connsiteX155" fmla="*/ 465815 w 583957"/>
              <a:gd name="connsiteY155" fmla="*/ 98134 h 110081"/>
              <a:gd name="connsiteX156" fmla="*/ 476571 w 583957"/>
              <a:gd name="connsiteY156" fmla="*/ 95458 h 110081"/>
              <a:gd name="connsiteX157" fmla="*/ 484489 w 583957"/>
              <a:gd name="connsiteY157" fmla="*/ 87244 h 110081"/>
              <a:gd name="connsiteX158" fmla="*/ 487627 w 583957"/>
              <a:gd name="connsiteY158" fmla="*/ 73803 h 110081"/>
              <a:gd name="connsiteX159" fmla="*/ 484639 w 583957"/>
              <a:gd name="connsiteY159" fmla="*/ 60174 h 110081"/>
              <a:gd name="connsiteX160" fmla="*/ 477019 w 583957"/>
              <a:gd name="connsiteY160" fmla="*/ 51961 h 110081"/>
              <a:gd name="connsiteX161" fmla="*/ 467308 w 583957"/>
              <a:gd name="connsiteY161" fmla="*/ 49160 h 110081"/>
              <a:gd name="connsiteX162" fmla="*/ 450725 w 583957"/>
              <a:gd name="connsiteY162" fmla="*/ 55570 h 110081"/>
              <a:gd name="connsiteX163" fmla="*/ 444152 w 583957"/>
              <a:gd name="connsiteY163" fmla="*/ 74114 h 110081"/>
              <a:gd name="connsiteX164" fmla="*/ 449978 w 583957"/>
              <a:gd name="connsiteY164" fmla="*/ 91538 h 110081"/>
              <a:gd name="connsiteX165" fmla="*/ 465815 w 583957"/>
              <a:gd name="connsiteY165" fmla="*/ 98134 h 110081"/>
              <a:gd name="connsiteX166" fmla="*/ 510903 w 583957"/>
              <a:gd name="connsiteY166" fmla="*/ 35844 h 110081"/>
              <a:gd name="connsiteX167" fmla="*/ 515535 w 583957"/>
              <a:gd name="connsiteY167" fmla="*/ 17051 h 110081"/>
              <a:gd name="connsiteX168" fmla="*/ 528382 w 583957"/>
              <a:gd name="connsiteY168" fmla="*/ 4480 h 110081"/>
              <a:gd name="connsiteX169" fmla="*/ 546459 w 583957"/>
              <a:gd name="connsiteY169" fmla="*/ 0 h 110081"/>
              <a:gd name="connsiteX170" fmla="*/ 568121 w 583957"/>
              <a:gd name="connsiteY170" fmla="*/ 5849 h 110081"/>
              <a:gd name="connsiteX171" fmla="*/ 580222 w 583957"/>
              <a:gd name="connsiteY171" fmla="*/ 21842 h 110081"/>
              <a:gd name="connsiteX172" fmla="*/ 583957 w 583957"/>
              <a:gd name="connsiteY172" fmla="*/ 45426 h 110081"/>
              <a:gd name="connsiteX173" fmla="*/ 579326 w 583957"/>
              <a:gd name="connsiteY173" fmla="*/ 80088 h 110081"/>
              <a:gd name="connsiteX174" fmla="*/ 564984 w 583957"/>
              <a:gd name="connsiteY174" fmla="*/ 102303 h 110081"/>
              <a:gd name="connsiteX175" fmla="*/ 540483 w 583957"/>
              <a:gd name="connsiteY175" fmla="*/ 110082 h 110081"/>
              <a:gd name="connsiteX176" fmla="*/ 517476 w 583957"/>
              <a:gd name="connsiteY176" fmla="*/ 104543 h 110081"/>
              <a:gd name="connsiteX177" fmla="*/ 517476 w 583957"/>
              <a:gd name="connsiteY177" fmla="*/ 91413 h 110081"/>
              <a:gd name="connsiteX178" fmla="*/ 540483 w 583957"/>
              <a:gd name="connsiteY178" fmla="*/ 98010 h 110081"/>
              <a:gd name="connsiteX179" fmla="*/ 556020 w 583957"/>
              <a:gd name="connsiteY179" fmla="*/ 92907 h 110081"/>
              <a:gd name="connsiteX180" fmla="*/ 565731 w 583957"/>
              <a:gd name="connsiteY180" fmla="*/ 79154 h 110081"/>
              <a:gd name="connsiteX181" fmla="*/ 570063 w 583957"/>
              <a:gd name="connsiteY181" fmla="*/ 59739 h 110081"/>
              <a:gd name="connsiteX182" fmla="*/ 559008 w 583957"/>
              <a:gd name="connsiteY182" fmla="*/ 68389 h 110081"/>
              <a:gd name="connsiteX183" fmla="*/ 545114 w 583957"/>
              <a:gd name="connsiteY183" fmla="*/ 71127 h 110081"/>
              <a:gd name="connsiteX184" fmla="*/ 527784 w 583957"/>
              <a:gd name="connsiteY184" fmla="*/ 67082 h 110081"/>
              <a:gd name="connsiteX185" fmla="*/ 515385 w 583957"/>
              <a:gd name="connsiteY185" fmla="*/ 55134 h 110081"/>
              <a:gd name="connsiteX186" fmla="*/ 510903 w 583957"/>
              <a:gd name="connsiteY186" fmla="*/ 35844 h 110081"/>
              <a:gd name="connsiteX187" fmla="*/ 546907 w 583957"/>
              <a:gd name="connsiteY187" fmla="*/ 12134 h 110081"/>
              <a:gd name="connsiteX188" fmla="*/ 536150 w 583957"/>
              <a:gd name="connsiteY188" fmla="*/ 14810 h 110081"/>
              <a:gd name="connsiteX189" fmla="*/ 528083 w 583957"/>
              <a:gd name="connsiteY189" fmla="*/ 22589 h 110081"/>
              <a:gd name="connsiteX190" fmla="*/ 525095 w 583957"/>
              <a:gd name="connsiteY190" fmla="*/ 35532 h 110081"/>
              <a:gd name="connsiteX191" fmla="*/ 528083 w 583957"/>
              <a:gd name="connsiteY191" fmla="*/ 48725 h 110081"/>
              <a:gd name="connsiteX192" fmla="*/ 535702 w 583957"/>
              <a:gd name="connsiteY192" fmla="*/ 56752 h 110081"/>
              <a:gd name="connsiteX193" fmla="*/ 545413 w 583957"/>
              <a:gd name="connsiteY193" fmla="*/ 59428 h 110081"/>
              <a:gd name="connsiteX194" fmla="*/ 561847 w 583957"/>
              <a:gd name="connsiteY194" fmla="*/ 53329 h 110081"/>
              <a:gd name="connsiteX195" fmla="*/ 568569 w 583957"/>
              <a:gd name="connsiteY195" fmla="*/ 35283 h 110081"/>
              <a:gd name="connsiteX196" fmla="*/ 562743 w 583957"/>
              <a:gd name="connsiteY196" fmla="*/ 18544 h 110081"/>
              <a:gd name="connsiteX197" fmla="*/ 546907 w 583957"/>
              <a:gd name="connsiteY197" fmla="*/ 12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58395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337541" y="73491"/>
                </a:moveTo>
                <a:cubicBezTo>
                  <a:pt x="337541" y="80772"/>
                  <a:pt x="335947" y="87182"/>
                  <a:pt x="332760" y="92782"/>
                </a:cubicBezTo>
                <a:cubicBezTo>
                  <a:pt x="329672" y="98258"/>
                  <a:pt x="325439" y="102490"/>
                  <a:pt x="320061" y="105601"/>
                </a:cubicBezTo>
                <a:cubicBezTo>
                  <a:pt x="314683" y="108588"/>
                  <a:pt x="308657" y="110082"/>
                  <a:pt x="301984" y="110082"/>
                </a:cubicBezTo>
                <a:cubicBezTo>
                  <a:pt x="293020" y="110082"/>
                  <a:pt x="285799" y="108091"/>
                  <a:pt x="280321" y="104108"/>
                </a:cubicBezTo>
                <a:cubicBezTo>
                  <a:pt x="274843" y="100125"/>
                  <a:pt x="270810" y="94587"/>
                  <a:pt x="268220" y="87555"/>
                </a:cubicBezTo>
                <a:cubicBezTo>
                  <a:pt x="265730" y="80461"/>
                  <a:pt x="264485" y="72372"/>
                  <a:pt x="264485" y="63161"/>
                </a:cubicBezTo>
                <a:cubicBezTo>
                  <a:pt x="264485" y="50653"/>
                  <a:pt x="265979" y="39639"/>
                  <a:pt x="268967" y="30181"/>
                </a:cubicBezTo>
                <a:cubicBezTo>
                  <a:pt x="272055" y="20722"/>
                  <a:pt x="276736" y="13379"/>
                  <a:pt x="283011" y="8089"/>
                </a:cubicBezTo>
                <a:cubicBezTo>
                  <a:pt x="289385" y="2675"/>
                  <a:pt x="297552" y="0"/>
                  <a:pt x="307512" y="0"/>
                </a:cubicBezTo>
                <a:cubicBezTo>
                  <a:pt x="316077" y="0"/>
                  <a:pt x="323597" y="1866"/>
                  <a:pt x="330071" y="5538"/>
                </a:cubicBezTo>
                <a:lnTo>
                  <a:pt x="330071" y="18855"/>
                </a:lnTo>
                <a:cubicBezTo>
                  <a:pt x="323597" y="14437"/>
                  <a:pt x="316077" y="12259"/>
                  <a:pt x="307512" y="12259"/>
                </a:cubicBezTo>
                <a:cubicBezTo>
                  <a:pt x="301337" y="12259"/>
                  <a:pt x="296157" y="13939"/>
                  <a:pt x="291974" y="17361"/>
                </a:cubicBezTo>
                <a:cubicBezTo>
                  <a:pt x="287791" y="20722"/>
                  <a:pt x="284504" y="25327"/>
                  <a:pt x="282114" y="31238"/>
                </a:cubicBezTo>
                <a:cubicBezTo>
                  <a:pt x="279823" y="37026"/>
                  <a:pt x="278429" y="43498"/>
                  <a:pt x="277931" y="50778"/>
                </a:cubicBezTo>
                <a:cubicBezTo>
                  <a:pt x="281218" y="46298"/>
                  <a:pt x="285002" y="42999"/>
                  <a:pt x="289285" y="40759"/>
                </a:cubicBezTo>
                <a:cubicBezTo>
                  <a:pt x="293568" y="38581"/>
                  <a:pt x="298249" y="37523"/>
                  <a:pt x="303329" y="37523"/>
                </a:cubicBezTo>
                <a:cubicBezTo>
                  <a:pt x="309802" y="37523"/>
                  <a:pt x="315579" y="38893"/>
                  <a:pt x="320659" y="41693"/>
                </a:cubicBezTo>
                <a:cubicBezTo>
                  <a:pt x="325838" y="44493"/>
                  <a:pt x="329921" y="48538"/>
                  <a:pt x="332909" y="53952"/>
                </a:cubicBezTo>
                <a:cubicBezTo>
                  <a:pt x="335997" y="59179"/>
                  <a:pt x="337541" y="65713"/>
                  <a:pt x="337541" y="73491"/>
                </a:cubicBezTo>
                <a:close/>
                <a:moveTo>
                  <a:pt x="301536" y="98134"/>
                </a:moveTo>
                <a:cubicBezTo>
                  <a:pt x="305420" y="98134"/>
                  <a:pt x="309006" y="97263"/>
                  <a:pt x="312292" y="95458"/>
                </a:cubicBezTo>
                <a:cubicBezTo>
                  <a:pt x="315579" y="93529"/>
                  <a:pt x="318219" y="90791"/>
                  <a:pt x="320210" y="87244"/>
                </a:cubicBezTo>
                <a:cubicBezTo>
                  <a:pt x="322302" y="83635"/>
                  <a:pt x="323348" y="79154"/>
                  <a:pt x="323348" y="73803"/>
                </a:cubicBezTo>
                <a:cubicBezTo>
                  <a:pt x="323348" y="68389"/>
                  <a:pt x="322352" y="63908"/>
                  <a:pt x="320360" y="60174"/>
                </a:cubicBezTo>
                <a:cubicBezTo>
                  <a:pt x="318368" y="56503"/>
                  <a:pt x="315828" y="53765"/>
                  <a:pt x="312741" y="51961"/>
                </a:cubicBezTo>
                <a:cubicBezTo>
                  <a:pt x="309653" y="50093"/>
                  <a:pt x="306416" y="49160"/>
                  <a:pt x="303030" y="49160"/>
                </a:cubicBezTo>
                <a:cubicBezTo>
                  <a:pt x="296456" y="49160"/>
                  <a:pt x="290929" y="51276"/>
                  <a:pt x="286447" y="55570"/>
                </a:cubicBezTo>
                <a:cubicBezTo>
                  <a:pt x="282064" y="59739"/>
                  <a:pt x="279873" y="65900"/>
                  <a:pt x="279873" y="74114"/>
                </a:cubicBezTo>
                <a:cubicBezTo>
                  <a:pt x="279873" y="81270"/>
                  <a:pt x="281815" y="87058"/>
                  <a:pt x="285700" y="91538"/>
                </a:cubicBezTo>
                <a:cubicBezTo>
                  <a:pt x="289584" y="95956"/>
                  <a:pt x="294863" y="98134"/>
                  <a:pt x="301536" y="98134"/>
                </a:cubicBezTo>
                <a:close/>
                <a:moveTo>
                  <a:pt x="405188" y="108588"/>
                </a:moveTo>
                <a:lnTo>
                  <a:pt x="392041" y="108588"/>
                </a:lnTo>
                <a:lnTo>
                  <a:pt x="392041" y="83199"/>
                </a:lnTo>
                <a:lnTo>
                  <a:pt x="345728" y="83199"/>
                </a:lnTo>
                <a:lnTo>
                  <a:pt x="345728" y="73927"/>
                </a:lnTo>
                <a:lnTo>
                  <a:pt x="387559" y="1493"/>
                </a:lnTo>
                <a:lnTo>
                  <a:pt x="405188" y="1493"/>
                </a:lnTo>
                <a:lnTo>
                  <a:pt x="405188" y="71873"/>
                </a:lnTo>
                <a:lnTo>
                  <a:pt x="419680" y="71873"/>
                </a:lnTo>
                <a:lnTo>
                  <a:pt x="419680" y="83199"/>
                </a:lnTo>
                <a:lnTo>
                  <a:pt x="405188" y="83199"/>
                </a:lnTo>
                <a:lnTo>
                  <a:pt x="405188" y="108588"/>
                </a:lnTo>
                <a:close/>
                <a:moveTo>
                  <a:pt x="359323" y="71873"/>
                </a:moveTo>
                <a:lnTo>
                  <a:pt x="392041" y="71873"/>
                </a:lnTo>
                <a:lnTo>
                  <a:pt x="392041" y="16117"/>
                </a:lnTo>
                <a:lnTo>
                  <a:pt x="359323" y="71873"/>
                </a:lnTo>
                <a:close/>
                <a:moveTo>
                  <a:pt x="501819" y="73491"/>
                </a:moveTo>
                <a:cubicBezTo>
                  <a:pt x="501819" y="80772"/>
                  <a:pt x="500226" y="87182"/>
                  <a:pt x="497039" y="92782"/>
                </a:cubicBezTo>
                <a:cubicBezTo>
                  <a:pt x="493951" y="98258"/>
                  <a:pt x="489718" y="102490"/>
                  <a:pt x="484340" y="105601"/>
                </a:cubicBezTo>
                <a:cubicBezTo>
                  <a:pt x="478961" y="108588"/>
                  <a:pt x="472936" y="110082"/>
                  <a:pt x="466263" y="110082"/>
                </a:cubicBezTo>
                <a:cubicBezTo>
                  <a:pt x="457299" y="110082"/>
                  <a:pt x="450078" y="108091"/>
                  <a:pt x="444600" y="104108"/>
                </a:cubicBezTo>
                <a:cubicBezTo>
                  <a:pt x="439122" y="100125"/>
                  <a:pt x="435088" y="94587"/>
                  <a:pt x="432499" y="87555"/>
                </a:cubicBezTo>
                <a:cubicBezTo>
                  <a:pt x="430009" y="80461"/>
                  <a:pt x="428764" y="72372"/>
                  <a:pt x="428764" y="63161"/>
                </a:cubicBezTo>
                <a:cubicBezTo>
                  <a:pt x="428764" y="50653"/>
                  <a:pt x="430258" y="39639"/>
                  <a:pt x="433246" y="30181"/>
                </a:cubicBezTo>
                <a:cubicBezTo>
                  <a:pt x="436333" y="20722"/>
                  <a:pt x="441015" y="13379"/>
                  <a:pt x="447289" y="8089"/>
                </a:cubicBezTo>
                <a:cubicBezTo>
                  <a:pt x="453663" y="2675"/>
                  <a:pt x="461831" y="0"/>
                  <a:pt x="471790" y="0"/>
                </a:cubicBezTo>
                <a:cubicBezTo>
                  <a:pt x="480356" y="0"/>
                  <a:pt x="487876" y="1866"/>
                  <a:pt x="494349" y="5538"/>
                </a:cubicBezTo>
                <a:lnTo>
                  <a:pt x="494349" y="18855"/>
                </a:lnTo>
                <a:cubicBezTo>
                  <a:pt x="487876" y="14437"/>
                  <a:pt x="480356" y="12259"/>
                  <a:pt x="471790" y="12259"/>
                </a:cubicBezTo>
                <a:cubicBezTo>
                  <a:pt x="465615" y="12259"/>
                  <a:pt x="460436" y="13939"/>
                  <a:pt x="456253" y="17361"/>
                </a:cubicBezTo>
                <a:cubicBezTo>
                  <a:pt x="452070" y="20722"/>
                  <a:pt x="448783" y="25327"/>
                  <a:pt x="446393" y="31238"/>
                </a:cubicBezTo>
                <a:cubicBezTo>
                  <a:pt x="444102" y="37026"/>
                  <a:pt x="442708" y="43498"/>
                  <a:pt x="442210" y="50778"/>
                </a:cubicBezTo>
                <a:cubicBezTo>
                  <a:pt x="445496" y="46298"/>
                  <a:pt x="449281" y="42999"/>
                  <a:pt x="453564" y="40759"/>
                </a:cubicBezTo>
                <a:cubicBezTo>
                  <a:pt x="457847" y="38581"/>
                  <a:pt x="462528" y="37523"/>
                  <a:pt x="467607" y="37523"/>
                </a:cubicBezTo>
                <a:cubicBezTo>
                  <a:pt x="474081" y="37523"/>
                  <a:pt x="479858" y="38893"/>
                  <a:pt x="484937" y="41693"/>
                </a:cubicBezTo>
                <a:cubicBezTo>
                  <a:pt x="490116" y="44493"/>
                  <a:pt x="494200" y="48538"/>
                  <a:pt x="497188" y="53952"/>
                </a:cubicBezTo>
                <a:cubicBezTo>
                  <a:pt x="500275" y="59179"/>
                  <a:pt x="501819" y="65713"/>
                  <a:pt x="501819" y="73491"/>
                </a:cubicBezTo>
                <a:close/>
                <a:moveTo>
                  <a:pt x="465815" y="98134"/>
                </a:moveTo>
                <a:cubicBezTo>
                  <a:pt x="469699" y="98134"/>
                  <a:pt x="473284" y="97263"/>
                  <a:pt x="476571" y="95458"/>
                </a:cubicBezTo>
                <a:cubicBezTo>
                  <a:pt x="479858" y="93529"/>
                  <a:pt x="482497" y="90791"/>
                  <a:pt x="484489" y="87244"/>
                </a:cubicBezTo>
                <a:cubicBezTo>
                  <a:pt x="486581" y="83635"/>
                  <a:pt x="487627" y="79154"/>
                  <a:pt x="487627" y="73803"/>
                </a:cubicBezTo>
                <a:cubicBezTo>
                  <a:pt x="487627" y="68389"/>
                  <a:pt x="486631" y="63908"/>
                  <a:pt x="484639" y="60174"/>
                </a:cubicBezTo>
                <a:cubicBezTo>
                  <a:pt x="482647" y="56503"/>
                  <a:pt x="480107" y="53765"/>
                  <a:pt x="477019" y="51961"/>
                </a:cubicBezTo>
                <a:cubicBezTo>
                  <a:pt x="473932" y="50093"/>
                  <a:pt x="470695" y="49160"/>
                  <a:pt x="467308" y="49160"/>
                </a:cubicBezTo>
                <a:cubicBezTo>
                  <a:pt x="460735" y="49160"/>
                  <a:pt x="455207" y="51276"/>
                  <a:pt x="450725" y="55570"/>
                </a:cubicBezTo>
                <a:cubicBezTo>
                  <a:pt x="446343" y="59739"/>
                  <a:pt x="444152" y="65900"/>
                  <a:pt x="444152" y="74114"/>
                </a:cubicBezTo>
                <a:cubicBezTo>
                  <a:pt x="444152" y="81270"/>
                  <a:pt x="446094" y="87058"/>
                  <a:pt x="449978" y="91538"/>
                </a:cubicBezTo>
                <a:cubicBezTo>
                  <a:pt x="453863" y="95956"/>
                  <a:pt x="459141" y="98134"/>
                  <a:pt x="465815" y="98134"/>
                </a:cubicBezTo>
                <a:close/>
                <a:moveTo>
                  <a:pt x="510903" y="35844"/>
                </a:moveTo>
                <a:cubicBezTo>
                  <a:pt x="510903" y="28687"/>
                  <a:pt x="512447" y="22402"/>
                  <a:pt x="515535" y="17051"/>
                </a:cubicBezTo>
                <a:cubicBezTo>
                  <a:pt x="518721" y="11637"/>
                  <a:pt x="523003" y="7467"/>
                  <a:pt x="528382" y="4480"/>
                </a:cubicBezTo>
                <a:cubicBezTo>
                  <a:pt x="533760" y="1493"/>
                  <a:pt x="539786" y="0"/>
                  <a:pt x="546459" y="0"/>
                </a:cubicBezTo>
                <a:cubicBezTo>
                  <a:pt x="555422" y="0"/>
                  <a:pt x="562643" y="1929"/>
                  <a:pt x="568121" y="5849"/>
                </a:cubicBezTo>
                <a:cubicBezTo>
                  <a:pt x="573699" y="9645"/>
                  <a:pt x="577733" y="14934"/>
                  <a:pt x="580222" y="21842"/>
                </a:cubicBezTo>
                <a:cubicBezTo>
                  <a:pt x="582712" y="28563"/>
                  <a:pt x="583957" y="36466"/>
                  <a:pt x="583957" y="45426"/>
                </a:cubicBezTo>
                <a:cubicBezTo>
                  <a:pt x="583957" y="58868"/>
                  <a:pt x="582414" y="70380"/>
                  <a:pt x="579326" y="80088"/>
                </a:cubicBezTo>
                <a:cubicBezTo>
                  <a:pt x="576239" y="89733"/>
                  <a:pt x="571458" y="97138"/>
                  <a:pt x="564984" y="102303"/>
                </a:cubicBezTo>
                <a:cubicBezTo>
                  <a:pt x="558610" y="107468"/>
                  <a:pt x="550443" y="110082"/>
                  <a:pt x="540483" y="110082"/>
                </a:cubicBezTo>
                <a:cubicBezTo>
                  <a:pt x="531519" y="110082"/>
                  <a:pt x="523850" y="108215"/>
                  <a:pt x="517476" y="104543"/>
                </a:cubicBezTo>
                <a:lnTo>
                  <a:pt x="517476" y="91413"/>
                </a:lnTo>
                <a:cubicBezTo>
                  <a:pt x="524248" y="95769"/>
                  <a:pt x="531917" y="98010"/>
                  <a:pt x="540483" y="98010"/>
                </a:cubicBezTo>
                <a:cubicBezTo>
                  <a:pt x="546658" y="98010"/>
                  <a:pt x="551837" y="96267"/>
                  <a:pt x="556020" y="92907"/>
                </a:cubicBezTo>
                <a:cubicBezTo>
                  <a:pt x="560203" y="89546"/>
                  <a:pt x="563440" y="84941"/>
                  <a:pt x="565731" y="79154"/>
                </a:cubicBezTo>
                <a:cubicBezTo>
                  <a:pt x="568121" y="73367"/>
                  <a:pt x="569565" y="66896"/>
                  <a:pt x="570063" y="59739"/>
                </a:cubicBezTo>
                <a:cubicBezTo>
                  <a:pt x="566976" y="63660"/>
                  <a:pt x="563291" y="66522"/>
                  <a:pt x="559008" y="68389"/>
                </a:cubicBezTo>
                <a:cubicBezTo>
                  <a:pt x="554725" y="70193"/>
                  <a:pt x="550094" y="71127"/>
                  <a:pt x="545114" y="71127"/>
                </a:cubicBezTo>
                <a:cubicBezTo>
                  <a:pt x="538740" y="71127"/>
                  <a:pt x="532963" y="69758"/>
                  <a:pt x="527784" y="67082"/>
                </a:cubicBezTo>
                <a:cubicBezTo>
                  <a:pt x="522605" y="64406"/>
                  <a:pt x="518472" y="60424"/>
                  <a:pt x="515385" y="55134"/>
                </a:cubicBezTo>
                <a:cubicBezTo>
                  <a:pt x="512397" y="49845"/>
                  <a:pt x="510903" y="43435"/>
                  <a:pt x="510903" y="35844"/>
                </a:cubicBezTo>
                <a:close/>
                <a:moveTo>
                  <a:pt x="546907" y="12134"/>
                </a:moveTo>
                <a:cubicBezTo>
                  <a:pt x="543122" y="12134"/>
                  <a:pt x="539537" y="13006"/>
                  <a:pt x="536150" y="14810"/>
                </a:cubicBezTo>
                <a:cubicBezTo>
                  <a:pt x="532863" y="16490"/>
                  <a:pt x="530174" y="19104"/>
                  <a:pt x="528083" y="22589"/>
                </a:cubicBezTo>
                <a:cubicBezTo>
                  <a:pt x="526091" y="25949"/>
                  <a:pt x="525095" y="30305"/>
                  <a:pt x="525095" y="35532"/>
                </a:cubicBezTo>
                <a:cubicBezTo>
                  <a:pt x="525095" y="40759"/>
                  <a:pt x="526091" y="45116"/>
                  <a:pt x="528083" y="48725"/>
                </a:cubicBezTo>
                <a:cubicBezTo>
                  <a:pt x="530075" y="52271"/>
                  <a:pt x="532615" y="54947"/>
                  <a:pt x="535702" y="56752"/>
                </a:cubicBezTo>
                <a:cubicBezTo>
                  <a:pt x="538790" y="58556"/>
                  <a:pt x="542027" y="59428"/>
                  <a:pt x="545413" y="59428"/>
                </a:cubicBezTo>
                <a:cubicBezTo>
                  <a:pt x="551986" y="59428"/>
                  <a:pt x="557464" y="57437"/>
                  <a:pt x="561847" y="53329"/>
                </a:cubicBezTo>
                <a:cubicBezTo>
                  <a:pt x="566329" y="49160"/>
                  <a:pt x="568569" y="43124"/>
                  <a:pt x="568569" y="35283"/>
                </a:cubicBezTo>
                <a:cubicBezTo>
                  <a:pt x="568569" y="28313"/>
                  <a:pt x="566627" y="22713"/>
                  <a:pt x="562743" y="18544"/>
                </a:cubicBezTo>
                <a:cubicBezTo>
                  <a:pt x="558859" y="14250"/>
                  <a:pt x="553580" y="12134"/>
                  <a:pt x="546907" y="12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0" name="Полилиния 969">
            <a:extLst>
              <a:ext uri="{FF2B5EF4-FFF2-40B4-BE49-F238E27FC236}">
                <a16:creationId xmlns:a16="http://schemas.microsoft.com/office/drawing/2014/main" id="{F6418930-AF7E-1495-00E6-D9744D17281A}"/>
              </a:ext>
            </a:extLst>
          </p:cNvPr>
          <p:cNvSpPr/>
          <p:nvPr userDrawn="1"/>
        </p:nvSpPr>
        <p:spPr>
          <a:xfrm>
            <a:off x="12270615" y="5240073"/>
            <a:ext cx="1398954" cy="726227"/>
          </a:xfrm>
          <a:custGeom>
            <a:avLst/>
            <a:gdLst>
              <a:gd name="connsiteX0" fmla="*/ 0 w 1198727"/>
              <a:gd name="connsiteY0" fmla="*/ 1222 h 622284"/>
              <a:gd name="connsiteX1" fmla="*/ 1198728 w 1198727"/>
              <a:gd name="connsiteY1" fmla="*/ 1222 h 622284"/>
              <a:gd name="connsiteX2" fmla="*/ 1198728 w 1198727"/>
              <a:gd name="connsiteY2" fmla="*/ 623506 h 622284"/>
              <a:gd name="connsiteX3" fmla="*/ 0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222"/>
                </a:moveTo>
                <a:lnTo>
                  <a:pt x="1198728" y="1222"/>
                </a:lnTo>
                <a:lnTo>
                  <a:pt x="1198728" y="623506"/>
                </a:lnTo>
                <a:lnTo>
                  <a:pt x="0" y="623506"/>
                </a:lnTo>
                <a:close/>
              </a:path>
            </a:pathLst>
          </a:custGeom>
          <a:solidFill>
            <a:srgbClr val="00919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1" name="Полилиния 970">
            <a:extLst>
              <a:ext uri="{FF2B5EF4-FFF2-40B4-BE49-F238E27FC236}">
                <a16:creationId xmlns:a16="http://schemas.microsoft.com/office/drawing/2014/main" id="{6E504196-5B25-5596-C955-4C5719583711}"/>
              </a:ext>
            </a:extLst>
          </p:cNvPr>
          <p:cNvSpPr/>
          <p:nvPr userDrawn="1"/>
        </p:nvSpPr>
        <p:spPr>
          <a:xfrm>
            <a:off x="12393824" y="5541820"/>
            <a:ext cx="655344" cy="128468"/>
          </a:xfrm>
          <a:custGeom>
            <a:avLst/>
            <a:gdLst>
              <a:gd name="connsiteX0" fmla="*/ 22111 w 561547"/>
              <a:gd name="connsiteY0" fmla="*/ 108588 h 110081"/>
              <a:gd name="connsiteX1" fmla="*/ 10159 w 561547"/>
              <a:gd name="connsiteY1" fmla="*/ 108588 h 110081"/>
              <a:gd name="connsiteX2" fmla="*/ 16434 w 561547"/>
              <a:gd name="connsiteY2" fmla="*/ 77661 h 110081"/>
              <a:gd name="connsiteX3" fmla="*/ 0 w 561547"/>
              <a:gd name="connsiteY3" fmla="*/ 77661 h 110081"/>
              <a:gd name="connsiteX4" fmla="*/ 0 w 561547"/>
              <a:gd name="connsiteY4" fmla="*/ 67206 h 110081"/>
              <a:gd name="connsiteX5" fmla="*/ 18675 w 561547"/>
              <a:gd name="connsiteY5" fmla="*/ 67206 h 110081"/>
              <a:gd name="connsiteX6" fmla="*/ 24202 w 561547"/>
              <a:gd name="connsiteY6" fmla="*/ 40012 h 110081"/>
              <a:gd name="connsiteX7" fmla="*/ 4034 w 561547"/>
              <a:gd name="connsiteY7" fmla="*/ 40012 h 110081"/>
              <a:gd name="connsiteX8" fmla="*/ 4034 w 561547"/>
              <a:gd name="connsiteY8" fmla="*/ 29559 h 110081"/>
              <a:gd name="connsiteX9" fmla="*/ 26294 w 561547"/>
              <a:gd name="connsiteY9" fmla="*/ 29559 h 110081"/>
              <a:gd name="connsiteX10" fmla="*/ 32120 w 561547"/>
              <a:gd name="connsiteY10" fmla="*/ 1493 h 110081"/>
              <a:gd name="connsiteX11" fmla="*/ 44072 w 561547"/>
              <a:gd name="connsiteY11" fmla="*/ 1493 h 110081"/>
              <a:gd name="connsiteX12" fmla="*/ 38246 w 561547"/>
              <a:gd name="connsiteY12" fmla="*/ 29559 h 110081"/>
              <a:gd name="connsiteX13" fmla="*/ 60655 w 561547"/>
              <a:gd name="connsiteY13" fmla="*/ 29559 h 110081"/>
              <a:gd name="connsiteX14" fmla="*/ 66482 w 561547"/>
              <a:gd name="connsiteY14" fmla="*/ 1493 h 110081"/>
              <a:gd name="connsiteX15" fmla="*/ 78434 w 561547"/>
              <a:gd name="connsiteY15" fmla="*/ 1493 h 110081"/>
              <a:gd name="connsiteX16" fmla="*/ 72607 w 561547"/>
              <a:gd name="connsiteY16" fmla="*/ 29559 h 110081"/>
              <a:gd name="connsiteX17" fmla="*/ 89340 w 561547"/>
              <a:gd name="connsiteY17" fmla="*/ 29559 h 110081"/>
              <a:gd name="connsiteX18" fmla="*/ 89340 w 561547"/>
              <a:gd name="connsiteY18" fmla="*/ 40012 h 110081"/>
              <a:gd name="connsiteX19" fmla="*/ 70516 w 561547"/>
              <a:gd name="connsiteY19" fmla="*/ 40012 h 110081"/>
              <a:gd name="connsiteX20" fmla="*/ 64988 w 561547"/>
              <a:gd name="connsiteY20" fmla="*/ 67206 h 110081"/>
              <a:gd name="connsiteX21" fmla="*/ 85306 w 561547"/>
              <a:gd name="connsiteY21" fmla="*/ 67206 h 110081"/>
              <a:gd name="connsiteX22" fmla="*/ 85306 w 561547"/>
              <a:gd name="connsiteY22" fmla="*/ 77661 h 110081"/>
              <a:gd name="connsiteX23" fmla="*/ 62747 w 561547"/>
              <a:gd name="connsiteY23" fmla="*/ 77661 h 110081"/>
              <a:gd name="connsiteX24" fmla="*/ 56472 w 561547"/>
              <a:gd name="connsiteY24" fmla="*/ 108588 h 110081"/>
              <a:gd name="connsiteX25" fmla="*/ 44520 w 561547"/>
              <a:gd name="connsiteY25" fmla="*/ 108588 h 110081"/>
              <a:gd name="connsiteX26" fmla="*/ 50795 w 561547"/>
              <a:gd name="connsiteY26" fmla="*/ 77661 h 110081"/>
              <a:gd name="connsiteX27" fmla="*/ 28386 w 561547"/>
              <a:gd name="connsiteY27" fmla="*/ 77661 h 110081"/>
              <a:gd name="connsiteX28" fmla="*/ 22111 w 561547"/>
              <a:gd name="connsiteY28" fmla="*/ 108588 h 110081"/>
              <a:gd name="connsiteX29" fmla="*/ 30626 w 561547"/>
              <a:gd name="connsiteY29" fmla="*/ 67206 h 110081"/>
              <a:gd name="connsiteX30" fmla="*/ 53036 w 561547"/>
              <a:gd name="connsiteY30" fmla="*/ 67206 h 110081"/>
              <a:gd name="connsiteX31" fmla="*/ 58564 w 561547"/>
              <a:gd name="connsiteY31" fmla="*/ 40012 h 110081"/>
              <a:gd name="connsiteX32" fmla="*/ 36154 w 561547"/>
              <a:gd name="connsiteY32" fmla="*/ 40012 h 110081"/>
              <a:gd name="connsiteX33" fmla="*/ 30626 w 561547"/>
              <a:gd name="connsiteY33" fmla="*/ 67206 h 110081"/>
              <a:gd name="connsiteX34" fmla="*/ 136659 w 561547"/>
              <a:gd name="connsiteY34" fmla="*/ 110082 h 110081"/>
              <a:gd name="connsiteX35" fmla="*/ 118432 w 561547"/>
              <a:gd name="connsiteY35" fmla="*/ 104233 h 110081"/>
              <a:gd name="connsiteX36" fmla="*/ 105734 w 561547"/>
              <a:gd name="connsiteY36" fmla="*/ 86311 h 110081"/>
              <a:gd name="connsiteX37" fmla="*/ 101252 w 561547"/>
              <a:gd name="connsiteY37" fmla="*/ 54947 h 110081"/>
              <a:gd name="connsiteX38" fmla="*/ 105734 w 561547"/>
              <a:gd name="connsiteY38" fmla="*/ 23584 h 110081"/>
              <a:gd name="connsiteX39" fmla="*/ 118432 w 561547"/>
              <a:gd name="connsiteY39" fmla="*/ 5849 h 110081"/>
              <a:gd name="connsiteX40" fmla="*/ 136659 w 561547"/>
              <a:gd name="connsiteY40" fmla="*/ 186 h 110081"/>
              <a:gd name="connsiteX41" fmla="*/ 154736 w 561547"/>
              <a:gd name="connsiteY41" fmla="*/ 5849 h 110081"/>
              <a:gd name="connsiteX42" fmla="*/ 167136 w 561547"/>
              <a:gd name="connsiteY42" fmla="*/ 23584 h 110081"/>
              <a:gd name="connsiteX43" fmla="*/ 171618 w 561547"/>
              <a:gd name="connsiteY43" fmla="*/ 54698 h 110081"/>
              <a:gd name="connsiteX44" fmla="*/ 167136 w 561547"/>
              <a:gd name="connsiteY44" fmla="*/ 86062 h 110081"/>
              <a:gd name="connsiteX45" fmla="*/ 154736 w 561547"/>
              <a:gd name="connsiteY45" fmla="*/ 104233 h 110081"/>
              <a:gd name="connsiteX46" fmla="*/ 136659 w 561547"/>
              <a:gd name="connsiteY46" fmla="*/ 110082 h 110081"/>
              <a:gd name="connsiteX47" fmla="*/ 136509 w 561547"/>
              <a:gd name="connsiteY47" fmla="*/ 98258 h 110081"/>
              <a:gd name="connsiteX48" fmla="*/ 147864 w 561547"/>
              <a:gd name="connsiteY48" fmla="*/ 94275 h 110081"/>
              <a:gd name="connsiteX49" fmla="*/ 155035 w 561547"/>
              <a:gd name="connsiteY49" fmla="*/ 80648 h 110081"/>
              <a:gd name="connsiteX50" fmla="*/ 157575 w 561547"/>
              <a:gd name="connsiteY50" fmla="*/ 55134 h 110081"/>
              <a:gd name="connsiteX51" fmla="*/ 155184 w 561547"/>
              <a:gd name="connsiteY51" fmla="*/ 29745 h 110081"/>
              <a:gd name="connsiteX52" fmla="*/ 148013 w 561547"/>
              <a:gd name="connsiteY52" fmla="*/ 16117 h 110081"/>
              <a:gd name="connsiteX53" fmla="*/ 136659 w 561547"/>
              <a:gd name="connsiteY53" fmla="*/ 11947 h 110081"/>
              <a:gd name="connsiteX54" fmla="*/ 125155 w 561547"/>
              <a:gd name="connsiteY54" fmla="*/ 16117 h 110081"/>
              <a:gd name="connsiteX55" fmla="*/ 117835 w 561547"/>
              <a:gd name="connsiteY55" fmla="*/ 29745 h 110081"/>
              <a:gd name="connsiteX56" fmla="*/ 115295 w 561547"/>
              <a:gd name="connsiteY56" fmla="*/ 55134 h 110081"/>
              <a:gd name="connsiteX57" fmla="*/ 117685 w 561547"/>
              <a:gd name="connsiteY57" fmla="*/ 80648 h 110081"/>
              <a:gd name="connsiteX58" fmla="*/ 125006 w 561547"/>
              <a:gd name="connsiteY58" fmla="*/ 94275 h 110081"/>
              <a:gd name="connsiteX59" fmla="*/ 136509 w 561547"/>
              <a:gd name="connsiteY59" fmla="*/ 98258 h 110081"/>
              <a:gd name="connsiteX60" fmla="*/ 218798 w 561547"/>
              <a:gd name="connsiteY60" fmla="*/ 110082 h 110081"/>
              <a:gd name="connsiteX61" fmla="*/ 200572 w 561547"/>
              <a:gd name="connsiteY61" fmla="*/ 104233 h 110081"/>
              <a:gd name="connsiteX62" fmla="*/ 187873 w 561547"/>
              <a:gd name="connsiteY62" fmla="*/ 86311 h 110081"/>
              <a:gd name="connsiteX63" fmla="*/ 183391 w 561547"/>
              <a:gd name="connsiteY63" fmla="*/ 54947 h 110081"/>
              <a:gd name="connsiteX64" fmla="*/ 187873 w 561547"/>
              <a:gd name="connsiteY64" fmla="*/ 23584 h 110081"/>
              <a:gd name="connsiteX65" fmla="*/ 200572 w 561547"/>
              <a:gd name="connsiteY65" fmla="*/ 5849 h 110081"/>
              <a:gd name="connsiteX66" fmla="*/ 218798 w 561547"/>
              <a:gd name="connsiteY66" fmla="*/ 186 h 110081"/>
              <a:gd name="connsiteX67" fmla="*/ 236875 w 561547"/>
              <a:gd name="connsiteY67" fmla="*/ 5849 h 110081"/>
              <a:gd name="connsiteX68" fmla="*/ 249275 w 561547"/>
              <a:gd name="connsiteY68" fmla="*/ 23584 h 110081"/>
              <a:gd name="connsiteX69" fmla="*/ 253757 w 561547"/>
              <a:gd name="connsiteY69" fmla="*/ 54698 h 110081"/>
              <a:gd name="connsiteX70" fmla="*/ 249275 w 561547"/>
              <a:gd name="connsiteY70" fmla="*/ 86062 h 110081"/>
              <a:gd name="connsiteX71" fmla="*/ 236875 w 561547"/>
              <a:gd name="connsiteY71" fmla="*/ 104233 h 110081"/>
              <a:gd name="connsiteX72" fmla="*/ 218798 w 561547"/>
              <a:gd name="connsiteY72" fmla="*/ 110082 h 110081"/>
              <a:gd name="connsiteX73" fmla="*/ 218649 w 561547"/>
              <a:gd name="connsiteY73" fmla="*/ 98258 h 110081"/>
              <a:gd name="connsiteX74" fmla="*/ 230003 w 561547"/>
              <a:gd name="connsiteY74" fmla="*/ 94275 h 110081"/>
              <a:gd name="connsiteX75" fmla="*/ 237174 w 561547"/>
              <a:gd name="connsiteY75" fmla="*/ 80648 h 110081"/>
              <a:gd name="connsiteX76" fmla="*/ 239714 w 561547"/>
              <a:gd name="connsiteY76" fmla="*/ 55134 h 110081"/>
              <a:gd name="connsiteX77" fmla="*/ 237324 w 561547"/>
              <a:gd name="connsiteY77" fmla="*/ 29745 h 110081"/>
              <a:gd name="connsiteX78" fmla="*/ 230152 w 561547"/>
              <a:gd name="connsiteY78" fmla="*/ 16117 h 110081"/>
              <a:gd name="connsiteX79" fmla="*/ 218798 w 561547"/>
              <a:gd name="connsiteY79" fmla="*/ 11947 h 110081"/>
              <a:gd name="connsiteX80" fmla="*/ 207295 w 561547"/>
              <a:gd name="connsiteY80" fmla="*/ 16117 h 110081"/>
              <a:gd name="connsiteX81" fmla="*/ 199974 w 561547"/>
              <a:gd name="connsiteY81" fmla="*/ 29745 h 110081"/>
              <a:gd name="connsiteX82" fmla="*/ 197434 w 561547"/>
              <a:gd name="connsiteY82" fmla="*/ 55134 h 110081"/>
              <a:gd name="connsiteX83" fmla="*/ 199825 w 561547"/>
              <a:gd name="connsiteY83" fmla="*/ 80648 h 110081"/>
              <a:gd name="connsiteX84" fmla="*/ 207145 w 561547"/>
              <a:gd name="connsiteY84" fmla="*/ 94275 h 110081"/>
              <a:gd name="connsiteX85" fmla="*/ 218649 w 561547"/>
              <a:gd name="connsiteY85" fmla="*/ 98258 h 110081"/>
              <a:gd name="connsiteX86" fmla="*/ 264485 w 561547"/>
              <a:gd name="connsiteY86" fmla="*/ 35844 h 110081"/>
              <a:gd name="connsiteX87" fmla="*/ 269117 w 561547"/>
              <a:gd name="connsiteY87" fmla="*/ 17051 h 110081"/>
              <a:gd name="connsiteX88" fmla="*/ 281965 w 561547"/>
              <a:gd name="connsiteY88" fmla="*/ 4480 h 110081"/>
              <a:gd name="connsiteX89" fmla="*/ 300042 w 561547"/>
              <a:gd name="connsiteY89" fmla="*/ 0 h 110081"/>
              <a:gd name="connsiteX90" fmla="*/ 321704 w 561547"/>
              <a:gd name="connsiteY90" fmla="*/ 5849 h 110081"/>
              <a:gd name="connsiteX91" fmla="*/ 333806 w 561547"/>
              <a:gd name="connsiteY91" fmla="*/ 21842 h 110081"/>
              <a:gd name="connsiteX92" fmla="*/ 337541 w 561547"/>
              <a:gd name="connsiteY92" fmla="*/ 45426 h 110081"/>
              <a:gd name="connsiteX93" fmla="*/ 332909 w 561547"/>
              <a:gd name="connsiteY93" fmla="*/ 80088 h 110081"/>
              <a:gd name="connsiteX94" fmla="*/ 318567 w 561547"/>
              <a:gd name="connsiteY94" fmla="*/ 102303 h 110081"/>
              <a:gd name="connsiteX95" fmla="*/ 294066 w 561547"/>
              <a:gd name="connsiteY95" fmla="*/ 110082 h 110081"/>
              <a:gd name="connsiteX96" fmla="*/ 271059 w 561547"/>
              <a:gd name="connsiteY96" fmla="*/ 104543 h 110081"/>
              <a:gd name="connsiteX97" fmla="*/ 271059 w 561547"/>
              <a:gd name="connsiteY97" fmla="*/ 91413 h 110081"/>
              <a:gd name="connsiteX98" fmla="*/ 294066 w 561547"/>
              <a:gd name="connsiteY98" fmla="*/ 98010 h 110081"/>
              <a:gd name="connsiteX99" fmla="*/ 309603 w 561547"/>
              <a:gd name="connsiteY99" fmla="*/ 92907 h 110081"/>
              <a:gd name="connsiteX100" fmla="*/ 319314 w 561547"/>
              <a:gd name="connsiteY100" fmla="*/ 79154 h 110081"/>
              <a:gd name="connsiteX101" fmla="*/ 323647 w 561547"/>
              <a:gd name="connsiteY101" fmla="*/ 59739 h 110081"/>
              <a:gd name="connsiteX102" fmla="*/ 312591 w 561547"/>
              <a:gd name="connsiteY102" fmla="*/ 68389 h 110081"/>
              <a:gd name="connsiteX103" fmla="*/ 298697 w 561547"/>
              <a:gd name="connsiteY103" fmla="*/ 71127 h 110081"/>
              <a:gd name="connsiteX104" fmla="*/ 281367 w 561547"/>
              <a:gd name="connsiteY104" fmla="*/ 67082 h 110081"/>
              <a:gd name="connsiteX105" fmla="*/ 268967 w 561547"/>
              <a:gd name="connsiteY105" fmla="*/ 55134 h 110081"/>
              <a:gd name="connsiteX106" fmla="*/ 264485 w 561547"/>
              <a:gd name="connsiteY106" fmla="*/ 35844 h 110081"/>
              <a:gd name="connsiteX107" fmla="*/ 300490 w 561547"/>
              <a:gd name="connsiteY107" fmla="*/ 12134 h 110081"/>
              <a:gd name="connsiteX108" fmla="*/ 289733 w 561547"/>
              <a:gd name="connsiteY108" fmla="*/ 14810 h 110081"/>
              <a:gd name="connsiteX109" fmla="*/ 281666 w 561547"/>
              <a:gd name="connsiteY109" fmla="*/ 22589 h 110081"/>
              <a:gd name="connsiteX110" fmla="*/ 278678 w 561547"/>
              <a:gd name="connsiteY110" fmla="*/ 35532 h 110081"/>
              <a:gd name="connsiteX111" fmla="*/ 281666 w 561547"/>
              <a:gd name="connsiteY111" fmla="*/ 48725 h 110081"/>
              <a:gd name="connsiteX112" fmla="*/ 289285 w 561547"/>
              <a:gd name="connsiteY112" fmla="*/ 56752 h 110081"/>
              <a:gd name="connsiteX113" fmla="*/ 298995 w 561547"/>
              <a:gd name="connsiteY113" fmla="*/ 59428 h 110081"/>
              <a:gd name="connsiteX114" fmla="*/ 315430 w 561547"/>
              <a:gd name="connsiteY114" fmla="*/ 53329 h 110081"/>
              <a:gd name="connsiteX115" fmla="*/ 322153 w 561547"/>
              <a:gd name="connsiteY115" fmla="*/ 35283 h 110081"/>
              <a:gd name="connsiteX116" fmla="*/ 316326 w 561547"/>
              <a:gd name="connsiteY116" fmla="*/ 18544 h 110081"/>
              <a:gd name="connsiteX117" fmla="*/ 300490 w 561547"/>
              <a:gd name="connsiteY117" fmla="*/ 12134 h 110081"/>
              <a:gd name="connsiteX118" fmla="*/ 397270 w 561547"/>
              <a:gd name="connsiteY118" fmla="*/ 108588 h 110081"/>
              <a:gd name="connsiteX119" fmla="*/ 383675 w 561547"/>
              <a:gd name="connsiteY119" fmla="*/ 108588 h 110081"/>
              <a:gd name="connsiteX120" fmla="*/ 383675 w 561547"/>
              <a:gd name="connsiteY120" fmla="*/ 18357 h 110081"/>
              <a:gd name="connsiteX121" fmla="*/ 354094 w 561547"/>
              <a:gd name="connsiteY121" fmla="*/ 41071 h 110081"/>
              <a:gd name="connsiteX122" fmla="*/ 354094 w 561547"/>
              <a:gd name="connsiteY122" fmla="*/ 26011 h 110081"/>
              <a:gd name="connsiteX123" fmla="*/ 385916 w 561547"/>
              <a:gd name="connsiteY123" fmla="*/ 1493 h 110081"/>
              <a:gd name="connsiteX124" fmla="*/ 397270 w 561547"/>
              <a:gd name="connsiteY124" fmla="*/ 1493 h 110081"/>
              <a:gd name="connsiteX125" fmla="*/ 397270 w 561547"/>
              <a:gd name="connsiteY125" fmla="*/ 108588 h 110081"/>
              <a:gd name="connsiteX126" fmla="*/ 428764 w 561547"/>
              <a:gd name="connsiteY126" fmla="*/ 35844 h 110081"/>
              <a:gd name="connsiteX127" fmla="*/ 433395 w 561547"/>
              <a:gd name="connsiteY127" fmla="*/ 17051 h 110081"/>
              <a:gd name="connsiteX128" fmla="*/ 446243 w 561547"/>
              <a:gd name="connsiteY128" fmla="*/ 4480 h 110081"/>
              <a:gd name="connsiteX129" fmla="*/ 464321 w 561547"/>
              <a:gd name="connsiteY129" fmla="*/ 0 h 110081"/>
              <a:gd name="connsiteX130" fmla="*/ 485983 w 561547"/>
              <a:gd name="connsiteY130" fmla="*/ 5849 h 110081"/>
              <a:gd name="connsiteX131" fmla="*/ 498084 w 561547"/>
              <a:gd name="connsiteY131" fmla="*/ 21842 h 110081"/>
              <a:gd name="connsiteX132" fmla="*/ 501819 w 561547"/>
              <a:gd name="connsiteY132" fmla="*/ 45426 h 110081"/>
              <a:gd name="connsiteX133" fmla="*/ 497188 w 561547"/>
              <a:gd name="connsiteY133" fmla="*/ 80088 h 110081"/>
              <a:gd name="connsiteX134" fmla="*/ 482846 w 561547"/>
              <a:gd name="connsiteY134" fmla="*/ 102303 h 110081"/>
              <a:gd name="connsiteX135" fmla="*/ 458345 w 561547"/>
              <a:gd name="connsiteY135" fmla="*/ 110082 h 110081"/>
              <a:gd name="connsiteX136" fmla="*/ 435337 w 561547"/>
              <a:gd name="connsiteY136" fmla="*/ 104543 h 110081"/>
              <a:gd name="connsiteX137" fmla="*/ 435337 w 561547"/>
              <a:gd name="connsiteY137" fmla="*/ 91413 h 110081"/>
              <a:gd name="connsiteX138" fmla="*/ 458345 w 561547"/>
              <a:gd name="connsiteY138" fmla="*/ 98010 h 110081"/>
              <a:gd name="connsiteX139" fmla="*/ 473882 w 561547"/>
              <a:gd name="connsiteY139" fmla="*/ 92907 h 110081"/>
              <a:gd name="connsiteX140" fmla="*/ 483593 w 561547"/>
              <a:gd name="connsiteY140" fmla="*/ 79154 h 110081"/>
              <a:gd name="connsiteX141" fmla="*/ 487925 w 561547"/>
              <a:gd name="connsiteY141" fmla="*/ 59739 h 110081"/>
              <a:gd name="connsiteX142" fmla="*/ 476870 w 561547"/>
              <a:gd name="connsiteY142" fmla="*/ 68389 h 110081"/>
              <a:gd name="connsiteX143" fmla="*/ 462976 w 561547"/>
              <a:gd name="connsiteY143" fmla="*/ 71127 h 110081"/>
              <a:gd name="connsiteX144" fmla="*/ 445646 w 561547"/>
              <a:gd name="connsiteY144" fmla="*/ 67082 h 110081"/>
              <a:gd name="connsiteX145" fmla="*/ 433246 w 561547"/>
              <a:gd name="connsiteY145" fmla="*/ 55134 h 110081"/>
              <a:gd name="connsiteX146" fmla="*/ 428764 w 561547"/>
              <a:gd name="connsiteY146" fmla="*/ 35844 h 110081"/>
              <a:gd name="connsiteX147" fmla="*/ 464769 w 561547"/>
              <a:gd name="connsiteY147" fmla="*/ 12134 h 110081"/>
              <a:gd name="connsiteX148" fmla="*/ 454012 w 561547"/>
              <a:gd name="connsiteY148" fmla="*/ 14810 h 110081"/>
              <a:gd name="connsiteX149" fmla="*/ 445945 w 561547"/>
              <a:gd name="connsiteY149" fmla="*/ 22589 h 110081"/>
              <a:gd name="connsiteX150" fmla="*/ 442957 w 561547"/>
              <a:gd name="connsiteY150" fmla="*/ 35532 h 110081"/>
              <a:gd name="connsiteX151" fmla="*/ 445945 w 561547"/>
              <a:gd name="connsiteY151" fmla="*/ 48725 h 110081"/>
              <a:gd name="connsiteX152" fmla="*/ 453564 w 561547"/>
              <a:gd name="connsiteY152" fmla="*/ 56752 h 110081"/>
              <a:gd name="connsiteX153" fmla="*/ 463275 w 561547"/>
              <a:gd name="connsiteY153" fmla="*/ 59428 h 110081"/>
              <a:gd name="connsiteX154" fmla="*/ 479708 w 561547"/>
              <a:gd name="connsiteY154" fmla="*/ 53329 h 110081"/>
              <a:gd name="connsiteX155" fmla="*/ 486431 w 561547"/>
              <a:gd name="connsiteY155" fmla="*/ 35283 h 110081"/>
              <a:gd name="connsiteX156" fmla="*/ 480605 w 561547"/>
              <a:gd name="connsiteY156" fmla="*/ 18544 h 110081"/>
              <a:gd name="connsiteX157" fmla="*/ 464769 w 561547"/>
              <a:gd name="connsiteY157" fmla="*/ 12134 h 110081"/>
              <a:gd name="connsiteX158" fmla="*/ 561548 w 561547"/>
              <a:gd name="connsiteY158" fmla="*/ 108588 h 110081"/>
              <a:gd name="connsiteX159" fmla="*/ 547953 w 561547"/>
              <a:gd name="connsiteY159" fmla="*/ 108588 h 110081"/>
              <a:gd name="connsiteX160" fmla="*/ 547953 w 561547"/>
              <a:gd name="connsiteY160" fmla="*/ 18357 h 110081"/>
              <a:gd name="connsiteX161" fmla="*/ 518372 w 561547"/>
              <a:gd name="connsiteY161" fmla="*/ 41071 h 110081"/>
              <a:gd name="connsiteX162" fmla="*/ 518372 w 561547"/>
              <a:gd name="connsiteY162" fmla="*/ 26011 h 110081"/>
              <a:gd name="connsiteX163" fmla="*/ 550194 w 561547"/>
              <a:gd name="connsiteY163" fmla="*/ 1493 h 110081"/>
              <a:gd name="connsiteX164" fmla="*/ 561548 w 561547"/>
              <a:gd name="connsiteY164" fmla="*/ 1493 h 110081"/>
              <a:gd name="connsiteX165" fmla="*/ 561548 w 561547"/>
              <a:gd name="connsiteY165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56154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264485" y="35844"/>
                </a:moveTo>
                <a:cubicBezTo>
                  <a:pt x="264485" y="28687"/>
                  <a:pt x="266029" y="22402"/>
                  <a:pt x="269117" y="17051"/>
                </a:cubicBezTo>
                <a:cubicBezTo>
                  <a:pt x="272304" y="11637"/>
                  <a:pt x="276586" y="7467"/>
                  <a:pt x="281965" y="4480"/>
                </a:cubicBezTo>
                <a:cubicBezTo>
                  <a:pt x="287343" y="1493"/>
                  <a:pt x="293369" y="0"/>
                  <a:pt x="300042" y="0"/>
                </a:cubicBezTo>
                <a:cubicBezTo>
                  <a:pt x="309006" y="0"/>
                  <a:pt x="316227" y="1929"/>
                  <a:pt x="321704" y="5849"/>
                </a:cubicBezTo>
                <a:cubicBezTo>
                  <a:pt x="327282" y="9645"/>
                  <a:pt x="331316" y="14934"/>
                  <a:pt x="333806" y="21842"/>
                </a:cubicBezTo>
                <a:cubicBezTo>
                  <a:pt x="336296" y="28563"/>
                  <a:pt x="337541" y="36466"/>
                  <a:pt x="337541" y="45426"/>
                </a:cubicBezTo>
                <a:cubicBezTo>
                  <a:pt x="337541" y="58868"/>
                  <a:pt x="335997" y="70380"/>
                  <a:pt x="332909" y="80088"/>
                </a:cubicBezTo>
                <a:cubicBezTo>
                  <a:pt x="329822" y="89733"/>
                  <a:pt x="325041" y="97138"/>
                  <a:pt x="318567" y="102303"/>
                </a:cubicBezTo>
                <a:cubicBezTo>
                  <a:pt x="312193" y="107468"/>
                  <a:pt x="304026" y="110082"/>
                  <a:pt x="294066" y="110082"/>
                </a:cubicBezTo>
                <a:cubicBezTo>
                  <a:pt x="285102" y="110082"/>
                  <a:pt x="277433" y="108215"/>
                  <a:pt x="271059" y="104543"/>
                </a:cubicBezTo>
                <a:lnTo>
                  <a:pt x="271059" y="91413"/>
                </a:lnTo>
                <a:cubicBezTo>
                  <a:pt x="277831" y="95769"/>
                  <a:pt x="285500" y="98010"/>
                  <a:pt x="294066" y="98010"/>
                </a:cubicBezTo>
                <a:cubicBezTo>
                  <a:pt x="300241" y="98010"/>
                  <a:pt x="305420" y="96267"/>
                  <a:pt x="309603" y="92907"/>
                </a:cubicBezTo>
                <a:cubicBezTo>
                  <a:pt x="313786" y="89546"/>
                  <a:pt x="317023" y="84941"/>
                  <a:pt x="319314" y="79154"/>
                </a:cubicBezTo>
                <a:cubicBezTo>
                  <a:pt x="321704" y="73367"/>
                  <a:pt x="323149" y="66896"/>
                  <a:pt x="323647" y="59739"/>
                </a:cubicBezTo>
                <a:cubicBezTo>
                  <a:pt x="320559" y="63660"/>
                  <a:pt x="316874" y="66522"/>
                  <a:pt x="312591" y="68389"/>
                </a:cubicBezTo>
                <a:cubicBezTo>
                  <a:pt x="308308" y="70193"/>
                  <a:pt x="303677" y="71127"/>
                  <a:pt x="298697" y="71127"/>
                </a:cubicBezTo>
                <a:cubicBezTo>
                  <a:pt x="292323" y="71127"/>
                  <a:pt x="286546" y="69758"/>
                  <a:pt x="281367" y="67082"/>
                </a:cubicBezTo>
                <a:cubicBezTo>
                  <a:pt x="276188" y="64406"/>
                  <a:pt x="272055" y="60424"/>
                  <a:pt x="268967" y="55134"/>
                </a:cubicBezTo>
                <a:cubicBezTo>
                  <a:pt x="265979" y="49845"/>
                  <a:pt x="264485" y="43435"/>
                  <a:pt x="264485" y="35844"/>
                </a:cubicBezTo>
                <a:close/>
                <a:moveTo>
                  <a:pt x="300490" y="12134"/>
                </a:moveTo>
                <a:cubicBezTo>
                  <a:pt x="296705" y="12134"/>
                  <a:pt x="293120" y="13006"/>
                  <a:pt x="289733" y="14810"/>
                </a:cubicBezTo>
                <a:cubicBezTo>
                  <a:pt x="286447" y="16490"/>
                  <a:pt x="283757" y="19104"/>
                  <a:pt x="281666" y="22589"/>
                </a:cubicBezTo>
                <a:cubicBezTo>
                  <a:pt x="279674" y="25949"/>
                  <a:pt x="278678" y="30305"/>
                  <a:pt x="278678" y="35532"/>
                </a:cubicBezTo>
                <a:cubicBezTo>
                  <a:pt x="278678" y="40759"/>
                  <a:pt x="279674" y="45116"/>
                  <a:pt x="281666" y="48725"/>
                </a:cubicBezTo>
                <a:cubicBezTo>
                  <a:pt x="283658" y="52271"/>
                  <a:pt x="286198" y="54947"/>
                  <a:pt x="289285" y="56752"/>
                </a:cubicBezTo>
                <a:cubicBezTo>
                  <a:pt x="292373" y="58556"/>
                  <a:pt x="295610" y="59428"/>
                  <a:pt x="298995" y="59428"/>
                </a:cubicBezTo>
                <a:cubicBezTo>
                  <a:pt x="305570" y="59428"/>
                  <a:pt x="311047" y="57437"/>
                  <a:pt x="315430" y="53329"/>
                </a:cubicBezTo>
                <a:cubicBezTo>
                  <a:pt x="319912" y="49160"/>
                  <a:pt x="322153" y="43124"/>
                  <a:pt x="322153" y="35283"/>
                </a:cubicBezTo>
                <a:cubicBezTo>
                  <a:pt x="322153" y="28313"/>
                  <a:pt x="320210" y="22713"/>
                  <a:pt x="316326" y="18544"/>
                </a:cubicBezTo>
                <a:cubicBezTo>
                  <a:pt x="312442" y="14250"/>
                  <a:pt x="307163" y="12134"/>
                  <a:pt x="300490" y="12134"/>
                </a:cubicBezTo>
                <a:close/>
                <a:moveTo>
                  <a:pt x="397270" y="108588"/>
                </a:moveTo>
                <a:lnTo>
                  <a:pt x="383675" y="108588"/>
                </a:lnTo>
                <a:lnTo>
                  <a:pt x="383675" y="18357"/>
                </a:lnTo>
                <a:lnTo>
                  <a:pt x="354094" y="41071"/>
                </a:lnTo>
                <a:lnTo>
                  <a:pt x="354094" y="26011"/>
                </a:lnTo>
                <a:lnTo>
                  <a:pt x="385916" y="1493"/>
                </a:lnTo>
                <a:lnTo>
                  <a:pt x="397270" y="1493"/>
                </a:lnTo>
                <a:lnTo>
                  <a:pt x="397270" y="108588"/>
                </a:lnTo>
                <a:close/>
                <a:moveTo>
                  <a:pt x="428764" y="35844"/>
                </a:moveTo>
                <a:cubicBezTo>
                  <a:pt x="428764" y="28687"/>
                  <a:pt x="430308" y="22402"/>
                  <a:pt x="433395" y="17051"/>
                </a:cubicBezTo>
                <a:cubicBezTo>
                  <a:pt x="436582" y="11637"/>
                  <a:pt x="440865" y="7467"/>
                  <a:pt x="446243" y="4480"/>
                </a:cubicBezTo>
                <a:cubicBezTo>
                  <a:pt x="451622" y="1493"/>
                  <a:pt x="457647" y="0"/>
                  <a:pt x="464321" y="0"/>
                </a:cubicBezTo>
                <a:cubicBezTo>
                  <a:pt x="473284" y="0"/>
                  <a:pt x="480505" y="1929"/>
                  <a:pt x="485983" y="5849"/>
                </a:cubicBezTo>
                <a:cubicBezTo>
                  <a:pt x="491561" y="9645"/>
                  <a:pt x="495594" y="14934"/>
                  <a:pt x="498084" y="21842"/>
                </a:cubicBezTo>
                <a:cubicBezTo>
                  <a:pt x="500574" y="28563"/>
                  <a:pt x="501819" y="36466"/>
                  <a:pt x="501819" y="45426"/>
                </a:cubicBezTo>
                <a:cubicBezTo>
                  <a:pt x="501819" y="58868"/>
                  <a:pt x="500275" y="70380"/>
                  <a:pt x="497188" y="80088"/>
                </a:cubicBezTo>
                <a:cubicBezTo>
                  <a:pt x="494100" y="89733"/>
                  <a:pt x="489320" y="97138"/>
                  <a:pt x="482846" y="102303"/>
                </a:cubicBezTo>
                <a:cubicBezTo>
                  <a:pt x="476472" y="107468"/>
                  <a:pt x="468304" y="110082"/>
                  <a:pt x="458345" y="110082"/>
                </a:cubicBezTo>
                <a:cubicBezTo>
                  <a:pt x="449381" y="110082"/>
                  <a:pt x="441712" y="108215"/>
                  <a:pt x="435337" y="104543"/>
                </a:cubicBezTo>
                <a:lnTo>
                  <a:pt x="435337" y="91413"/>
                </a:lnTo>
                <a:cubicBezTo>
                  <a:pt x="442110" y="95769"/>
                  <a:pt x="449779" y="98010"/>
                  <a:pt x="458345" y="98010"/>
                </a:cubicBezTo>
                <a:cubicBezTo>
                  <a:pt x="464520" y="98010"/>
                  <a:pt x="469699" y="96267"/>
                  <a:pt x="473882" y="92907"/>
                </a:cubicBezTo>
                <a:cubicBezTo>
                  <a:pt x="478065" y="89546"/>
                  <a:pt x="481302" y="84941"/>
                  <a:pt x="483593" y="79154"/>
                </a:cubicBezTo>
                <a:cubicBezTo>
                  <a:pt x="485983" y="73367"/>
                  <a:pt x="487427" y="66896"/>
                  <a:pt x="487925" y="59739"/>
                </a:cubicBezTo>
                <a:cubicBezTo>
                  <a:pt x="484838" y="63660"/>
                  <a:pt x="481153" y="66522"/>
                  <a:pt x="476870" y="68389"/>
                </a:cubicBezTo>
                <a:cubicBezTo>
                  <a:pt x="472587" y="70193"/>
                  <a:pt x="467956" y="71127"/>
                  <a:pt x="462976" y="71127"/>
                </a:cubicBezTo>
                <a:cubicBezTo>
                  <a:pt x="456602" y="71127"/>
                  <a:pt x="450825" y="69758"/>
                  <a:pt x="445646" y="67082"/>
                </a:cubicBezTo>
                <a:cubicBezTo>
                  <a:pt x="440467" y="64406"/>
                  <a:pt x="436333" y="60424"/>
                  <a:pt x="433246" y="55134"/>
                </a:cubicBezTo>
                <a:cubicBezTo>
                  <a:pt x="430258" y="49845"/>
                  <a:pt x="428764" y="43435"/>
                  <a:pt x="428764" y="35844"/>
                </a:cubicBezTo>
                <a:close/>
                <a:moveTo>
                  <a:pt x="464769" y="12134"/>
                </a:moveTo>
                <a:cubicBezTo>
                  <a:pt x="460984" y="12134"/>
                  <a:pt x="457398" y="13006"/>
                  <a:pt x="454012" y="14810"/>
                </a:cubicBezTo>
                <a:cubicBezTo>
                  <a:pt x="450725" y="16490"/>
                  <a:pt x="448036" y="19104"/>
                  <a:pt x="445945" y="22589"/>
                </a:cubicBezTo>
                <a:cubicBezTo>
                  <a:pt x="443953" y="25949"/>
                  <a:pt x="442957" y="30305"/>
                  <a:pt x="442957" y="35532"/>
                </a:cubicBezTo>
                <a:cubicBezTo>
                  <a:pt x="442957" y="40759"/>
                  <a:pt x="443953" y="45116"/>
                  <a:pt x="445945" y="48725"/>
                </a:cubicBezTo>
                <a:cubicBezTo>
                  <a:pt x="447937" y="52271"/>
                  <a:pt x="450476" y="54947"/>
                  <a:pt x="453564" y="56752"/>
                </a:cubicBezTo>
                <a:cubicBezTo>
                  <a:pt x="456651" y="58556"/>
                  <a:pt x="459888" y="59428"/>
                  <a:pt x="463275" y="59428"/>
                </a:cubicBezTo>
                <a:cubicBezTo>
                  <a:pt x="469848" y="59428"/>
                  <a:pt x="475326" y="57437"/>
                  <a:pt x="479708" y="53329"/>
                </a:cubicBezTo>
                <a:cubicBezTo>
                  <a:pt x="484190" y="49160"/>
                  <a:pt x="486431" y="43124"/>
                  <a:pt x="486431" y="35283"/>
                </a:cubicBezTo>
                <a:cubicBezTo>
                  <a:pt x="486431" y="28313"/>
                  <a:pt x="484489" y="22713"/>
                  <a:pt x="480605" y="18544"/>
                </a:cubicBezTo>
                <a:cubicBezTo>
                  <a:pt x="476721" y="14250"/>
                  <a:pt x="471442" y="12134"/>
                  <a:pt x="464769" y="12134"/>
                </a:cubicBezTo>
                <a:close/>
                <a:moveTo>
                  <a:pt x="561548" y="108588"/>
                </a:moveTo>
                <a:lnTo>
                  <a:pt x="547953" y="108588"/>
                </a:lnTo>
                <a:lnTo>
                  <a:pt x="547953" y="18357"/>
                </a:lnTo>
                <a:lnTo>
                  <a:pt x="518372" y="41071"/>
                </a:lnTo>
                <a:lnTo>
                  <a:pt x="518372" y="26011"/>
                </a:lnTo>
                <a:lnTo>
                  <a:pt x="550194" y="1493"/>
                </a:lnTo>
                <a:lnTo>
                  <a:pt x="561548" y="1493"/>
                </a:lnTo>
                <a:lnTo>
                  <a:pt x="561548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2" name="Полилиния 971">
            <a:extLst>
              <a:ext uri="{FF2B5EF4-FFF2-40B4-BE49-F238E27FC236}">
                <a16:creationId xmlns:a16="http://schemas.microsoft.com/office/drawing/2014/main" id="{39AE36A7-77E3-7FD8-4D85-17307BB24F76}"/>
              </a:ext>
            </a:extLst>
          </p:cNvPr>
          <p:cNvSpPr/>
          <p:nvPr userDrawn="1"/>
        </p:nvSpPr>
        <p:spPr>
          <a:xfrm>
            <a:off x="12270615" y="5966300"/>
            <a:ext cx="1398954" cy="726227"/>
          </a:xfrm>
          <a:custGeom>
            <a:avLst/>
            <a:gdLst>
              <a:gd name="connsiteX0" fmla="*/ 0 w 1198727"/>
              <a:gd name="connsiteY0" fmla="*/ 1322 h 622284"/>
              <a:gd name="connsiteX1" fmla="*/ 1198728 w 1198727"/>
              <a:gd name="connsiteY1" fmla="*/ 1322 h 622284"/>
              <a:gd name="connsiteX2" fmla="*/ 1198728 w 1198727"/>
              <a:gd name="connsiteY2" fmla="*/ 623606 h 622284"/>
              <a:gd name="connsiteX3" fmla="*/ 0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322"/>
                </a:moveTo>
                <a:lnTo>
                  <a:pt x="1198728" y="1322"/>
                </a:lnTo>
                <a:lnTo>
                  <a:pt x="1198728" y="623606"/>
                </a:lnTo>
                <a:lnTo>
                  <a:pt x="0" y="623606"/>
                </a:lnTo>
                <a:close/>
              </a:path>
            </a:pathLst>
          </a:custGeom>
          <a:solidFill>
            <a:srgbClr val="00B4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3" name="Полилиния 972">
            <a:extLst>
              <a:ext uri="{FF2B5EF4-FFF2-40B4-BE49-F238E27FC236}">
                <a16:creationId xmlns:a16="http://schemas.microsoft.com/office/drawing/2014/main" id="{735C0F43-D1F7-2D8E-F47C-4A8298D7D3AC}"/>
              </a:ext>
            </a:extLst>
          </p:cNvPr>
          <p:cNvSpPr/>
          <p:nvPr userDrawn="1"/>
        </p:nvSpPr>
        <p:spPr>
          <a:xfrm>
            <a:off x="12393824" y="6268264"/>
            <a:ext cx="714528" cy="128252"/>
          </a:xfrm>
          <a:custGeom>
            <a:avLst/>
            <a:gdLst>
              <a:gd name="connsiteX0" fmla="*/ 22111 w 612261"/>
              <a:gd name="connsiteY0" fmla="*/ 108402 h 109895"/>
              <a:gd name="connsiteX1" fmla="*/ 10159 w 612261"/>
              <a:gd name="connsiteY1" fmla="*/ 108402 h 109895"/>
              <a:gd name="connsiteX2" fmla="*/ 16434 w 612261"/>
              <a:gd name="connsiteY2" fmla="*/ 77475 h 109895"/>
              <a:gd name="connsiteX3" fmla="*/ 0 w 612261"/>
              <a:gd name="connsiteY3" fmla="*/ 77475 h 109895"/>
              <a:gd name="connsiteX4" fmla="*/ 0 w 612261"/>
              <a:gd name="connsiteY4" fmla="*/ 67020 h 109895"/>
              <a:gd name="connsiteX5" fmla="*/ 18675 w 612261"/>
              <a:gd name="connsiteY5" fmla="*/ 67020 h 109895"/>
              <a:gd name="connsiteX6" fmla="*/ 24202 w 612261"/>
              <a:gd name="connsiteY6" fmla="*/ 39826 h 109895"/>
              <a:gd name="connsiteX7" fmla="*/ 4034 w 612261"/>
              <a:gd name="connsiteY7" fmla="*/ 39826 h 109895"/>
              <a:gd name="connsiteX8" fmla="*/ 4034 w 612261"/>
              <a:gd name="connsiteY8" fmla="*/ 29372 h 109895"/>
              <a:gd name="connsiteX9" fmla="*/ 26294 w 612261"/>
              <a:gd name="connsiteY9" fmla="*/ 29372 h 109895"/>
              <a:gd name="connsiteX10" fmla="*/ 32120 w 612261"/>
              <a:gd name="connsiteY10" fmla="*/ 1307 h 109895"/>
              <a:gd name="connsiteX11" fmla="*/ 44072 w 612261"/>
              <a:gd name="connsiteY11" fmla="*/ 1307 h 109895"/>
              <a:gd name="connsiteX12" fmla="*/ 38246 w 612261"/>
              <a:gd name="connsiteY12" fmla="*/ 29372 h 109895"/>
              <a:gd name="connsiteX13" fmla="*/ 60655 w 612261"/>
              <a:gd name="connsiteY13" fmla="*/ 29372 h 109895"/>
              <a:gd name="connsiteX14" fmla="*/ 66482 w 612261"/>
              <a:gd name="connsiteY14" fmla="*/ 1307 h 109895"/>
              <a:gd name="connsiteX15" fmla="*/ 78434 w 612261"/>
              <a:gd name="connsiteY15" fmla="*/ 1307 h 109895"/>
              <a:gd name="connsiteX16" fmla="*/ 72607 w 612261"/>
              <a:gd name="connsiteY16" fmla="*/ 29372 h 109895"/>
              <a:gd name="connsiteX17" fmla="*/ 89340 w 612261"/>
              <a:gd name="connsiteY17" fmla="*/ 29372 h 109895"/>
              <a:gd name="connsiteX18" fmla="*/ 89340 w 612261"/>
              <a:gd name="connsiteY18" fmla="*/ 39826 h 109895"/>
              <a:gd name="connsiteX19" fmla="*/ 70516 w 612261"/>
              <a:gd name="connsiteY19" fmla="*/ 39826 h 109895"/>
              <a:gd name="connsiteX20" fmla="*/ 64988 w 612261"/>
              <a:gd name="connsiteY20" fmla="*/ 67020 h 109895"/>
              <a:gd name="connsiteX21" fmla="*/ 85306 w 612261"/>
              <a:gd name="connsiteY21" fmla="*/ 67020 h 109895"/>
              <a:gd name="connsiteX22" fmla="*/ 85306 w 612261"/>
              <a:gd name="connsiteY22" fmla="*/ 77475 h 109895"/>
              <a:gd name="connsiteX23" fmla="*/ 62747 w 612261"/>
              <a:gd name="connsiteY23" fmla="*/ 77475 h 109895"/>
              <a:gd name="connsiteX24" fmla="*/ 56472 w 612261"/>
              <a:gd name="connsiteY24" fmla="*/ 108402 h 109895"/>
              <a:gd name="connsiteX25" fmla="*/ 44520 w 612261"/>
              <a:gd name="connsiteY25" fmla="*/ 108402 h 109895"/>
              <a:gd name="connsiteX26" fmla="*/ 50795 w 612261"/>
              <a:gd name="connsiteY26" fmla="*/ 77475 h 109895"/>
              <a:gd name="connsiteX27" fmla="*/ 28386 w 612261"/>
              <a:gd name="connsiteY27" fmla="*/ 77475 h 109895"/>
              <a:gd name="connsiteX28" fmla="*/ 22111 w 612261"/>
              <a:gd name="connsiteY28" fmla="*/ 108402 h 109895"/>
              <a:gd name="connsiteX29" fmla="*/ 30626 w 612261"/>
              <a:gd name="connsiteY29" fmla="*/ 67020 h 109895"/>
              <a:gd name="connsiteX30" fmla="*/ 53036 w 612261"/>
              <a:gd name="connsiteY30" fmla="*/ 67020 h 109895"/>
              <a:gd name="connsiteX31" fmla="*/ 58564 w 612261"/>
              <a:gd name="connsiteY31" fmla="*/ 39826 h 109895"/>
              <a:gd name="connsiteX32" fmla="*/ 36154 w 612261"/>
              <a:gd name="connsiteY32" fmla="*/ 39826 h 109895"/>
              <a:gd name="connsiteX33" fmla="*/ 30626 w 612261"/>
              <a:gd name="connsiteY33" fmla="*/ 67020 h 109895"/>
              <a:gd name="connsiteX34" fmla="*/ 136659 w 612261"/>
              <a:gd name="connsiteY34" fmla="*/ 109896 h 109895"/>
              <a:gd name="connsiteX35" fmla="*/ 118432 w 612261"/>
              <a:gd name="connsiteY35" fmla="*/ 104047 h 109895"/>
              <a:gd name="connsiteX36" fmla="*/ 105734 w 612261"/>
              <a:gd name="connsiteY36" fmla="*/ 86125 h 109895"/>
              <a:gd name="connsiteX37" fmla="*/ 101252 w 612261"/>
              <a:gd name="connsiteY37" fmla="*/ 54761 h 109895"/>
              <a:gd name="connsiteX38" fmla="*/ 105734 w 612261"/>
              <a:gd name="connsiteY38" fmla="*/ 23398 h 109895"/>
              <a:gd name="connsiteX39" fmla="*/ 118432 w 612261"/>
              <a:gd name="connsiteY39" fmla="*/ 5663 h 109895"/>
              <a:gd name="connsiteX40" fmla="*/ 136659 w 612261"/>
              <a:gd name="connsiteY40" fmla="*/ 0 h 109895"/>
              <a:gd name="connsiteX41" fmla="*/ 154736 w 612261"/>
              <a:gd name="connsiteY41" fmla="*/ 5663 h 109895"/>
              <a:gd name="connsiteX42" fmla="*/ 167136 w 612261"/>
              <a:gd name="connsiteY42" fmla="*/ 23398 h 109895"/>
              <a:gd name="connsiteX43" fmla="*/ 171618 w 612261"/>
              <a:gd name="connsiteY43" fmla="*/ 54512 h 109895"/>
              <a:gd name="connsiteX44" fmla="*/ 167136 w 612261"/>
              <a:gd name="connsiteY44" fmla="*/ 85876 h 109895"/>
              <a:gd name="connsiteX45" fmla="*/ 154736 w 612261"/>
              <a:gd name="connsiteY45" fmla="*/ 104047 h 109895"/>
              <a:gd name="connsiteX46" fmla="*/ 136659 w 612261"/>
              <a:gd name="connsiteY46" fmla="*/ 109896 h 109895"/>
              <a:gd name="connsiteX47" fmla="*/ 136509 w 612261"/>
              <a:gd name="connsiteY47" fmla="*/ 98072 h 109895"/>
              <a:gd name="connsiteX48" fmla="*/ 147864 w 612261"/>
              <a:gd name="connsiteY48" fmla="*/ 94089 h 109895"/>
              <a:gd name="connsiteX49" fmla="*/ 155035 w 612261"/>
              <a:gd name="connsiteY49" fmla="*/ 80462 h 109895"/>
              <a:gd name="connsiteX50" fmla="*/ 157575 w 612261"/>
              <a:gd name="connsiteY50" fmla="*/ 54948 h 109895"/>
              <a:gd name="connsiteX51" fmla="*/ 155184 w 612261"/>
              <a:gd name="connsiteY51" fmla="*/ 29559 h 109895"/>
              <a:gd name="connsiteX52" fmla="*/ 148013 w 612261"/>
              <a:gd name="connsiteY52" fmla="*/ 15931 h 109895"/>
              <a:gd name="connsiteX53" fmla="*/ 136659 w 612261"/>
              <a:gd name="connsiteY53" fmla="*/ 11761 h 109895"/>
              <a:gd name="connsiteX54" fmla="*/ 125155 w 612261"/>
              <a:gd name="connsiteY54" fmla="*/ 15931 h 109895"/>
              <a:gd name="connsiteX55" fmla="*/ 117835 w 612261"/>
              <a:gd name="connsiteY55" fmla="*/ 29559 h 109895"/>
              <a:gd name="connsiteX56" fmla="*/ 115295 w 612261"/>
              <a:gd name="connsiteY56" fmla="*/ 54948 h 109895"/>
              <a:gd name="connsiteX57" fmla="*/ 117685 w 612261"/>
              <a:gd name="connsiteY57" fmla="*/ 80462 h 109895"/>
              <a:gd name="connsiteX58" fmla="*/ 125006 w 612261"/>
              <a:gd name="connsiteY58" fmla="*/ 94089 h 109895"/>
              <a:gd name="connsiteX59" fmla="*/ 136509 w 612261"/>
              <a:gd name="connsiteY59" fmla="*/ 98072 h 109895"/>
              <a:gd name="connsiteX60" fmla="*/ 218798 w 612261"/>
              <a:gd name="connsiteY60" fmla="*/ 109896 h 109895"/>
              <a:gd name="connsiteX61" fmla="*/ 200572 w 612261"/>
              <a:gd name="connsiteY61" fmla="*/ 104047 h 109895"/>
              <a:gd name="connsiteX62" fmla="*/ 187873 w 612261"/>
              <a:gd name="connsiteY62" fmla="*/ 86125 h 109895"/>
              <a:gd name="connsiteX63" fmla="*/ 183391 w 612261"/>
              <a:gd name="connsiteY63" fmla="*/ 54761 h 109895"/>
              <a:gd name="connsiteX64" fmla="*/ 187873 w 612261"/>
              <a:gd name="connsiteY64" fmla="*/ 23398 h 109895"/>
              <a:gd name="connsiteX65" fmla="*/ 200572 w 612261"/>
              <a:gd name="connsiteY65" fmla="*/ 5663 h 109895"/>
              <a:gd name="connsiteX66" fmla="*/ 218798 w 612261"/>
              <a:gd name="connsiteY66" fmla="*/ 0 h 109895"/>
              <a:gd name="connsiteX67" fmla="*/ 236875 w 612261"/>
              <a:gd name="connsiteY67" fmla="*/ 5663 h 109895"/>
              <a:gd name="connsiteX68" fmla="*/ 249275 w 612261"/>
              <a:gd name="connsiteY68" fmla="*/ 23398 h 109895"/>
              <a:gd name="connsiteX69" fmla="*/ 253757 w 612261"/>
              <a:gd name="connsiteY69" fmla="*/ 54512 h 109895"/>
              <a:gd name="connsiteX70" fmla="*/ 249275 w 612261"/>
              <a:gd name="connsiteY70" fmla="*/ 85876 h 109895"/>
              <a:gd name="connsiteX71" fmla="*/ 236875 w 612261"/>
              <a:gd name="connsiteY71" fmla="*/ 104047 h 109895"/>
              <a:gd name="connsiteX72" fmla="*/ 218798 w 612261"/>
              <a:gd name="connsiteY72" fmla="*/ 109896 h 109895"/>
              <a:gd name="connsiteX73" fmla="*/ 218649 w 612261"/>
              <a:gd name="connsiteY73" fmla="*/ 98072 h 109895"/>
              <a:gd name="connsiteX74" fmla="*/ 230003 w 612261"/>
              <a:gd name="connsiteY74" fmla="*/ 94089 h 109895"/>
              <a:gd name="connsiteX75" fmla="*/ 237174 w 612261"/>
              <a:gd name="connsiteY75" fmla="*/ 80462 h 109895"/>
              <a:gd name="connsiteX76" fmla="*/ 239714 w 612261"/>
              <a:gd name="connsiteY76" fmla="*/ 54948 h 109895"/>
              <a:gd name="connsiteX77" fmla="*/ 237324 w 612261"/>
              <a:gd name="connsiteY77" fmla="*/ 29559 h 109895"/>
              <a:gd name="connsiteX78" fmla="*/ 230152 w 612261"/>
              <a:gd name="connsiteY78" fmla="*/ 15931 h 109895"/>
              <a:gd name="connsiteX79" fmla="*/ 218798 w 612261"/>
              <a:gd name="connsiteY79" fmla="*/ 11761 h 109895"/>
              <a:gd name="connsiteX80" fmla="*/ 207295 w 612261"/>
              <a:gd name="connsiteY80" fmla="*/ 15931 h 109895"/>
              <a:gd name="connsiteX81" fmla="*/ 199974 w 612261"/>
              <a:gd name="connsiteY81" fmla="*/ 29559 h 109895"/>
              <a:gd name="connsiteX82" fmla="*/ 197434 w 612261"/>
              <a:gd name="connsiteY82" fmla="*/ 54948 h 109895"/>
              <a:gd name="connsiteX83" fmla="*/ 199825 w 612261"/>
              <a:gd name="connsiteY83" fmla="*/ 80462 h 109895"/>
              <a:gd name="connsiteX84" fmla="*/ 207145 w 612261"/>
              <a:gd name="connsiteY84" fmla="*/ 94089 h 109895"/>
              <a:gd name="connsiteX85" fmla="*/ 218649 w 612261"/>
              <a:gd name="connsiteY85" fmla="*/ 98072 h 109895"/>
              <a:gd name="connsiteX86" fmla="*/ 272104 w 612261"/>
              <a:gd name="connsiteY86" fmla="*/ 1307 h 109895"/>
              <a:gd name="connsiteX87" fmla="*/ 308408 w 612261"/>
              <a:gd name="connsiteY87" fmla="*/ 1307 h 109895"/>
              <a:gd name="connsiteX88" fmla="*/ 335150 w 612261"/>
              <a:gd name="connsiteY88" fmla="*/ 7281 h 109895"/>
              <a:gd name="connsiteX89" fmla="*/ 344413 w 612261"/>
              <a:gd name="connsiteY89" fmla="*/ 27443 h 109895"/>
              <a:gd name="connsiteX90" fmla="*/ 338586 w 612261"/>
              <a:gd name="connsiteY90" fmla="*/ 44930 h 109895"/>
              <a:gd name="connsiteX91" fmla="*/ 323049 w 612261"/>
              <a:gd name="connsiteY91" fmla="*/ 52832 h 109895"/>
              <a:gd name="connsiteX92" fmla="*/ 341873 w 612261"/>
              <a:gd name="connsiteY92" fmla="*/ 60175 h 109895"/>
              <a:gd name="connsiteX93" fmla="*/ 348297 w 612261"/>
              <a:gd name="connsiteY93" fmla="*/ 77475 h 109895"/>
              <a:gd name="connsiteX94" fmla="*/ 343068 w 612261"/>
              <a:gd name="connsiteY94" fmla="*/ 95397 h 109895"/>
              <a:gd name="connsiteX95" fmla="*/ 328726 w 612261"/>
              <a:gd name="connsiteY95" fmla="*/ 105415 h 109895"/>
              <a:gd name="connsiteX96" fmla="*/ 308109 w 612261"/>
              <a:gd name="connsiteY96" fmla="*/ 108402 h 109895"/>
              <a:gd name="connsiteX97" fmla="*/ 272104 w 612261"/>
              <a:gd name="connsiteY97" fmla="*/ 108402 h 109895"/>
              <a:gd name="connsiteX98" fmla="*/ 272104 w 612261"/>
              <a:gd name="connsiteY98" fmla="*/ 1307 h 109895"/>
              <a:gd name="connsiteX99" fmla="*/ 307362 w 612261"/>
              <a:gd name="connsiteY99" fmla="*/ 47045 h 109895"/>
              <a:gd name="connsiteX100" fmla="*/ 323796 w 612261"/>
              <a:gd name="connsiteY100" fmla="*/ 42565 h 109895"/>
              <a:gd name="connsiteX101" fmla="*/ 330220 w 612261"/>
              <a:gd name="connsiteY101" fmla="*/ 28190 h 109895"/>
              <a:gd name="connsiteX102" fmla="*/ 324543 w 612261"/>
              <a:gd name="connsiteY102" fmla="*/ 17175 h 109895"/>
              <a:gd name="connsiteX103" fmla="*/ 308408 w 612261"/>
              <a:gd name="connsiteY103" fmla="*/ 14188 h 109895"/>
              <a:gd name="connsiteX104" fmla="*/ 286148 w 612261"/>
              <a:gd name="connsiteY104" fmla="*/ 14188 h 109895"/>
              <a:gd name="connsiteX105" fmla="*/ 286148 w 612261"/>
              <a:gd name="connsiteY105" fmla="*/ 47045 h 109895"/>
              <a:gd name="connsiteX106" fmla="*/ 307362 w 612261"/>
              <a:gd name="connsiteY106" fmla="*/ 47045 h 109895"/>
              <a:gd name="connsiteX107" fmla="*/ 308109 w 612261"/>
              <a:gd name="connsiteY107" fmla="*/ 95707 h 109895"/>
              <a:gd name="connsiteX108" fmla="*/ 326485 w 612261"/>
              <a:gd name="connsiteY108" fmla="*/ 91849 h 109895"/>
              <a:gd name="connsiteX109" fmla="*/ 333507 w 612261"/>
              <a:gd name="connsiteY109" fmla="*/ 77786 h 109895"/>
              <a:gd name="connsiteX110" fmla="*/ 326933 w 612261"/>
              <a:gd name="connsiteY110" fmla="*/ 63722 h 109895"/>
              <a:gd name="connsiteX111" fmla="*/ 306466 w 612261"/>
              <a:gd name="connsiteY111" fmla="*/ 59740 h 109895"/>
              <a:gd name="connsiteX112" fmla="*/ 286148 w 612261"/>
              <a:gd name="connsiteY112" fmla="*/ 59740 h 109895"/>
              <a:gd name="connsiteX113" fmla="*/ 286148 w 612261"/>
              <a:gd name="connsiteY113" fmla="*/ 95707 h 109895"/>
              <a:gd name="connsiteX114" fmla="*/ 308109 w 612261"/>
              <a:gd name="connsiteY114" fmla="*/ 95707 h 109895"/>
              <a:gd name="connsiteX115" fmla="*/ 419340 w 612261"/>
              <a:gd name="connsiteY115" fmla="*/ 108402 h 109895"/>
              <a:gd name="connsiteX116" fmla="*/ 406193 w 612261"/>
              <a:gd name="connsiteY116" fmla="*/ 108402 h 109895"/>
              <a:gd name="connsiteX117" fmla="*/ 406193 w 612261"/>
              <a:gd name="connsiteY117" fmla="*/ 83013 h 109895"/>
              <a:gd name="connsiteX118" fmla="*/ 359880 w 612261"/>
              <a:gd name="connsiteY118" fmla="*/ 83013 h 109895"/>
              <a:gd name="connsiteX119" fmla="*/ 359880 w 612261"/>
              <a:gd name="connsiteY119" fmla="*/ 73741 h 109895"/>
              <a:gd name="connsiteX120" fmla="*/ 401711 w 612261"/>
              <a:gd name="connsiteY120" fmla="*/ 1307 h 109895"/>
              <a:gd name="connsiteX121" fmla="*/ 419340 w 612261"/>
              <a:gd name="connsiteY121" fmla="*/ 1307 h 109895"/>
              <a:gd name="connsiteX122" fmla="*/ 419340 w 612261"/>
              <a:gd name="connsiteY122" fmla="*/ 71687 h 109895"/>
              <a:gd name="connsiteX123" fmla="*/ 433832 w 612261"/>
              <a:gd name="connsiteY123" fmla="*/ 71687 h 109895"/>
              <a:gd name="connsiteX124" fmla="*/ 433832 w 612261"/>
              <a:gd name="connsiteY124" fmla="*/ 83013 h 109895"/>
              <a:gd name="connsiteX125" fmla="*/ 419340 w 612261"/>
              <a:gd name="connsiteY125" fmla="*/ 83013 h 109895"/>
              <a:gd name="connsiteX126" fmla="*/ 419340 w 612261"/>
              <a:gd name="connsiteY126" fmla="*/ 108402 h 109895"/>
              <a:gd name="connsiteX127" fmla="*/ 373475 w 612261"/>
              <a:gd name="connsiteY127" fmla="*/ 71687 h 109895"/>
              <a:gd name="connsiteX128" fmla="*/ 406193 w 612261"/>
              <a:gd name="connsiteY128" fmla="*/ 71687 h 109895"/>
              <a:gd name="connsiteX129" fmla="*/ 406193 w 612261"/>
              <a:gd name="connsiteY129" fmla="*/ 15931 h 109895"/>
              <a:gd name="connsiteX130" fmla="*/ 373475 w 612261"/>
              <a:gd name="connsiteY130" fmla="*/ 71687 h 109895"/>
              <a:gd name="connsiteX131" fmla="*/ 450535 w 612261"/>
              <a:gd name="connsiteY131" fmla="*/ 1307 h 109895"/>
              <a:gd name="connsiteX132" fmla="*/ 486838 w 612261"/>
              <a:gd name="connsiteY132" fmla="*/ 1307 h 109895"/>
              <a:gd name="connsiteX133" fmla="*/ 513581 w 612261"/>
              <a:gd name="connsiteY133" fmla="*/ 7281 h 109895"/>
              <a:gd name="connsiteX134" fmla="*/ 522841 w 612261"/>
              <a:gd name="connsiteY134" fmla="*/ 27443 h 109895"/>
              <a:gd name="connsiteX135" fmla="*/ 517015 w 612261"/>
              <a:gd name="connsiteY135" fmla="*/ 44930 h 109895"/>
              <a:gd name="connsiteX136" fmla="*/ 501479 w 612261"/>
              <a:gd name="connsiteY136" fmla="*/ 52832 h 109895"/>
              <a:gd name="connsiteX137" fmla="*/ 520302 w 612261"/>
              <a:gd name="connsiteY137" fmla="*/ 60175 h 109895"/>
              <a:gd name="connsiteX138" fmla="*/ 526726 w 612261"/>
              <a:gd name="connsiteY138" fmla="*/ 77475 h 109895"/>
              <a:gd name="connsiteX139" fmla="*/ 521497 w 612261"/>
              <a:gd name="connsiteY139" fmla="*/ 95397 h 109895"/>
              <a:gd name="connsiteX140" fmla="*/ 507156 w 612261"/>
              <a:gd name="connsiteY140" fmla="*/ 105415 h 109895"/>
              <a:gd name="connsiteX141" fmla="*/ 486540 w 612261"/>
              <a:gd name="connsiteY141" fmla="*/ 108402 h 109895"/>
              <a:gd name="connsiteX142" fmla="*/ 450535 w 612261"/>
              <a:gd name="connsiteY142" fmla="*/ 108402 h 109895"/>
              <a:gd name="connsiteX143" fmla="*/ 450535 w 612261"/>
              <a:gd name="connsiteY143" fmla="*/ 1307 h 109895"/>
              <a:gd name="connsiteX144" fmla="*/ 485793 w 612261"/>
              <a:gd name="connsiteY144" fmla="*/ 47045 h 109895"/>
              <a:gd name="connsiteX145" fmla="*/ 502226 w 612261"/>
              <a:gd name="connsiteY145" fmla="*/ 42565 h 109895"/>
              <a:gd name="connsiteX146" fmla="*/ 508651 w 612261"/>
              <a:gd name="connsiteY146" fmla="*/ 28190 h 109895"/>
              <a:gd name="connsiteX147" fmla="*/ 502973 w 612261"/>
              <a:gd name="connsiteY147" fmla="*/ 17175 h 109895"/>
              <a:gd name="connsiteX148" fmla="*/ 486838 w 612261"/>
              <a:gd name="connsiteY148" fmla="*/ 14188 h 109895"/>
              <a:gd name="connsiteX149" fmla="*/ 464578 w 612261"/>
              <a:gd name="connsiteY149" fmla="*/ 14188 h 109895"/>
              <a:gd name="connsiteX150" fmla="*/ 464578 w 612261"/>
              <a:gd name="connsiteY150" fmla="*/ 47045 h 109895"/>
              <a:gd name="connsiteX151" fmla="*/ 485793 w 612261"/>
              <a:gd name="connsiteY151" fmla="*/ 47045 h 109895"/>
              <a:gd name="connsiteX152" fmla="*/ 486540 w 612261"/>
              <a:gd name="connsiteY152" fmla="*/ 95707 h 109895"/>
              <a:gd name="connsiteX153" fmla="*/ 504916 w 612261"/>
              <a:gd name="connsiteY153" fmla="*/ 91849 h 109895"/>
              <a:gd name="connsiteX154" fmla="*/ 511937 w 612261"/>
              <a:gd name="connsiteY154" fmla="*/ 77786 h 109895"/>
              <a:gd name="connsiteX155" fmla="*/ 505364 w 612261"/>
              <a:gd name="connsiteY155" fmla="*/ 63722 h 109895"/>
              <a:gd name="connsiteX156" fmla="*/ 484896 w 612261"/>
              <a:gd name="connsiteY156" fmla="*/ 59740 h 109895"/>
              <a:gd name="connsiteX157" fmla="*/ 464578 w 612261"/>
              <a:gd name="connsiteY157" fmla="*/ 59740 h 109895"/>
              <a:gd name="connsiteX158" fmla="*/ 464578 w 612261"/>
              <a:gd name="connsiteY158" fmla="*/ 95707 h 109895"/>
              <a:gd name="connsiteX159" fmla="*/ 486540 w 612261"/>
              <a:gd name="connsiteY159" fmla="*/ 95707 h 109895"/>
              <a:gd name="connsiteX160" fmla="*/ 597770 w 612261"/>
              <a:gd name="connsiteY160" fmla="*/ 108402 h 109895"/>
              <a:gd name="connsiteX161" fmla="*/ 584623 w 612261"/>
              <a:gd name="connsiteY161" fmla="*/ 108402 h 109895"/>
              <a:gd name="connsiteX162" fmla="*/ 584623 w 612261"/>
              <a:gd name="connsiteY162" fmla="*/ 83013 h 109895"/>
              <a:gd name="connsiteX163" fmla="*/ 538310 w 612261"/>
              <a:gd name="connsiteY163" fmla="*/ 83013 h 109895"/>
              <a:gd name="connsiteX164" fmla="*/ 538310 w 612261"/>
              <a:gd name="connsiteY164" fmla="*/ 73741 h 109895"/>
              <a:gd name="connsiteX165" fmla="*/ 580142 w 612261"/>
              <a:gd name="connsiteY165" fmla="*/ 1307 h 109895"/>
              <a:gd name="connsiteX166" fmla="*/ 597770 w 612261"/>
              <a:gd name="connsiteY166" fmla="*/ 1307 h 109895"/>
              <a:gd name="connsiteX167" fmla="*/ 597770 w 612261"/>
              <a:gd name="connsiteY167" fmla="*/ 71687 h 109895"/>
              <a:gd name="connsiteX168" fmla="*/ 612262 w 612261"/>
              <a:gd name="connsiteY168" fmla="*/ 71687 h 109895"/>
              <a:gd name="connsiteX169" fmla="*/ 612262 w 612261"/>
              <a:gd name="connsiteY169" fmla="*/ 83013 h 109895"/>
              <a:gd name="connsiteX170" fmla="*/ 597770 w 612261"/>
              <a:gd name="connsiteY170" fmla="*/ 83013 h 109895"/>
              <a:gd name="connsiteX171" fmla="*/ 597770 w 612261"/>
              <a:gd name="connsiteY171" fmla="*/ 108402 h 109895"/>
              <a:gd name="connsiteX172" fmla="*/ 551905 w 612261"/>
              <a:gd name="connsiteY172" fmla="*/ 71687 h 109895"/>
              <a:gd name="connsiteX173" fmla="*/ 584623 w 612261"/>
              <a:gd name="connsiteY173" fmla="*/ 71687 h 109895"/>
              <a:gd name="connsiteX174" fmla="*/ 584623 w 612261"/>
              <a:gd name="connsiteY174" fmla="*/ 15931 h 109895"/>
              <a:gd name="connsiteX175" fmla="*/ 551905 w 612261"/>
              <a:gd name="connsiteY175" fmla="*/ 7168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612261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36659" y="109896"/>
                </a:moveTo>
                <a:cubicBezTo>
                  <a:pt x="129886" y="109896"/>
                  <a:pt x="123811" y="107967"/>
                  <a:pt x="118432" y="104047"/>
                </a:cubicBezTo>
                <a:cubicBezTo>
                  <a:pt x="113054" y="100188"/>
                  <a:pt x="108821" y="94214"/>
                  <a:pt x="105734" y="86125"/>
                </a:cubicBezTo>
                <a:cubicBezTo>
                  <a:pt x="102746" y="77972"/>
                  <a:pt x="101252" y="67518"/>
                  <a:pt x="101252" y="54761"/>
                </a:cubicBezTo>
                <a:cubicBezTo>
                  <a:pt x="101252" y="41942"/>
                  <a:pt x="102746" y="31488"/>
                  <a:pt x="105734" y="23398"/>
                </a:cubicBezTo>
                <a:cubicBezTo>
                  <a:pt x="108821" y="15371"/>
                  <a:pt x="113054" y="9459"/>
                  <a:pt x="118432" y="5663"/>
                </a:cubicBezTo>
                <a:cubicBezTo>
                  <a:pt x="123811" y="1867"/>
                  <a:pt x="129886" y="0"/>
                  <a:pt x="136659" y="0"/>
                </a:cubicBezTo>
                <a:cubicBezTo>
                  <a:pt x="143432" y="0"/>
                  <a:pt x="149457" y="1867"/>
                  <a:pt x="154736" y="5663"/>
                </a:cubicBezTo>
                <a:cubicBezTo>
                  <a:pt x="160015" y="9459"/>
                  <a:pt x="164148" y="15371"/>
                  <a:pt x="167136" y="23398"/>
                </a:cubicBezTo>
                <a:cubicBezTo>
                  <a:pt x="170124" y="31363"/>
                  <a:pt x="171618" y="41756"/>
                  <a:pt x="171618" y="54512"/>
                </a:cubicBezTo>
                <a:cubicBezTo>
                  <a:pt x="171618" y="67145"/>
                  <a:pt x="170124" y="77599"/>
                  <a:pt x="167136" y="85876"/>
                </a:cubicBezTo>
                <a:cubicBezTo>
                  <a:pt x="164148" y="94027"/>
                  <a:pt x="160015" y="100064"/>
                  <a:pt x="154736" y="104047"/>
                </a:cubicBezTo>
                <a:cubicBezTo>
                  <a:pt x="149457" y="107967"/>
                  <a:pt x="143432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40991" y="98072"/>
                  <a:pt x="144776" y="96766"/>
                  <a:pt x="147864" y="94089"/>
                </a:cubicBezTo>
                <a:cubicBezTo>
                  <a:pt x="151051" y="91289"/>
                  <a:pt x="153441" y="86747"/>
                  <a:pt x="155035" y="80462"/>
                </a:cubicBezTo>
                <a:cubicBezTo>
                  <a:pt x="156728" y="74114"/>
                  <a:pt x="157575" y="65589"/>
                  <a:pt x="157575" y="54948"/>
                </a:cubicBezTo>
                <a:cubicBezTo>
                  <a:pt x="157575" y="44307"/>
                  <a:pt x="156778" y="35844"/>
                  <a:pt x="155184" y="29559"/>
                </a:cubicBezTo>
                <a:cubicBezTo>
                  <a:pt x="153591" y="23150"/>
                  <a:pt x="151200" y="18669"/>
                  <a:pt x="148013" y="15931"/>
                </a:cubicBezTo>
                <a:cubicBezTo>
                  <a:pt x="144926" y="13192"/>
                  <a:pt x="141141" y="11761"/>
                  <a:pt x="136659" y="11761"/>
                </a:cubicBezTo>
                <a:cubicBezTo>
                  <a:pt x="132177" y="11761"/>
                  <a:pt x="128342" y="13192"/>
                  <a:pt x="125155" y="15931"/>
                </a:cubicBezTo>
                <a:cubicBezTo>
                  <a:pt x="121968" y="18669"/>
                  <a:pt x="119528" y="23150"/>
                  <a:pt x="117835" y="29559"/>
                </a:cubicBezTo>
                <a:cubicBezTo>
                  <a:pt x="116142" y="35844"/>
                  <a:pt x="115295" y="44307"/>
                  <a:pt x="115295" y="54948"/>
                </a:cubicBezTo>
                <a:cubicBezTo>
                  <a:pt x="115295" y="65589"/>
                  <a:pt x="116092" y="74114"/>
                  <a:pt x="117685" y="80462"/>
                </a:cubicBezTo>
                <a:cubicBezTo>
                  <a:pt x="119379" y="86747"/>
                  <a:pt x="121819" y="91289"/>
                  <a:pt x="125006" y="94089"/>
                </a:cubicBezTo>
                <a:cubicBezTo>
                  <a:pt x="128193" y="96766"/>
                  <a:pt x="132028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2026" y="109896"/>
                  <a:pt x="205950" y="107967"/>
                  <a:pt x="200572" y="104047"/>
                </a:cubicBezTo>
                <a:cubicBezTo>
                  <a:pt x="195193" y="100188"/>
                  <a:pt x="190961" y="94214"/>
                  <a:pt x="187873" y="86125"/>
                </a:cubicBezTo>
                <a:cubicBezTo>
                  <a:pt x="184885" y="77972"/>
                  <a:pt x="183391" y="67518"/>
                  <a:pt x="183391" y="54761"/>
                </a:cubicBezTo>
                <a:cubicBezTo>
                  <a:pt x="183391" y="41942"/>
                  <a:pt x="184885" y="31488"/>
                  <a:pt x="187873" y="23398"/>
                </a:cubicBezTo>
                <a:cubicBezTo>
                  <a:pt x="190961" y="15371"/>
                  <a:pt x="195193" y="9459"/>
                  <a:pt x="200572" y="5663"/>
                </a:cubicBezTo>
                <a:cubicBezTo>
                  <a:pt x="205950" y="1867"/>
                  <a:pt x="212026" y="0"/>
                  <a:pt x="218798" y="0"/>
                </a:cubicBezTo>
                <a:cubicBezTo>
                  <a:pt x="225571" y="0"/>
                  <a:pt x="231597" y="1867"/>
                  <a:pt x="236875" y="5663"/>
                </a:cubicBezTo>
                <a:cubicBezTo>
                  <a:pt x="242154" y="9459"/>
                  <a:pt x="246287" y="15371"/>
                  <a:pt x="249275" y="23398"/>
                </a:cubicBezTo>
                <a:cubicBezTo>
                  <a:pt x="252263" y="31363"/>
                  <a:pt x="253757" y="41756"/>
                  <a:pt x="253757" y="54512"/>
                </a:cubicBezTo>
                <a:cubicBezTo>
                  <a:pt x="253757" y="67145"/>
                  <a:pt x="252263" y="77599"/>
                  <a:pt x="249275" y="85876"/>
                </a:cubicBezTo>
                <a:cubicBezTo>
                  <a:pt x="246287" y="94027"/>
                  <a:pt x="242154" y="100064"/>
                  <a:pt x="236875" y="104047"/>
                </a:cubicBezTo>
                <a:cubicBezTo>
                  <a:pt x="231597" y="107967"/>
                  <a:pt x="225571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3131" y="98072"/>
                  <a:pt x="226915" y="96766"/>
                  <a:pt x="230003" y="94089"/>
                </a:cubicBezTo>
                <a:cubicBezTo>
                  <a:pt x="233190" y="91289"/>
                  <a:pt x="235581" y="86747"/>
                  <a:pt x="237174" y="80462"/>
                </a:cubicBezTo>
                <a:cubicBezTo>
                  <a:pt x="238867" y="74114"/>
                  <a:pt x="239714" y="65589"/>
                  <a:pt x="239714" y="54948"/>
                </a:cubicBezTo>
                <a:cubicBezTo>
                  <a:pt x="239714" y="44307"/>
                  <a:pt x="238917" y="35844"/>
                  <a:pt x="237324" y="29559"/>
                </a:cubicBezTo>
                <a:cubicBezTo>
                  <a:pt x="235730" y="23150"/>
                  <a:pt x="233340" y="18669"/>
                  <a:pt x="230152" y="15931"/>
                </a:cubicBezTo>
                <a:cubicBezTo>
                  <a:pt x="227065" y="13192"/>
                  <a:pt x="223280" y="11761"/>
                  <a:pt x="218798" y="11761"/>
                </a:cubicBezTo>
                <a:cubicBezTo>
                  <a:pt x="214316" y="11761"/>
                  <a:pt x="210482" y="13192"/>
                  <a:pt x="207295" y="15931"/>
                </a:cubicBezTo>
                <a:cubicBezTo>
                  <a:pt x="204107" y="18669"/>
                  <a:pt x="201667" y="23150"/>
                  <a:pt x="199974" y="29559"/>
                </a:cubicBezTo>
                <a:cubicBezTo>
                  <a:pt x="198281" y="35844"/>
                  <a:pt x="197434" y="44307"/>
                  <a:pt x="197434" y="54948"/>
                </a:cubicBezTo>
                <a:cubicBezTo>
                  <a:pt x="197434" y="65589"/>
                  <a:pt x="198231" y="74114"/>
                  <a:pt x="199825" y="80462"/>
                </a:cubicBezTo>
                <a:cubicBezTo>
                  <a:pt x="201518" y="86747"/>
                  <a:pt x="203958" y="91289"/>
                  <a:pt x="207145" y="94089"/>
                </a:cubicBezTo>
                <a:cubicBezTo>
                  <a:pt x="210332" y="96766"/>
                  <a:pt x="214167" y="98072"/>
                  <a:pt x="218649" y="98072"/>
                </a:cubicBezTo>
                <a:close/>
                <a:moveTo>
                  <a:pt x="272104" y="1307"/>
                </a:moveTo>
                <a:lnTo>
                  <a:pt x="308408" y="1307"/>
                </a:lnTo>
                <a:cubicBezTo>
                  <a:pt x="320161" y="1307"/>
                  <a:pt x="329075" y="3298"/>
                  <a:pt x="335150" y="7281"/>
                </a:cubicBezTo>
                <a:cubicBezTo>
                  <a:pt x="341325" y="11264"/>
                  <a:pt x="344413" y="17984"/>
                  <a:pt x="344413" y="27443"/>
                </a:cubicBezTo>
                <a:cubicBezTo>
                  <a:pt x="344413" y="35097"/>
                  <a:pt x="342471" y="40947"/>
                  <a:pt x="338586" y="44930"/>
                </a:cubicBezTo>
                <a:cubicBezTo>
                  <a:pt x="334702" y="48788"/>
                  <a:pt x="329523" y="51463"/>
                  <a:pt x="323049" y="52832"/>
                </a:cubicBezTo>
                <a:cubicBezTo>
                  <a:pt x="331316" y="53828"/>
                  <a:pt x="337590" y="56255"/>
                  <a:pt x="341873" y="60175"/>
                </a:cubicBezTo>
                <a:cubicBezTo>
                  <a:pt x="346156" y="63971"/>
                  <a:pt x="348297" y="69696"/>
                  <a:pt x="348297" y="77475"/>
                </a:cubicBezTo>
                <a:cubicBezTo>
                  <a:pt x="348297" y="84880"/>
                  <a:pt x="346554" y="90854"/>
                  <a:pt x="343068" y="95397"/>
                </a:cubicBezTo>
                <a:cubicBezTo>
                  <a:pt x="339582" y="100002"/>
                  <a:pt x="334802" y="103300"/>
                  <a:pt x="328726" y="105415"/>
                </a:cubicBezTo>
                <a:cubicBezTo>
                  <a:pt x="322651" y="107406"/>
                  <a:pt x="315778" y="108402"/>
                  <a:pt x="308109" y="108402"/>
                </a:cubicBez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307362" y="47045"/>
                </a:moveTo>
                <a:cubicBezTo>
                  <a:pt x="314135" y="47045"/>
                  <a:pt x="319613" y="45552"/>
                  <a:pt x="323796" y="42565"/>
                </a:cubicBezTo>
                <a:cubicBezTo>
                  <a:pt x="328079" y="39453"/>
                  <a:pt x="330220" y="34662"/>
                  <a:pt x="330220" y="28190"/>
                </a:cubicBezTo>
                <a:cubicBezTo>
                  <a:pt x="330220" y="22714"/>
                  <a:pt x="328328" y="19042"/>
                  <a:pt x="324543" y="17175"/>
                </a:cubicBezTo>
                <a:cubicBezTo>
                  <a:pt x="320758" y="15184"/>
                  <a:pt x="315380" y="14188"/>
                  <a:pt x="308408" y="14188"/>
                </a:cubicBezTo>
                <a:lnTo>
                  <a:pt x="286148" y="14188"/>
                </a:lnTo>
                <a:lnTo>
                  <a:pt x="286148" y="47045"/>
                </a:lnTo>
                <a:lnTo>
                  <a:pt x="307362" y="47045"/>
                </a:lnTo>
                <a:close/>
                <a:moveTo>
                  <a:pt x="308109" y="95707"/>
                </a:moveTo>
                <a:cubicBezTo>
                  <a:pt x="315679" y="95707"/>
                  <a:pt x="321804" y="94401"/>
                  <a:pt x="326485" y="91849"/>
                </a:cubicBezTo>
                <a:cubicBezTo>
                  <a:pt x="331166" y="89236"/>
                  <a:pt x="333507" y="84569"/>
                  <a:pt x="333507" y="77786"/>
                </a:cubicBezTo>
                <a:cubicBezTo>
                  <a:pt x="333507" y="71003"/>
                  <a:pt x="331316" y="66336"/>
                  <a:pt x="326933" y="63722"/>
                </a:cubicBezTo>
                <a:cubicBezTo>
                  <a:pt x="322651" y="61046"/>
                  <a:pt x="315828" y="59740"/>
                  <a:pt x="306466" y="59740"/>
                </a:cubicBezTo>
                <a:lnTo>
                  <a:pt x="286148" y="59740"/>
                </a:lnTo>
                <a:lnTo>
                  <a:pt x="286148" y="95707"/>
                </a:lnTo>
                <a:lnTo>
                  <a:pt x="308109" y="95707"/>
                </a:lnTo>
                <a:close/>
                <a:moveTo>
                  <a:pt x="419340" y="108402"/>
                </a:moveTo>
                <a:lnTo>
                  <a:pt x="406193" y="108402"/>
                </a:lnTo>
                <a:lnTo>
                  <a:pt x="406193" y="83013"/>
                </a:lnTo>
                <a:lnTo>
                  <a:pt x="359880" y="83013"/>
                </a:lnTo>
                <a:lnTo>
                  <a:pt x="359880" y="73741"/>
                </a:lnTo>
                <a:lnTo>
                  <a:pt x="401711" y="1307"/>
                </a:lnTo>
                <a:lnTo>
                  <a:pt x="419340" y="1307"/>
                </a:lnTo>
                <a:lnTo>
                  <a:pt x="419340" y="71687"/>
                </a:lnTo>
                <a:lnTo>
                  <a:pt x="433832" y="71687"/>
                </a:lnTo>
                <a:lnTo>
                  <a:pt x="433832" y="83013"/>
                </a:lnTo>
                <a:lnTo>
                  <a:pt x="419340" y="83013"/>
                </a:lnTo>
                <a:lnTo>
                  <a:pt x="419340" y="108402"/>
                </a:lnTo>
                <a:close/>
                <a:moveTo>
                  <a:pt x="373475" y="71687"/>
                </a:moveTo>
                <a:lnTo>
                  <a:pt x="406193" y="71687"/>
                </a:lnTo>
                <a:lnTo>
                  <a:pt x="406193" y="15931"/>
                </a:lnTo>
                <a:lnTo>
                  <a:pt x="373475" y="71687"/>
                </a:lnTo>
                <a:close/>
                <a:moveTo>
                  <a:pt x="450535" y="1307"/>
                </a:moveTo>
                <a:lnTo>
                  <a:pt x="486838" y="1307"/>
                </a:lnTo>
                <a:cubicBezTo>
                  <a:pt x="498591" y="1307"/>
                  <a:pt x="507505" y="3298"/>
                  <a:pt x="513581" y="7281"/>
                </a:cubicBezTo>
                <a:cubicBezTo>
                  <a:pt x="519754" y="11264"/>
                  <a:pt x="522841" y="17984"/>
                  <a:pt x="522841" y="27443"/>
                </a:cubicBezTo>
                <a:cubicBezTo>
                  <a:pt x="522841" y="35097"/>
                  <a:pt x="520899" y="40947"/>
                  <a:pt x="517015" y="44930"/>
                </a:cubicBezTo>
                <a:cubicBezTo>
                  <a:pt x="513132" y="48788"/>
                  <a:pt x="507953" y="51463"/>
                  <a:pt x="501479" y="52832"/>
                </a:cubicBezTo>
                <a:cubicBezTo>
                  <a:pt x="509746" y="53828"/>
                  <a:pt x="516021" y="56255"/>
                  <a:pt x="520302" y="60175"/>
                </a:cubicBezTo>
                <a:cubicBezTo>
                  <a:pt x="524584" y="63971"/>
                  <a:pt x="526726" y="69696"/>
                  <a:pt x="526726" y="77475"/>
                </a:cubicBezTo>
                <a:cubicBezTo>
                  <a:pt x="526726" y="84880"/>
                  <a:pt x="524983" y="90854"/>
                  <a:pt x="521497" y="95397"/>
                </a:cubicBezTo>
                <a:cubicBezTo>
                  <a:pt x="518011" y="100002"/>
                  <a:pt x="513232" y="103300"/>
                  <a:pt x="507156" y="105415"/>
                </a:cubicBezTo>
                <a:cubicBezTo>
                  <a:pt x="501081" y="107406"/>
                  <a:pt x="494209" y="108402"/>
                  <a:pt x="486540" y="108402"/>
                </a:cubicBezTo>
                <a:lnTo>
                  <a:pt x="450535" y="108402"/>
                </a:lnTo>
                <a:lnTo>
                  <a:pt x="450535" y="1307"/>
                </a:lnTo>
                <a:close/>
                <a:moveTo>
                  <a:pt x="485793" y="47045"/>
                </a:moveTo>
                <a:cubicBezTo>
                  <a:pt x="492565" y="47045"/>
                  <a:pt x="498043" y="45552"/>
                  <a:pt x="502226" y="42565"/>
                </a:cubicBezTo>
                <a:cubicBezTo>
                  <a:pt x="506509" y="39453"/>
                  <a:pt x="508651" y="34662"/>
                  <a:pt x="508651" y="28190"/>
                </a:cubicBezTo>
                <a:cubicBezTo>
                  <a:pt x="508651" y="22714"/>
                  <a:pt x="506758" y="19042"/>
                  <a:pt x="502973" y="17175"/>
                </a:cubicBezTo>
                <a:cubicBezTo>
                  <a:pt x="499189" y="15184"/>
                  <a:pt x="493810" y="14188"/>
                  <a:pt x="486838" y="14188"/>
                </a:cubicBezTo>
                <a:lnTo>
                  <a:pt x="464578" y="14188"/>
                </a:lnTo>
                <a:lnTo>
                  <a:pt x="464578" y="47045"/>
                </a:lnTo>
                <a:lnTo>
                  <a:pt x="485793" y="47045"/>
                </a:lnTo>
                <a:close/>
                <a:moveTo>
                  <a:pt x="486540" y="95707"/>
                </a:moveTo>
                <a:cubicBezTo>
                  <a:pt x="494109" y="95707"/>
                  <a:pt x="500234" y="94401"/>
                  <a:pt x="504916" y="91849"/>
                </a:cubicBezTo>
                <a:cubicBezTo>
                  <a:pt x="509597" y="89236"/>
                  <a:pt x="511937" y="84569"/>
                  <a:pt x="511937" y="77786"/>
                </a:cubicBezTo>
                <a:cubicBezTo>
                  <a:pt x="511937" y="71003"/>
                  <a:pt x="509746" y="66336"/>
                  <a:pt x="505364" y="63722"/>
                </a:cubicBezTo>
                <a:cubicBezTo>
                  <a:pt x="501081" y="61046"/>
                  <a:pt x="494259" y="59740"/>
                  <a:pt x="484896" y="59740"/>
                </a:cubicBezTo>
                <a:lnTo>
                  <a:pt x="464578" y="59740"/>
                </a:lnTo>
                <a:lnTo>
                  <a:pt x="464578" y="95707"/>
                </a:lnTo>
                <a:lnTo>
                  <a:pt x="486540" y="95707"/>
                </a:lnTo>
                <a:close/>
                <a:moveTo>
                  <a:pt x="597770" y="108402"/>
                </a:moveTo>
                <a:lnTo>
                  <a:pt x="584623" y="108402"/>
                </a:lnTo>
                <a:lnTo>
                  <a:pt x="584623" y="83013"/>
                </a:lnTo>
                <a:lnTo>
                  <a:pt x="538310" y="83013"/>
                </a:lnTo>
                <a:lnTo>
                  <a:pt x="538310" y="73741"/>
                </a:lnTo>
                <a:lnTo>
                  <a:pt x="580142" y="1307"/>
                </a:lnTo>
                <a:lnTo>
                  <a:pt x="597770" y="1307"/>
                </a:lnTo>
                <a:lnTo>
                  <a:pt x="597770" y="71687"/>
                </a:lnTo>
                <a:lnTo>
                  <a:pt x="612262" y="71687"/>
                </a:lnTo>
                <a:lnTo>
                  <a:pt x="612262" y="83013"/>
                </a:lnTo>
                <a:lnTo>
                  <a:pt x="597770" y="83013"/>
                </a:lnTo>
                <a:lnTo>
                  <a:pt x="597770" y="108402"/>
                </a:lnTo>
                <a:close/>
                <a:moveTo>
                  <a:pt x="551905" y="71687"/>
                </a:moveTo>
                <a:lnTo>
                  <a:pt x="584623" y="71687"/>
                </a:lnTo>
                <a:lnTo>
                  <a:pt x="584623" y="15931"/>
                </a:lnTo>
                <a:lnTo>
                  <a:pt x="551905" y="71687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4" name="Полилиния 973">
            <a:extLst>
              <a:ext uri="{FF2B5EF4-FFF2-40B4-BE49-F238E27FC236}">
                <a16:creationId xmlns:a16="http://schemas.microsoft.com/office/drawing/2014/main" id="{8B6FE7B4-4E41-926A-D4DA-23FA7A2FD21F}"/>
              </a:ext>
            </a:extLst>
          </p:cNvPr>
          <p:cNvSpPr/>
          <p:nvPr userDrawn="1"/>
        </p:nvSpPr>
        <p:spPr>
          <a:xfrm>
            <a:off x="12270615" y="6692525"/>
            <a:ext cx="1398954" cy="726227"/>
          </a:xfrm>
          <a:custGeom>
            <a:avLst/>
            <a:gdLst>
              <a:gd name="connsiteX0" fmla="*/ 0 w 1198727"/>
              <a:gd name="connsiteY0" fmla="*/ 1422 h 622284"/>
              <a:gd name="connsiteX1" fmla="*/ 1198728 w 1198727"/>
              <a:gd name="connsiteY1" fmla="*/ 1422 h 622284"/>
              <a:gd name="connsiteX2" fmla="*/ 1198728 w 1198727"/>
              <a:gd name="connsiteY2" fmla="*/ 623706 h 622284"/>
              <a:gd name="connsiteX3" fmla="*/ 0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422"/>
                </a:moveTo>
                <a:lnTo>
                  <a:pt x="1198728" y="1422"/>
                </a:lnTo>
                <a:lnTo>
                  <a:pt x="1198728" y="623706"/>
                </a:lnTo>
                <a:lnTo>
                  <a:pt x="0" y="623706"/>
                </a:lnTo>
                <a:close/>
              </a:path>
            </a:pathLst>
          </a:custGeom>
          <a:solidFill>
            <a:srgbClr val="00D7D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5" name="Полилиния 974">
            <a:extLst>
              <a:ext uri="{FF2B5EF4-FFF2-40B4-BE49-F238E27FC236}">
                <a16:creationId xmlns:a16="http://schemas.microsoft.com/office/drawing/2014/main" id="{35EBDC7A-3654-F06D-AC99-BB38E3B2C2C6}"/>
              </a:ext>
            </a:extLst>
          </p:cNvPr>
          <p:cNvSpPr/>
          <p:nvPr userDrawn="1"/>
        </p:nvSpPr>
        <p:spPr>
          <a:xfrm>
            <a:off x="12393824" y="6994491"/>
            <a:ext cx="751500" cy="128252"/>
          </a:xfrm>
          <a:custGeom>
            <a:avLst/>
            <a:gdLst>
              <a:gd name="connsiteX0" fmla="*/ 50795 w 643940"/>
              <a:gd name="connsiteY0" fmla="*/ 77475 h 109895"/>
              <a:gd name="connsiteX1" fmla="*/ 28386 w 643940"/>
              <a:gd name="connsiteY1" fmla="*/ 77475 h 109895"/>
              <a:gd name="connsiteX2" fmla="*/ 22111 w 643940"/>
              <a:gd name="connsiteY2" fmla="*/ 108402 h 109895"/>
              <a:gd name="connsiteX3" fmla="*/ 10159 w 643940"/>
              <a:gd name="connsiteY3" fmla="*/ 108402 h 109895"/>
              <a:gd name="connsiteX4" fmla="*/ 16434 w 643940"/>
              <a:gd name="connsiteY4" fmla="*/ 77475 h 109895"/>
              <a:gd name="connsiteX5" fmla="*/ 0 w 643940"/>
              <a:gd name="connsiteY5" fmla="*/ 77475 h 109895"/>
              <a:gd name="connsiteX6" fmla="*/ 0 w 643940"/>
              <a:gd name="connsiteY6" fmla="*/ 67020 h 109895"/>
              <a:gd name="connsiteX7" fmla="*/ 18675 w 643940"/>
              <a:gd name="connsiteY7" fmla="*/ 67020 h 109895"/>
              <a:gd name="connsiteX8" fmla="*/ 24202 w 643940"/>
              <a:gd name="connsiteY8" fmla="*/ 39826 h 109895"/>
              <a:gd name="connsiteX9" fmla="*/ 4034 w 643940"/>
              <a:gd name="connsiteY9" fmla="*/ 39826 h 109895"/>
              <a:gd name="connsiteX10" fmla="*/ 4034 w 643940"/>
              <a:gd name="connsiteY10" fmla="*/ 29372 h 109895"/>
              <a:gd name="connsiteX11" fmla="*/ 26294 w 643940"/>
              <a:gd name="connsiteY11" fmla="*/ 29372 h 109895"/>
              <a:gd name="connsiteX12" fmla="*/ 32120 w 643940"/>
              <a:gd name="connsiteY12" fmla="*/ 1307 h 109895"/>
              <a:gd name="connsiteX13" fmla="*/ 44072 w 643940"/>
              <a:gd name="connsiteY13" fmla="*/ 1307 h 109895"/>
              <a:gd name="connsiteX14" fmla="*/ 38246 w 643940"/>
              <a:gd name="connsiteY14" fmla="*/ 29372 h 109895"/>
              <a:gd name="connsiteX15" fmla="*/ 60655 w 643940"/>
              <a:gd name="connsiteY15" fmla="*/ 29372 h 109895"/>
              <a:gd name="connsiteX16" fmla="*/ 66482 w 643940"/>
              <a:gd name="connsiteY16" fmla="*/ 1307 h 109895"/>
              <a:gd name="connsiteX17" fmla="*/ 78434 w 643940"/>
              <a:gd name="connsiteY17" fmla="*/ 1307 h 109895"/>
              <a:gd name="connsiteX18" fmla="*/ 72607 w 643940"/>
              <a:gd name="connsiteY18" fmla="*/ 29372 h 109895"/>
              <a:gd name="connsiteX19" fmla="*/ 89340 w 643940"/>
              <a:gd name="connsiteY19" fmla="*/ 29372 h 109895"/>
              <a:gd name="connsiteX20" fmla="*/ 89340 w 643940"/>
              <a:gd name="connsiteY20" fmla="*/ 39826 h 109895"/>
              <a:gd name="connsiteX21" fmla="*/ 70516 w 643940"/>
              <a:gd name="connsiteY21" fmla="*/ 39826 h 109895"/>
              <a:gd name="connsiteX22" fmla="*/ 64988 w 643940"/>
              <a:gd name="connsiteY22" fmla="*/ 67020 h 109895"/>
              <a:gd name="connsiteX23" fmla="*/ 85306 w 643940"/>
              <a:gd name="connsiteY23" fmla="*/ 67020 h 109895"/>
              <a:gd name="connsiteX24" fmla="*/ 85306 w 643940"/>
              <a:gd name="connsiteY24" fmla="*/ 77475 h 109895"/>
              <a:gd name="connsiteX25" fmla="*/ 62747 w 643940"/>
              <a:gd name="connsiteY25" fmla="*/ 77475 h 109895"/>
              <a:gd name="connsiteX26" fmla="*/ 56472 w 643940"/>
              <a:gd name="connsiteY26" fmla="*/ 108402 h 109895"/>
              <a:gd name="connsiteX27" fmla="*/ 44520 w 643940"/>
              <a:gd name="connsiteY27" fmla="*/ 108402 h 109895"/>
              <a:gd name="connsiteX28" fmla="*/ 50795 w 643940"/>
              <a:gd name="connsiteY28" fmla="*/ 77475 h 109895"/>
              <a:gd name="connsiteX29" fmla="*/ 53036 w 643940"/>
              <a:gd name="connsiteY29" fmla="*/ 67020 h 109895"/>
              <a:gd name="connsiteX30" fmla="*/ 58564 w 643940"/>
              <a:gd name="connsiteY30" fmla="*/ 39826 h 109895"/>
              <a:gd name="connsiteX31" fmla="*/ 36154 w 643940"/>
              <a:gd name="connsiteY31" fmla="*/ 39826 h 109895"/>
              <a:gd name="connsiteX32" fmla="*/ 30626 w 643940"/>
              <a:gd name="connsiteY32" fmla="*/ 67020 h 109895"/>
              <a:gd name="connsiteX33" fmla="*/ 53036 w 643940"/>
              <a:gd name="connsiteY33" fmla="*/ 67020 h 109895"/>
              <a:gd name="connsiteX34" fmla="*/ 136659 w 643940"/>
              <a:gd name="connsiteY34" fmla="*/ 109896 h 109895"/>
              <a:gd name="connsiteX35" fmla="*/ 122466 w 643940"/>
              <a:gd name="connsiteY35" fmla="*/ 106784 h 109895"/>
              <a:gd name="connsiteX36" fmla="*/ 111261 w 643940"/>
              <a:gd name="connsiteY36" fmla="*/ 96766 h 109895"/>
              <a:gd name="connsiteX37" fmla="*/ 103941 w 643940"/>
              <a:gd name="connsiteY37" fmla="*/ 79590 h 109895"/>
              <a:gd name="connsiteX38" fmla="*/ 101252 w 643940"/>
              <a:gd name="connsiteY38" fmla="*/ 54761 h 109895"/>
              <a:gd name="connsiteX39" fmla="*/ 103941 w 643940"/>
              <a:gd name="connsiteY39" fmla="*/ 30119 h 109895"/>
              <a:gd name="connsiteX40" fmla="*/ 111261 w 643940"/>
              <a:gd name="connsiteY40" fmla="*/ 12944 h 109895"/>
              <a:gd name="connsiteX41" fmla="*/ 122466 w 643940"/>
              <a:gd name="connsiteY41" fmla="*/ 3111 h 109895"/>
              <a:gd name="connsiteX42" fmla="*/ 136659 w 643940"/>
              <a:gd name="connsiteY42" fmla="*/ 0 h 109895"/>
              <a:gd name="connsiteX43" fmla="*/ 150702 w 643940"/>
              <a:gd name="connsiteY43" fmla="*/ 3111 h 109895"/>
              <a:gd name="connsiteX44" fmla="*/ 161758 w 643940"/>
              <a:gd name="connsiteY44" fmla="*/ 12944 h 109895"/>
              <a:gd name="connsiteX45" fmla="*/ 168929 w 643940"/>
              <a:gd name="connsiteY45" fmla="*/ 29870 h 109895"/>
              <a:gd name="connsiteX46" fmla="*/ 171618 w 643940"/>
              <a:gd name="connsiteY46" fmla="*/ 54512 h 109895"/>
              <a:gd name="connsiteX47" fmla="*/ 168929 w 643940"/>
              <a:gd name="connsiteY47" fmla="*/ 79279 h 109895"/>
              <a:gd name="connsiteX48" fmla="*/ 161758 w 643940"/>
              <a:gd name="connsiteY48" fmla="*/ 96454 h 109895"/>
              <a:gd name="connsiteX49" fmla="*/ 150702 w 643940"/>
              <a:gd name="connsiteY49" fmla="*/ 106597 h 109895"/>
              <a:gd name="connsiteX50" fmla="*/ 136659 w 643940"/>
              <a:gd name="connsiteY50" fmla="*/ 109896 h 109895"/>
              <a:gd name="connsiteX51" fmla="*/ 136509 w 643940"/>
              <a:gd name="connsiteY51" fmla="*/ 98072 h 109895"/>
              <a:gd name="connsiteX52" fmla="*/ 145473 w 643940"/>
              <a:gd name="connsiteY52" fmla="*/ 95832 h 109895"/>
              <a:gd name="connsiteX53" fmla="*/ 152047 w 643940"/>
              <a:gd name="connsiteY53" fmla="*/ 88552 h 109895"/>
              <a:gd name="connsiteX54" fmla="*/ 156081 w 643940"/>
              <a:gd name="connsiteY54" fmla="*/ 75235 h 109895"/>
              <a:gd name="connsiteX55" fmla="*/ 157575 w 643940"/>
              <a:gd name="connsiteY55" fmla="*/ 54948 h 109895"/>
              <a:gd name="connsiteX56" fmla="*/ 156230 w 643940"/>
              <a:gd name="connsiteY56" fmla="*/ 34786 h 109895"/>
              <a:gd name="connsiteX57" fmla="*/ 152196 w 643940"/>
              <a:gd name="connsiteY57" fmla="*/ 21345 h 109895"/>
              <a:gd name="connsiteX58" fmla="*/ 145623 w 643940"/>
              <a:gd name="connsiteY58" fmla="*/ 14001 h 109895"/>
              <a:gd name="connsiteX59" fmla="*/ 136659 w 643940"/>
              <a:gd name="connsiteY59" fmla="*/ 11761 h 109895"/>
              <a:gd name="connsiteX60" fmla="*/ 127546 w 643940"/>
              <a:gd name="connsiteY60" fmla="*/ 14001 h 109895"/>
              <a:gd name="connsiteX61" fmla="*/ 120823 w 643940"/>
              <a:gd name="connsiteY61" fmla="*/ 21345 h 109895"/>
              <a:gd name="connsiteX62" fmla="*/ 116640 w 643940"/>
              <a:gd name="connsiteY62" fmla="*/ 34786 h 109895"/>
              <a:gd name="connsiteX63" fmla="*/ 115295 w 643940"/>
              <a:gd name="connsiteY63" fmla="*/ 54948 h 109895"/>
              <a:gd name="connsiteX64" fmla="*/ 116640 w 643940"/>
              <a:gd name="connsiteY64" fmla="*/ 75235 h 109895"/>
              <a:gd name="connsiteX65" fmla="*/ 120823 w 643940"/>
              <a:gd name="connsiteY65" fmla="*/ 88552 h 109895"/>
              <a:gd name="connsiteX66" fmla="*/ 127396 w 643940"/>
              <a:gd name="connsiteY66" fmla="*/ 95832 h 109895"/>
              <a:gd name="connsiteX67" fmla="*/ 136509 w 643940"/>
              <a:gd name="connsiteY67" fmla="*/ 98072 h 109895"/>
              <a:gd name="connsiteX68" fmla="*/ 218798 w 643940"/>
              <a:gd name="connsiteY68" fmla="*/ 109896 h 109895"/>
              <a:gd name="connsiteX69" fmla="*/ 204605 w 643940"/>
              <a:gd name="connsiteY69" fmla="*/ 106784 h 109895"/>
              <a:gd name="connsiteX70" fmla="*/ 193401 w 643940"/>
              <a:gd name="connsiteY70" fmla="*/ 96766 h 109895"/>
              <a:gd name="connsiteX71" fmla="*/ 186080 w 643940"/>
              <a:gd name="connsiteY71" fmla="*/ 79590 h 109895"/>
              <a:gd name="connsiteX72" fmla="*/ 183391 w 643940"/>
              <a:gd name="connsiteY72" fmla="*/ 54761 h 109895"/>
              <a:gd name="connsiteX73" fmla="*/ 186080 w 643940"/>
              <a:gd name="connsiteY73" fmla="*/ 30119 h 109895"/>
              <a:gd name="connsiteX74" fmla="*/ 193401 w 643940"/>
              <a:gd name="connsiteY74" fmla="*/ 12944 h 109895"/>
              <a:gd name="connsiteX75" fmla="*/ 204605 w 643940"/>
              <a:gd name="connsiteY75" fmla="*/ 3111 h 109895"/>
              <a:gd name="connsiteX76" fmla="*/ 218798 w 643940"/>
              <a:gd name="connsiteY76" fmla="*/ 0 h 109895"/>
              <a:gd name="connsiteX77" fmla="*/ 232842 w 643940"/>
              <a:gd name="connsiteY77" fmla="*/ 3111 h 109895"/>
              <a:gd name="connsiteX78" fmla="*/ 243897 w 643940"/>
              <a:gd name="connsiteY78" fmla="*/ 12944 h 109895"/>
              <a:gd name="connsiteX79" fmla="*/ 251068 w 643940"/>
              <a:gd name="connsiteY79" fmla="*/ 29870 h 109895"/>
              <a:gd name="connsiteX80" fmla="*/ 253757 w 643940"/>
              <a:gd name="connsiteY80" fmla="*/ 54512 h 109895"/>
              <a:gd name="connsiteX81" fmla="*/ 251068 w 643940"/>
              <a:gd name="connsiteY81" fmla="*/ 79279 h 109895"/>
              <a:gd name="connsiteX82" fmla="*/ 243897 w 643940"/>
              <a:gd name="connsiteY82" fmla="*/ 96454 h 109895"/>
              <a:gd name="connsiteX83" fmla="*/ 232842 w 643940"/>
              <a:gd name="connsiteY83" fmla="*/ 106597 h 109895"/>
              <a:gd name="connsiteX84" fmla="*/ 218798 w 643940"/>
              <a:gd name="connsiteY84" fmla="*/ 109896 h 109895"/>
              <a:gd name="connsiteX85" fmla="*/ 218649 w 643940"/>
              <a:gd name="connsiteY85" fmla="*/ 98072 h 109895"/>
              <a:gd name="connsiteX86" fmla="*/ 227613 w 643940"/>
              <a:gd name="connsiteY86" fmla="*/ 95832 h 109895"/>
              <a:gd name="connsiteX87" fmla="*/ 234186 w 643940"/>
              <a:gd name="connsiteY87" fmla="*/ 88552 h 109895"/>
              <a:gd name="connsiteX88" fmla="*/ 238220 w 643940"/>
              <a:gd name="connsiteY88" fmla="*/ 75235 h 109895"/>
              <a:gd name="connsiteX89" fmla="*/ 239714 w 643940"/>
              <a:gd name="connsiteY89" fmla="*/ 54948 h 109895"/>
              <a:gd name="connsiteX90" fmla="*/ 238369 w 643940"/>
              <a:gd name="connsiteY90" fmla="*/ 34786 h 109895"/>
              <a:gd name="connsiteX91" fmla="*/ 234336 w 643940"/>
              <a:gd name="connsiteY91" fmla="*/ 21345 h 109895"/>
              <a:gd name="connsiteX92" fmla="*/ 227762 w 643940"/>
              <a:gd name="connsiteY92" fmla="*/ 14001 h 109895"/>
              <a:gd name="connsiteX93" fmla="*/ 218798 w 643940"/>
              <a:gd name="connsiteY93" fmla="*/ 11761 h 109895"/>
              <a:gd name="connsiteX94" fmla="*/ 209685 w 643940"/>
              <a:gd name="connsiteY94" fmla="*/ 14001 h 109895"/>
              <a:gd name="connsiteX95" fmla="*/ 202962 w 643940"/>
              <a:gd name="connsiteY95" fmla="*/ 21345 h 109895"/>
              <a:gd name="connsiteX96" fmla="*/ 198779 w 643940"/>
              <a:gd name="connsiteY96" fmla="*/ 34786 h 109895"/>
              <a:gd name="connsiteX97" fmla="*/ 197434 w 643940"/>
              <a:gd name="connsiteY97" fmla="*/ 54948 h 109895"/>
              <a:gd name="connsiteX98" fmla="*/ 198779 w 643940"/>
              <a:gd name="connsiteY98" fmla="*/ 75235 h 109895"/>
              <a:gd name="connsiteX99" fmla="*/ 202962 w 643940"/>
              <a:gd name="connsiteY99" fmla="*/ 88552 h 109895"/>
              <a:gd name="connsiteX100" fmla="*/ 209536 w 643940"/>
              <a:gd name="connsiteY100" fmla="*/ 95832 h 109895"/>
              <a:gd name="connsiteX101" fmla="*/ 218649 w 643940"/>
              <a:gd name="connsiteY101" fmla="*/ 98072 h 109895"/>
              <a:gd name="connsiteX102" fmla="*/ 272104 w 643940"/>
              <a:gd name="connsiteY102" fmla="*/ 1307 h 109895"/>
              <a:gd name="connsiteX103" fmla="*/ 308109 w 643940"/>
              <a:gd name="connsiteY103" fmla="*/ 1307 h 109895"/>
              <a:gd name="connsiteX104" fmla="*/ 328129 w 643940"/>
              <a:gd name="connsiteY104" fmla="*/ 3858 h 109895"/>
              <a:gd name="connsiteX105" fmla="*/ 344263 w 643940"/>
              <a:gd name="connsiteY105" fmla="*/ 12197 h 109895"/>
              <a:gd name="connsiteX106" fmla="*/ 355020 w 643940"/>
              <a:gd name="connsiteY106" fmla="*/ 27630 h 109895"/>
              <a:gd name="connsiteX107" fmla="*/ 358904 w 643940"/>
              <a:gd name="connsiteY107" fmla="*/ 51215 h 109895"/>
              <a:gd name="connsiteX108" fmla="*/ 354871 w 643940"/>
              <a:gd name="connsiteY108" fmla="*/ 76168 h 109895"/>
              <a:gd name="connsiteX109" fmla="*/ 343964 w 643940"/>
              <a:gd name="connsiteY109" fmla="*/ 93903 h 109895"/>
              <a:gd name="connsiteX110" fmla="*/ 327382 w 643940"/>
              <a:gd name="connsiteY110" fmla="*/ 104793 h 109895"/>
              <a:gd name="connsiteX111" fmla="*/ 306466 w 643940"/>
              <a:gd name="connsiteY111" fmla="*/ 108402 h 109895"/>
              <a:gd name="connsiteX112" fmla="*/ 272104 w 643940"/>
              <a:gd name="connsiteY112" fmla="*/ 108402 h 109895"/>
              <a:gd name="connsiteX113" fmla="*/ 272104 w 643940"/>
              <a:gd name="connsiteY113" fmla="*/ 1307 h 109895"/>
              <a:gd name="connsiteX114" fmla="*/ 286148 w 643940"/>
              <a:gd name="connsiteY114" fmla="*/ 14188 h 109895"/>
              <a:gd name="connsiteX115" fmla="*/ 286148 w 643940"/>
              <a:gd name="connsiteY115" fmla="*/ 95707 h 109895"/>
              <a:gd name="connsiteX116" fmla="*/ 306466 w 643940"/>
              <a:gd name="connsiteY116" fmla="*/ 95707 h 109895"/>
              <a:gd name="connsiteX117" fmla="*/ 321555 w 643940"/>
              <a:gd name="connsiteY117" fmla="*/ 93157 h 109895"/>
              <a:gd name="connsiteX118" fmla="*/ 333357 w 643940"/>
              <a:gd name="connsiteY118" fmla="*/ 85378 h 109895"/>
              <a:gd name="connsiteX119" fmla="*/ 340977 w 643940"/>
              <a:gd name="connsiteY119" fmla="*/ 71812 h 109895"/>
              <a:gd name="connsiteX120" fmla="*/ 343666 w 643940"/>
              <a:gd name="connsiteY120" fmla="*/ 52272 h 109895"/>
              <a:gd name="connsiteX121" fmla="*/ 340977 w 643940"/>
              <a:gd name="connsiteY121" fmla="*/ 33728 h 109895"/>
              <a:gd name="connsiteX122" fmla="*/ 333507 w 643940"/>
              <a:gd name="connsiteY122" fmla="*/ 21905 h 109895"/>
              <a:gd name="connsiteX123" fmla="*/ 322302 w 643940"/>
              <a:gd name="connsiteY123" fmla="*/ 15931 h 109895"/>
              <a:gd name="connsiteX124" fmla="*/ 308109 w 643940"/>
              <a:gd name="connsiteY124" fmla="*/ 14188 h 109895"/>
              <a:gd name="connsiteX125" fmla="*/ 286148 w 643940"/>
              <a:gd name="connsiteY125" fmla="*/ 14188 h 109895"/>
              <a:gd name="connsiteX126" fmla="*/ 395216 w 643940"/>
              <a:gd name="connsiteY126" fmla="*/ 108402 h 109895"/>
              <a:gd name="connsiteX127" fmla="*/ 380575 w 643940"/>
              <a:gd name="connsiteY127" fmla="*/ 108402 h 109895"/>
              <a:gd name="connsiteX128" fmla="*/ 426291 w 643940"/>
              <a:gd name="connsiteY128" fmla="*/ 14188 h 109895"/>
              <a:gd name="connsiteX129" fmla="*/ 371761 w 643940"/>
              <a:gd name="connsiteY129" fmla="*/ 14188 h 109895"/>
              <a:gd name="connsiteX130" fmla="*/ 371761 w 643940"/>
              <a:gd name="connsiteY130" fmla="*/ 1307 h 109895"/>
              <a:gd name="connsiteX131" fmla="*/ 440633 w 643940"/>
              <a:gd name="connsiteY131" fmla="*/ 1307 h 109895"/>
              <a:gd name="connsiteX132" fmla="*/ 440633 w 643940"/>
              <a:gd name="connsiteY132" fmla="*/ 13442 h 109895"/>
              <a:gd name="connsiteX133" fmla="*/ 395216 w 643940"/>
              <a:gd name="connsiteY133" fmla="*/ 108402 h 109895"/>
              <a:gd name="connsiteX134" fmla="*/ 459727 w 643940"/>
              <a:gd name="connsiteY134" fmla="*/ 1307 h 109895"/>
              <a:gd name="connsiteX135" fmla="*/ 495731 w 643940"/>
              <a:gd name="connsiteY135" fmla="*/ 1307 h 109895"/>
              <a:gd name="connsiteX136" fmla="*/ 515751 w 643940"/>
              <a:gd name="connsiteY136" fmla="*/ 3858 h 109895"/>
              <a:gd name="connsiteX137" fmla="*/ 531886 w 643940"/>
              <a:gd name="connsiteY137" fmla="*/ 12197 h 109895"/>
              <a:gd name="connsiteX138" fmla="*/ 542643 w 643940"/>
              <a:gd name="connsiteY138" fmla="*/ 27630 h 109895"/>
              <a:gd name="connsiteX139" fmla="*/ 546527 w 643940"/>
              <a:gd name="connsiteY139" fmla="*/ 51215 h 109895"/>
              <a:gd name="connsiteX140" fmla="*/ 542493 w 643940"/>
              <a:gd name="connsiteY140" fmla="*/ 76168 h 109895"/>
              <a:gd name="connsiteX141" fmla="*/ 531587 w 643940"/>
              <a:gd name="connsiteY141" fmla="*/ 93903 h 109895"/>
              <a:gd name="connsiteX142" fmla="*/ 515004 w 643940"/>
              <a:gd name="connsiteY142" fmla="*/ 104793 h 109895"/>
              <a:gd name="connsiteX143" fmla="*/ 494088 w 643940"/>
              <a:gd name="connsiteY143" fmla="*/ 108402 h 109895"/>
              <a:gd name="connsiteX144" fmla="*/ 459727 w 643940"/>
              <a:gd name="connsiteY144" fmla="*/ 108402 h 109895"/>
              <a:gd name="connsiteX145" fmla="*/ 459727 w 643940"/>
              <a:gd name="connsiteY145" fmla="*/ 1307 h 109895"/>
              <a:gd name="connsiteX146" fmla="*/ 473770 w 643940"/>
              <a:gd name="connsiteY146" fmla="*/ 14188 h 109895"/>
              <a:gd name="connsiteX147" fmla="*/ 473770 w 643940"/>
              <a:gd name="connsiteY147" fmla="*/ 95707 h 109895"/>
              <a:gd name="connsiteX148" fmla="*/ 494088 w 643940"/>
              <a:gd name="connsiteY148" fmla="*/ 95707 h 109895"/>
              <a:gd name="connsiteX149" fmla="*/ 509177 w 643940"/>
              <a:gd name="connsiteY149" fmla="*/ 93157 h 109895"/>
              <a:gd name="connsiteX150" fmla="*/ 520980 w 643940"/>
              <a:gd name="connsiteY150" fmla="*/ 85378 h 109895"/>
              <a:gd name="connsiteX151" fmla="*/ 528599 w 643940"/>
              <a:gd name="connsiteY151" fmla="*/ 71812 h 109895"/>
              <a:gd name="connsiteX152" fmla="*/ 531289 w 643940"/>
              <a:gd name="connsiteY152" fmla="*/ 52272 h 109895"/>
              <a:gd name="connsiteX153" fmla="*/ 528599 w 643940"/>
              <a:gd name="connsiteY153" fmla="*/ 33728 h 109895"/>
              <a:gd name="connsiteX154" fmla="*/ 521130 w 643940"/>
              <a:gd name="connsiteY154" fmla="*/ 21905 h 109895"/>
              <a:gd name="connsiteX155" fmla="*/ 509924 w 643940"/>
              <a:gd name="connsiteY155" fmla="*/ 15931 h 109895"/>
              <a:gd name="connsiteX156" fmla="*/ 495731 w 643940"/>
              <a:gd name="connsiteY156" fmla="*/ 14188 h 109895"/>
              <a:gd name="connsiteX157" fmla="*/ 473770 w 643940"/>
              <a:gd name="connsiteY157" fmla="*/ 14188 h 109895"/>
              <a:gd name="connsiteX158" fmla="*/ 611671 w 643940"/>
              <a:gd name="connsiteY158" fmla="*/ 109896 h 109895"/>
              <a:gd name="connsiteX159" fmla="*/ 590008 w 643940"/>
              <a:gd name="connsiteY159" fmla="*/ 106162 h 109895"/>
              <a:gd name="connsiteX160" fmla="*/ 573276 w 643940"/>
              <a:gd name="connsiteY160" fmla="*/ 95397 h 109895"/>
              <a:gd name="connsiteX161" fmla="*/ 562668 w 643940"/>
              <a:gd name="connsiteY161" fmla="*/ 78097 h 109895"/>
              <a:gd name="connsiteX162" fmla="*/ 558933 w 643940"/>
              <a:gd name="connsiteY162" fmla="*/ 54948 h 109895"/>
              <a:gd name="connsiteX163" fmla="*/ 562369 w 643940"/>
              <a:gd name="connsiteY163" fmla="*/ 31799 h 109895"/>
              <a:gd name="connsiteX164" fmla="*/ 572528 w 643940"/>
              <a:gd name="connsiteY164" fmla="*/ 14624 h 109895"/>
              <a:gd name="connsiteX165" fmla="*/ 588962 w 643940"/>
              <a:gd name="connsiteY165" fmla="*/ 3734 h 109895"/>
              <a:gd name="connsiteX166" fmla="*/ 611372 w 643940"/>
              <a:gd name="connsiteY166" fmla="*/ 0 h 109895"/>
              <a:gd name="connsiteX167" fmla="*/ 630495 w 643940"/>
              <a:gd name="connsiteY167" fmla="*/ 2365 h 109895"/>
              <a:gd name="connsiteX168" fmla="*/ 643940 w 643940"/>
              <a:gd name="connsiteY168" fmla="*/ 7716 h 109895"/>
              <a:gd name="connsiteX169" fmla="*/ 643940 w 643940"/>
              <a:gd name="connsiteY169" fmla="*/ 21158 h 109895"/>
              <a:gd name="connsiteX170" fmla="*/ 628403 w 643940"/>
              <a:gd name="connsiteY170" fmla="*/ 14748 h 109895"/>
              <a:gd name="connsiteX171" fmla="*/ 611222 w 643940"/>
              <a:gd name="connsiteY171" fmla="*/ 12695 h 109895"/>
              <a:gd name="connsiteX172" fmla="*/ 583136 w 643940"/>
              <a:gd name="connsiteY172" fmla="*/ 23273 h 109895"/>
              <a:gd name="connsiteX173" fmla="*/ 574172 w 643940"/>
              <a:gd name="connsiteY173" fmla="*/ 54948 h 109895"/>
              <a:gd name="connsiteX174" fmla="*/ 583883 w 643940"/>
              <a:gd name="connsiteY174" fmla="*/ 86747 h 109895"/>
              <a:gd name="connsiteX175" fmla="*/ 612866 w 643940"/>
              <a:gd name="connsiteY175" fmla="*/ 97201 h 109895"/>
              <a:gd name="connsiteX176" fmla="*/ 628851 w 643940"/>
              <a:gd name="connsiteY176" fmla="*/ 94961 h 109895"/>
              <a:gd name="connsiteX177" fmla="*/ 643940 w 643940"/>
              <a:gd name="connsiteY177" fmla="*/ 87369 h 109895"/>
              <a:gd name="connsiteX178" fmla="*/ 643940 w 643940"/>
              <a:gd name="connsiteY178" fmla="*/ 100811 h 109895"/>
              <a:gd name="connsiteX179" fmla="*/ 631242 w 643940"/>
              <a:gd name="connsiteY179" fmla="*/ 107033 h 109895"/>
              <a:gd name="connsiteX180" fmla="*/ 611671 w 643940"/>
              <a:gd name="connsiteY180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643940" h="109895">
                <a:moveTo>
                  <a:pt x="50795" y="77475"/>
                </a:moveTo>
                <a:lnTo>
                  <a:pt x="28386" y="77475"/>
                </a:lnTo>
                <a:lnTo>
                  <a:pt x="22111" y="108402"/>
                </a:ln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close/>
                <a:moveTo>
                  <a:pt x="53036" y="67020"/>
                </a:move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lnTo>
                  <a:pt x="53036" y="67020"/>
                </a:lnTo>
                <a:close/>
                <a:moveTo>
                  <a:pt x="136659" y="109896"/>
                </a:moveTo>
                <a:cubicBezTo>
                  <a:pt x="131579" y="109896"/>
                  <a:pt x="126848" y="108837"/>
                  <a:pt x="122466" y="106784"/>
                </a:cubicBezTo>
                <a:cubicBezTo>
                  <a:pt x="118183" y="104544"/>
                  <a:pt x="114448" y="101246"/>
                  <a:pt x="111261" y="96766"/>
                </a:cubicBezTo>
                <a:cubicBezTo>
                  <a:pt x="108174" y="92161"/>
                  <a:pt x="105734" y="86435"/>
                  <a:pt x="103941" y="79590"/>
                </a:cubicBezTo>
                <a:cubicBezTo>
                  <a:pt x="102148" y="72621"/>
                  <a:pt x="101252" y="64345"/>
                  <a:pt x="101252" y="54761"/>
                </a:cubicBezTo>
                <a:cubicBezTo>
                  <a:pt x="101252" y="45240"/>
                  <a:pt x="102148" y="37026"/>
                  <a:pt x="103941" y="30119"/>
                </a:cubicBezTo>
                <a:cubicBezTo>
                  <a:pt x="105734" y="23150"/>
                  <a:pt x="108174" y="17424"/>
                  <a:pt x="111261" y="12944"/>
                </a:cubicBezTo>
                <a:cubicBezTo>
                  <a:pt x="114448" y="8463"/>
                  <a:pt x="118183" y="5228"/>
                  <a:pt x="122466" y="3111"/>
                </a:cubicBezTo>
                <a:cubicBezTo>
                  <a:pt x="126848" y="996"/>
                  <a:pt x="131579" y="0"/>
                  <a:pt x="136659" y="0"/>
                </a:cubicBezTo>
                <a:cubicBezTo>
                  <a:pt x="141738" y="0"/>
                  <a:pt x="146420" y="996"/>
                  <a:pt x="150702" y="3111"/>
                </a:cubicBezTo>
                <a:cubicBezTo>
                  <a:pt x="154985" y="5228"/>
                  <a:pt x="158670" y="8463"/>
                  <a:pt x="161758" y="12944"/>
                </a:cubicBezTo>
                <a:cubicBezTo>
                  <a:pt x="164845" y="17362"/>
                  <a:pt x="167236" y="22963"/>
                  <a:pt x="168929" y="29870"/>
                </a:cubicBezTo>
                <a:cubicBezTo>
                  <a:pt x="170721" y="36715"/>
                  <a:pt x="171618" y="44930"/>
                  <a:pt x="171618" y="54512"/>
                </a:cubicBezTo>
                <a:cubicBezTo>
                  <a:pt x="171618" y="64033"/>
                  <a:pt x="170721" y="72309"/>
                  <a:pt x="168929" y="79279"/>
                </a:cubicBezTo>
                <a:cubicBezTo>
                  <a:pt x="167236" y="86125"/>
                  <a:pt x="164845" y="91849"/>
                  <a:pt x="161758" y="96454"/>
                </a:cubicBezTo>
                <a:cubicBezTo>
                  <a:pt x="158670" y="101059"/>
                  <a:pt x="154985" y="104419"/>
                  <a:pt x="150702" y="106597"/>
                </a:cubicBezTo>
                <a:cubicBezTo>
                  <a:pt x="146420" y="108776"/>
                  <a:pt x="141738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39896" y="98072"/>
                  <a:pt x="142884" y="97325"/>
                  <a:pt x="145473" y="95832"/>
                </a:cubicBezTo>
                <a:cubicBezTo>
                  <a:pt x="148063" y="94339"/>
                  <a:pt x="150254" y="91912"/>
                  <a:pt x="152047" y="88552"/>
                </a:cubicBezTo>
                <a:cubicBezTo>
                  <a:pt x="153840" y="85129"/>
                  <a:pt x="155184" y="80711"/>
                  <a:pt x="156081" y="75235"/>
                </a:cubicBezTo>
                <a:cubicBezTo>
                  <a:pt x="157077" y="69696"/>
                  <a:pt x="157575" y="62913"/>
                  <a:pt x="157575" y="54948"/>
                </a:cubicBezTo>
                <a:cubicBezTo>
                  <a:pt x="157575" y="46983"/>
                  <a:pt x="157126" y="40262"/>
                  <a:pt x="156230" y="34786"/>
                </a:cubicBezTo>
                <a:cubicBezTo>
                  <a:pt x="155334" y="29186"/>
                  <a:pt x="153989" y="24705"/>
                  <a:pt x="152196" y="21345"/>
                </a:cubicBezTo>
                <a:cubicBezTo>
                  <a:pt x="150403" y="17922"/>
                  <a:pt x="148212" y="15495"/>
                  <a:pt x="145623" y="14001"/>
                </a:cubicBezTo>
                <a:cubicBezTo>
                  <a:pt x="143033" y="12508"/>
                  <a:pt x="140045" y="11761"/>
                  <a:pt x="136659" y="11761"/>
                </a:cubicBezTo>
                <a:cubicBezTo>
                  <a:pt x="133273" y="11761"/>
                  <a:pt x="130235" y="12508"/>
                  <a:pt x="127546" y="14001"/>
                </a:cubicBezTo>
                <a:cubicBezTo>
                  <a:pt x="124956" y="15495"/>
                  <a:pt x="122715" y="17922"/>
                  <a:pt x="120823" y="21345"/>
                </a:cubicBezTo>
                <a:cubicBezTo>
                  <a:pt x="119030" y="24705"/>
                  <a:pt x="117636" y="29186"/>
                  <a:pt x="116640" y="34786"/>
                </a:cubicBezTo>
                <a:cubicBezTo>
                  <a:pt x="115743" y="40262"/>
                  <a:pt x="115295" y="46983"/>
                  <a:pt x="115295" y="54948"/>
                </a:cubicBezTo>
                <a:cubicBezTo>
                  <a:pt x="115295" y="62913"/>
                  <a:pt x="115743" y="69696"/>
                  <a:pt x="116640" y="75235"/>
                </a:cubicBezTo>
                <a:cubicBezTo>
                  <a:pt x="117636" y="80711"/>
                  <a:pt x="119030" y="85129"/>
                  <a:pt x="120823" y="88552"/>
                </a:cubicBezTo>
                <a:cubicBezTo>
                  <a:pt x="122615" y="91912"/>
                  <a:pt x="124807" y="94339"/>
                  <a:pt x="127396" y="95832"/>
                </a:cubicBezTo>
                <a:cubicBezTo>
                  <a:pt x="130085" y="97325"/>
                  <a:pt x="133123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3719" y="109896"/>
                  <a:pt x="208988" y="108837"/>
                  <a:pt x="204605" y="106784"/>
                </a:cubicBezTo>
                <a:cubicBezTo>
                  <a:pt x="200323" y="104544"/>
                  <a:pt x="196588" y="101246"/>
                  <a:pt x="193401" y="96766"/>
                </a:cubicBezTo>
                <a:cubicBezTo>
                  <a:pt x="190313" y="92161"/>
                  <a:pt x="187873" y="86435"/>
                  <a:pt x="186080" y="79590"/>
                </a:cubicBezTo>
                <a:cubicBezTo>
                  <a:pt x="184287" y="72621"/>
                  <a:pt x="183391" y="64345"/>
                  <a:pt x="183391" y="54761"/>
                </a:cubicBezTo>
                <a:cubicBezTo>
                  <a:pt x="183391" y="45240"/>
                  <a:pt x="184287" y="37026"/>
                  <a:pt x="186080" y="30119"/>
                </a:cubicBezTo>
                <a:cubicBezTo>
                  <a:pt x="187873" y="23150"/>
                  <a:pt x="190313" y="17424"/>
                  <a:pt x="193401" y="12944"/>
                </a:cubicBezTo>
                <a:cubicBezTo>
                  <a:pt x="196588" y="8463"/>
                  <a:pt x="200323" y="5228"/>
                  <a:pt x="204605" y="3111"/>
                </a:cubicBezTo>
                <a:cubicBezTo>
                  <a:pt x="208988" y="996"/>
                  <a:pt x="213719" y="0"/>
                  <a:pt x="218798" y="0"/>
                </a:cubicBezTo>
                <a:cubicBezTo>
                  <a:pt x="223878" y="0"/>
                  <a:pt x="228559" y="996"/>
                  <a:pt x="232842" y="3111"/>
                </a:cubicBezTo>
                <a:cubicBezTo>
                  <a:pt x="237124" y="5228"/>
                  <a:pt x="240809" y="8463"/>
                  <a:pt x="243897" y="12944"/>
                </a:cubicBezTo>
                <a:cubicBezTo>
                  <a:pt x="246985" y="17362"/>
                  <a:pt x="249375" y="22963"/>
                  <a:pt x="251068" y="29870"/>
                </a:cubicBezTo>
                <a:cubicBezTo>
                  <a:pt x="252861" y="36715"/>
                  <a:pt x="253757" y="44930"/>
                  <a:pt x="253757" y="54512"/>
                </a:cubicBezTo>
                <a:cubicBezTo>
                  <a:pt x="253757" y="64033"/>
                  <a:pt x="252861" y="72309"/>
                  <a:pt x="251068" y="79279"/>
                </a:cubicBezTo>
                <a:cubicBezTo>
                  <a:pt x="249375" y="86125"/>
                  <a:pt x="246985" y="91849"/>
                  <a:pt x="243897" y="96454"/>
                </a:cubicBezTo>
                <a:cubicBezTo>
                  <a:pt x="240809" y="101059"/>
                  <a:pt x="237124" y="104419"/>
                  <a:pt x="232842" y="106597"/>
                </a:cubicBezTo>
                <a:cubicBezTo>
                  <a:pt x="228559" y="108776"/>
                  <a:pt x="223878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2035" y="98072"/>
                  <a:pt x="225023" y="97325"/>
                  <a:pt x="227613" y="95832"/>
                </a:cubicBezTo>
                <a:cubicBezTo>
                  <a:pt x="230202" y="94339"/>
                  <a:pt x="232393" y="91912"/>
                  <a:pt x="234186" y="88552"/>
                </a:cubicBezTo>
                <a:cubicBezTo>
                  <a:pt x="235979" y="85129"/>
                  <a:pt x="237324" y="80711"/>
                  <a:pt x="238220" y="75235"/>
                </a:cubicBezTo>
                <a:cubicBezTo>
                  <a:pt x="239216" y="69696"/>
                  <a:pt x="239714" y="62913"/>
                  <a:pt x="239714" y="54948"/>
                </a:cubicBezTo>
                <a:cubicBezTo>
                  <a:pt x="239714" y="46983"/>
                  <a:pt x="239266" y="40262"/>
                  <a:pt x="238369" y="34786"/>
                </a:cubicBezTo>
                <a:cubicBezTo>
                  <a:pt x="237473" y="29186"/>
                  <a:pt x="236128" y="24705"/>
                  <a:pt x="234336" y="21345"/>
                </a:cubicBezTo>
                <a:cubicBezTo>
                  <a:pt x="232543" y="17922"/>
                  <a:pt x="230352" y="15495"/>
                  <a:pt x="227762" y="14001"/>
                </a:cubicBezTo>
                <a:cubicBezTo>
                  <a:pt x="225173" y="12508"/>
                  <a:pt x="222185" y="11761"/>
                  <a:pt x="218798" y="11761"/>
                </a:cubicBezTo>
                <a:cubicBezTo>
                  <a:pt x="215412" y="11761"/>
                  <a:pt x="212374" y="12508"/>
                  <a:pt x="209685" y="14001"/>
                </a:cubicBezTo>
                <a:cubicBezTo>
                  <a:pt x="207095" y="15495"/>
                  <a:pt x="204854" y="17922"/>
                  <a:pt x="202962" y="21345"/>
                </a:cubicBezTo>
                <a:cubicBezTo>
                  <a:pt x="201169" y="24705"/>
                  <a:pt x="199775" y="29186"/>
                  <a:pt x="198779" y="34786"/>
                </a:cubicBezTo>
                <a:cubicBezTo>
                  <a:pt x="197883" y="40262"/>
                  <a:pt x="197434" y="46983"/>
                  <a:pt x="197434" y="54948"/>
                </a:cubicBezTo>
                <a:cubicBezTo>
                  <a:pt x="197434" y="62913"/>
                  <a:pt x="197883" y="69696"/>
                  <a:pt x="198779" y="75235"/>
                </a:cubicBezTo>
                <a:cubicBezTo>
                  <a:pt x="199775" y="80711"/>
                  <a:pt x="201169" y="85129"/>
                  <a:pt x="202962" y="88552"/>
                </a:cubicBezTo>
                <a:cubicBezTo>
                  <a:pt x="204755" y="91912"/>
                  <a:pt x="206946" y="94339"/>
                  <a:pt x="209536" y="95832"/>
                </a:cubicBezTo>
                <a:cubicBezTo>
                  <a:pt x="212225" y="97325"/>
                  <a:pt x="215262" y="98072"/>
                  <a:pt x="218649" y="98072"/>
                </a:cubicBezTo>
                <a:close/>
                <a:moveTo>
                  <a:pt x="272104" y="1307"/>
                </a:moveTo>
                <a:lnTo>
                  <a:pt x="308109" y="1307"/>
                </a:lnTo>
                <a:cubicBezTo>
                  <a:pt x="315280" y="1307"/>
                  <a:pt x="321953" y="2179"/>
                  <a:pt x="328129" y="3858"/>
                </a:cubicBezTo>
                <a:cubicBezTo>
                  <a:pt x="334304" y="5538"/>
                  <a:pt x="339682" y="8339"/>
                  <a:pt x="344263" y="12197"/>
                </a:cubicBezTo>
                <a:cubicBezTo>
                  <a:pt x="348845" y="16118"/>
                  <a:pt x="352431" y="21220"/>
                  <a:pt x="355020" y="27630"/>
                </a:cubicBezTo>
                <a:cubicBezTo>
                  <a:pt x="357610" y="33977"/>
                  <a:pt x="358904" y="41818"/>
                  <a:pt x="358904" y="51215"/>
                </a:cubicBezTo>
                <a:cubicBezTo>
                  <a:pt x="358904" y="60673"/>
                  <a:pt x="357560" y="68950"/>
                  <a:pt x="354871" y="76168"/>
                </a:cubicBezTo>
                <a:cubicBezTo>
                  <a:pt x="352281" y="83199"/>
                  <a:pt x="348646" y="89112"/>
                  <a:pt x="343964" y="93903"/>
                </a:cubicBezTo>
                <a:cubicBezTo>
                  <a:pt x="339383" y="98694"/>
                  <a:pt x="333855" y="102304"/>
                  <a:pt x="327382" y="104793"/>
                </a:cubicBezTo>
                <a:cubicBezTo>
                  <a:pt x="321007" y="107220"/>
                  <a:pt x="314035" y="108402"/>
                  <a:pt x="306466" y="108402"/>
                </a:cubicBez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286148" y="14188"/>
                </a:moveTo>
                <a:lnTo>
                  <a:pt x="286148" y="95707"/>
                </a:lnTo>
                <a:lnTo>
                  <a:pt x="306466" y="95707"/>
                </a:lnTo>
                <a:cubicBezTo>
                  <a:pt x="311944" y="95707"/>
                  <a:pt x="316974" y="94836"/>
                  <a:pt x="321555" y="93157"/>
                </a:cubicBezTo>
                <a:cubicBezTo>
                  <a:pt x="326137" y="91476"/>
                  <a:pt x="330071" y="88862"/>
                  <a:pt x="333357" y="85378"/>
                </a:cubicBezTo>
                <a:cubicBezTo>
                  <a:pt x="336644" y="81831"/>
                  <a:pt x="339184" y="77288"/>
                  <a:pt x="340977" y="71812"/>
                </a:cubicBezTo>
                <a:cubicBezTo>
                  <a:pt x="342769" y="66336"/>
                  <a:pt x="343666" y="59801"/>
                  <a:pt x="343666" y="52272"/>
                </a:cubicBezTo>
                <a:cubicBezTo>
                  <a:pt x="343666" y="44805"/>
                  <a:pt x="342769" y="38582"/>
                  <a:pt x="340977" y="33728"/>
                </a:cubicBezTo>
                <a:cubicBezTo>
                  <a:pt x="339184" y="28750"/>
                  <a:pt x="336694" y="24829"/>
                  <a:pt x="333507" y="21905"/>
                </a:cubicBezTo>
                <a:cubicBezTo>
                  <a:pt x="330419" y="19042"/>
                  <a:pt x="326684" y="17051"/>
                  <a:pt x="322302" y="15931"/>
                </a:cubicBezTo>
                <a:cubicBezTo>
                  <a:pt x="317920" y="14748"/>
                  <a:pt x="313189" y="14188"/>
                  <a:pt x="308109" y="14188"/>
                </a:cubicBezTo>
                <a:lnTo>
                  <a:pt x="286148" y="14188"/>
                </a:lnTo>
                <a:close/>
                <a:moveTo>
                  <a:pt x="395216" y="108402"/>
                </a:moveTo>
                <a:lnTo>
                  <a:pt x="380575" y="108402"/>
                </a:lnTo>
                <a:lnTo>
                  <a:pt x="426291" y="14188"/>
                </a:lnTo>
                <a:lnTo>
                  <a:pt x="371761" y="14188"/>
                </a:lnTo>
                <a:lnTo>
                  <a:pt x="371761" y="1307"/>
                </a:lnTo>
                <a:lnTo>
                  <a:pt x="440633" y="1307"/>
                </a:lnTo>
                <a:lnTo>
                  <a:pt x="440633" y="13442"/>
                </a:lnTo>
                <a:lnTo>
                  <a:pt x="395216" y="108402"/>
                </a:lnTo>
                <a:close/>
                <a:moveTo>
                  <a:pt x="459727" y="1307"/>
                </a:moveTo>
                <a:lnTo>
                  <a:pt x="495731" y="1307"/>
                </a:lnTo>
                <a:cubicBezTo>
                  <a:pt x="502902" y="1307"/>
                  <a:pt x="509576" y="2179"/>
                  <a:pt x="515751" y="3858"/>
                </a:cubicBezTo>
                <a:cubicBezTo>
                  <a:pt x="521926" y="5538"/>
                  <a:pt x="527305" y="8339"/>
                  <a:pt x="531886" y="12197"/>
                </a:cubicBezTo>
                <a:cubicBezTo>
                  <a:pt x="536468" y="16118"/>
                  <a:pt x="540053" y="21220"/>
                  <a:pt x="542643" y="27630"/>
                </a:cubicBezTo>
                <a:cubicBezTo>
                  <a:pt x="545232" y="33977"/>
                  <a:pt x="546527" y="41818"/>
                  <a:pt x="546527" y="51215"/>
                </a:cubicBezTo>
                <a:cubicBezTo>
                  <a:pt x="546527" y="60673"/>
                  <a:pt x="545183" y="68950"/>
                  <a:pt x="542493" y="76168"/>
                </a:cubicBezTo>
                <a:cubicBezTo>
                  <a:pt x="539904" y="83199"/>
                  <a:pt x="536269" y="89112"/>
                  <a:pt x="531587" y="93903"/>
                </a:cubicBezTo>
                <a:cubicBezTo>
                  <a:pt x="527006" y="98694"/>
                  <a:pt x="521478" y="102304"/>
                  <a:pt x="515004" y="104793"/>
                </a:cubicBezTo>
                <a:cubicBezTo>
                  <a:pt x="508629" y="107220"/>
                  <a:pt x="501657" y="108402"/>
                  <a:pt x="494088" y="108402"/>
                </a:cubicBezTo>
                <a:lnTo>
                  <a:pt x="459727" y="108402"/>
                </a:lnTo>
                <a:lnTo>
                  <a:pt x="459727" y="1307"/>
                </a:lnTo>
                <a:close/>
                <a:moveTo>
                  <a:pt x="473770" y="14188"/>
                </a:moveTo>
                <a:lnTo>
                  <a:pt x="473770" y="95707"/>
                </a:lnTo>
                <a:lnTo>
                  <a:pt x="494088" y="95707"/>
                </a:lnTo>
                <a:cubicBezTo>
                  <a:pt x="499566" y="95707"/>
                  <a:pt x="504596" y="94836"/>
                  <a:pt x="509177" y="93157"/>
                </a:cubicBezTo>
                <a:cubicBezTo>
                  <a:pt x="513759" y="91476"/>
                  <a:pt x="517693" y="88862"/>
                  <a:pt x="520980" y="85378"/>
                </a:cubicBezTo>
                <a:cubicBezTo>
                  <a:pt x="524267" y="81831"/>
                  <a:pt x="526807" y="77288"/>
                  <a:pt x="528599" y="71812"/>
                </a:cubicBezTo>
                <a:cubicBezTo>
                  <a:pt x="530392" y="66336"/>
                  <a:pt x="531289" y="59801"/>
                  <a:pt x="531289" y="52272"/>
                </a:cubicBezTo>
                <a:cubicBezTo>
                  <a:pt x="531289" y="44805"/>
                  <a:pt x="530392" y="38582"/>
                  <a:pt x="528599" y="33728"/>
                </a:cubicBezTo>
                <a:cubicBezTo>
                  <a:pt x="526807" y="28750"/>
                  <a:pt x="524317" y="24829"/>
                  <a:pt x="521130" y="21905"/>
                </a:cubicBezTo>
                <a:cubicBezTo>
                  <a:pt x="518042" y="19042"/>
                  <a:pt x="514306" y="17051"/>
                  <a:pt x="509924" y="15931"/>
                </a:cubicBezTo>
                <a:cubicBezTo>
                  <a:pt x="505542" y="14748"/>
                  <a:pt x="500811" y="14188"/>
                  <a:pt x="495731" y="14188"/>
                </a:cubicBezTo>
                <a:lnTo>
                  <a:pt x="473770" y="14188"/>
                </a:lnTo>
                <a:close/>
                <a:moveTo>
                  <a:pt x="611671" y="109896"/>
                </a:moveTo>
                <a:cubicBezTo>
                  <a:pt x="603703" y="109896"/>
                  <a:pt x="596482" y="108651"/>
                  <a:pt x="590008" y="106162"/>
                </a:cubicBezTo>
                <a:cubicBezTo>
                  <a:pt x="583534" y="103673"/>
                  <a:pt x="577957" y="100064"/>
                  <a:pt x="573276" y="95397"/>
                </a:cubicBezTo>
                <a:cubicBezTo>
                  <a:pt x="568694" y="90605"/>
                  <a:pt x="565158" y="84880"/>
                  <a:pt x="562668" y="78097"/>
                </a:cubicBezTo>
                <a:cubicBezTo>
                  <a:pt x="560178" y="71190"/>
                  <a:pt x="558933" y="63473"/>
                  <a:pt x="558933" y="54948"/>
                </a:cubicBezTo>
                <a:cubicBezTo>
                  <a:pt x="558933" y="46298"/>
                  <a:pt x="560079" y="38582"/>
                  <a:pt x="562369" y="31799"/>
                </a:cubicBezTo>
                <a:cubicBezTo>
                  <a:pt x="564660" y="25016"/>
                  <a:pt x="568047" y="19291"/>
                  <a:pt x="572528" y="14624"/>
                </a:cubicBezTo>
                <a:cubicBezTo>
                  <a:pt x="577010" y="9833"/>
                  <a:pt x="582488" y="6223"/>
                  <a:pt x="588962" y="3734"/>
                </a:cubicBezTo>
                <a:cubicBezTo>
                  <a:pt x="595536" y="1245"/>
                  <a:pt x="603006" y="0"/>
                  <a:pt x="611372" y="0"/>
                </a:cubicBezTo>
                <a:cubicBezTo>
                  <a:pt x="618643" y="0"/>
                  <a:pt x="625017" y="747"/>
                  <a:pt x="630495" y="2365"/>
                </a:cubicBezTo>
                <a:cubicBezTo>
                  <a:pt x="635973" y="3858"/>
                  <a:pt x="640455" y="5663"/>
                  <a:pt x="643940" y="7716"/>
                </a:cubicBezTo>
                <a:lnTo>
                  <a:pt x="643940" y="21158"/>
                </a:lnTo>
                <a:cubicBezTo>
                  <a:pt x="639459" y="18296"/>
                  <a:pt x="634279" y="16180"/>
                  <a:pt x="628403" y="14748"/>
                </a:cubicBezTo>
                <a:cubicBezTo>
                  <a:pt x="622626" y="13379"/>
                  <a:pt x="616900" y="12695"/>
                  <a:pt x="611222" y="12695"/>
                </a:cubicBezTo>
                <a:cubicBezTo>
                  <a:pt x="598573" y="12695"/>
                  <a:pt x="589211" y="16180"/>
                  <a:pt x="583136" y="23273"/>
                </a:cubicBezTo>
                <a:cubicBezTo>
                  <a:pt x="577160" y="30243"/>
                  <a:pt x="574172" y="40822"/>
                  <a:pt x="574172" y="54948"/>
                </a:cubicBezTo>
                <a:cubicBezTo>
                  <a:pt x="574172" y="69198"/>
                  <a:pt x="577409" y="79777"/>
                  <a:pt x="583883" y="86747"/>
                </a:cubicBezTo>
                <a:cubicBezTo>
                  <a:pt x="590456" y="93716"/>
                  <a:pt x="600117" y="97201"/>
                  <a:pt x="612866" y="97201"/>
                </a:cubicBezTo>
                <a:cubicBezTo>
                  <a:pt x="618344" y="97201"/>
                  <a:pt x="623672" y="96454"/>
                  <a:pt x="628851" y="94961"/>
                </a:cubicBezTo>
                <a:cubicBezTo>
                  <a:pt x="634130" y="93467"/>
                  <a:pt x="639160" y="90916"/>
                  <a:pt x="643940" y="87369"/>
                </a:cubicBezTo>
                <a:lnTo>
                  <a:pt x="643940" y="100811"/>
                </a:lnTo>
                <a:cubicBezTo>
                  <a:pt x="641052" y="103051"/>
                  <a:pt x="636819" y="105166"/>
                  <a:pt x="631242" y="107033"/>
                </a:cubicBezTo>
                <a:cubicBezTo>
                  <a:pt x="625764" y="108962"/>
                  <a:pt x="619240" y="109896"/>
                  <a:pt x="611671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6" name="Полилиния 975">
            <a:extLst>
              <a:ext uri="{FF2B5EF4-FFF2-40B4-BE49-F238E27FC236}">
                <a16:creationId xmlns:a16="http://schemas.microsoft.com/office/drawing/2014/main" id="{7119D0C9-883F-1580-9F07-1F3129C05BF8}"/>
              </a:ext>
            </a:extLst>
          </p:cNvPr>
          <p:cNvSpPr/>
          <p:nvPr userDrawn="1"/>
        </p:nvSpPr>
        <p:spPr>
          <a:xfrm>
            <a:off x="12270615" y="8144979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FA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7" name="Полилиния 976">
            <a:extLst>
              <a:ext uri="{FF2B5EF4-FFF2-40B4-BE49-F238E27FC236}">
                <a16:creationId xmlns:a16="http://schemas.microsoft.com/office/drawing/2014/main" id="{D5D8520D-7DB0-B4F0-17E3-70AEBC7C0440}"/>
              </a:ext>
            </a:extLst>
          </p:cNvPr>
          <p:cNvSpPr/>
          <p:nvPr userDrawn="1"/>
        </p:nvSpPr>
        <p:spPr>
          <a:xfrm>
            <a:off x="12393824" y="8446944"/>
            <a:ext cx="704140" cy="128252"/>
          </a:xfrm>
          <a:custGeom>
            <a:avLst/>
            <a:gdLst>
              <a:gd name="connsiteX0" fmla="*/ 50795 w 603360"/>
              <a:gd name="connsiteY0" fmla="*/ 77475 h 109895"/>
              <a:gd name="connsiteX1" fmla="*/ 28386 w 603360"/>
              <a:gd name="connsiteY1" fmla="*/ 77475 h 109895"/>
              <a:gd name="connsiteX2" fmla="*/ 22111 w 603360"/>
              <a:gd name="connsiteY2" fmla="*/ 108402 h 109895"/>
              <a:gd name="connsiteX3" fmla="*/ 10159 w 603360"/>
              <a:gd name="connsiteY3" fmla="*/ 108402 h 109895"/>
              <a:gd name="connsiteX4" fmla="*/ 16434 w 603360"/>
              <a:gd name="connsiteY4" fmla="*/ 77475 h 109895"/>
              <a:gd name="connsiteX5" fmla="*/ 0 w 603360"/>
              <a:gd name="connsiteY5" fmla="*/ 77475 h 109895"/>
              <a:gd name="connsiteX6" fmla="*/ 0 w 603360"/>
              <a:gd name="connsiteY6" fmla="*/ 67020 h 109895"/>
              <a:gd name="connsiteX7" fmla="*/ 18675 w 603360"/>
              <a:gd name="connsiteY7" fmla="*/ 67020 h 109895"/>
              <a:gd name="connsiteX8" fmla="*/ 24202 w 603360"/>
              <a:gd name="connsiteY8" fmla="*/ 39826 h 109895"/>
              <a:gd name="connsiteX9" fmla="*/ 4034 w 603360"/>
              <a:gd name="connsiteY9" fmla="*/ 39826 h 109895"/>
              <a:gd name="connsiteX10" fmla="*/ 4034 w 603360"/>
              <a:gd name="connsiteY10" fmla="*/ 29372 h 109895"/>
              <a:gd name="connsiteX11" fmla="*/ 26294 w 603360"/>
              <a:gd name="connsiteY11" fmla="*/ 29372 h 109895"/>
              <a:gd name="connsiteX12" fmla="*/ 32120 w 603360"/>
              <a:gd name="connsiteY12" fmla="*/ 1307 h 109895"/>
              <a:gd name="connsiteX13" fmla="*/ 44072 w 603360"/>
              <a:gd name="connsiteY13" fmla="*/ 1307 h 109895"/>
              <a:gd name="connsiteX14" fmla="*/ 38246 w 603360"/>
              <a:gd name="connsiteY14" fmla="*/ 29372 h 109895"/>
              <a:gd name="connsiteX15" fmla="*/ 60655 w 603360"/>
              <a:gd name="connsiteY15" fmla="*/ 29372 h 109895"/>
              <a:gd name="connsiteX16" fmla="*/ 66482 w 603360"/>
              <a:gd name="connsiteY16" fmla="*/ 1307 h 109895"/>
              <a:gd name="connsiteX17" fmla="*/ 78434 w 603360"/>
              <a:gd name="connsiteY17" fmla="*/ 1307 h 109895"/>
              <a:gd name="connsiteX18" fmla="*/ 72607 w 603360"/>
              <a:gd name="connsiteY18" fmla="*/ 29372 h 109895"/>
              <a:gd name="connsiteX19" fmla="*/ 89340 w 603360"/>
              <a:gd name="connsiteY19" fmla="*/ 29372 h 109895"/>
              <a:gd name="connsiteX20" fmla="*/ 89340 w 603360"/>
              <a:gd name="connsiteY20" fmla="*/ 39826 h 109895"/>
              <a:gd name="connsiteX21" fmla="*/ 70516 w 603360"/>
              <a:gd name="connsiteY21" fmla="*/ 39826 h 109895"/>
              <a:gd name="connsiteX22" fmla="*/ 64988 w 603360"/>
              <a:gd name="connsiteY22" fmla="*/ 67020 h 109895"/>
              <a:gd name="connsiteX23" fmla="*/ 85306 w 603360"/>
              <a:gd name="connsiteY23" fmla="*/ 67020 h 109895"/>
              <a:gd name="connsiteX24" fmla="*/ 85306 w 603360"/>
              <a:gd name="connsiteY24" fmla="*/ 77475 h 109895"/>
              <a:gd name="connsiteX25" fmla="*/ 62747 w 603360"/>
              <a:gd name="connsiteY25" fmla="*/ 77475 h 109895"/>
              <a:gd name="connsiteX26" fmla="*/ 56472 w 603360"/>
              <a:gd name="connsiteY26" fmla="*/ 108402 h 109895"/>
              <a:gd name="connsiteX27" fmla="*/ 44520 w 603360"/>
              <a:gd name="connsiteY27" fmla="*/ 108402 h 109895"/>
              <a:gd name="connsiteX28" fmla="*/ 50795 w 603360"/>
              <a:gd name="connsiteY28" fmla="*/ 77475 h 109895"/>
              <a:gd name="connsiteX29" fmla="*/ 53036 w 603360"/>
              <a:gd name="connsiteY29" fmla="*/ 67020 h 109895"/>
              <a:gd name="connsiteX30" fmla="*/ 58564 w 603360"/>
              <a:gd name="connsiteY30" fmla="*/ 39826 h 109895"/>
              <a:gd name="connsiteX31" fmla="*/ 36154 w 603360"/>
              <a:gd name="connsiteY31" fmla="*/ 39826 h 109895"/>
              <a:gd name="connsiteX32" fmla="*/ 30626 w 603360"/>
              <a:gd name="connsiteY32" fmla="*/ 67020 h 109895"/>
              <a:gd name="connsiteX33" fmla="*/ 53036 w 603360"/>
              <a:gd name="connsiteY33" fmla="*/ 67020 h 109895"/>
              <a:gd name="connsiteX34" fmla="*/ 136659 w 603360"/>
              <a:gd name="connsiteY34" fmla="*/ 109896 h 109895"/>
              <a:gd name="connsiteX35" fmla="*/ 122466 w 603360"/>
              <a:gd name="connsiteY35" fmla="*/ 106784 h 109895"/>
              <a:gd name="connsiteX36" fmla="*/ 111261 w 603360"/>
              <a:gd name="connsiteY36" fmla="*/ 96766 h 109895"/>
              <a:gd name="connsiteX37" fmla="*/ 103941 w 603360"/>
              <a:gd name="connsiteY37" fmla="*/ 79590 h 109895"/>
              <a:gd name="connsiteX38" fmla="*/ 101252 w 603360"/>
              <a:gd name="connsiteY38" fmla="*/ 54761 h 109895"/>
              <a:gd name="connsiteX39" fmla="*/ 103941 w 603360"/>
              <a:gd name="connsiteY39" fmla="*/ 30119 h 109895"/>
              <a:gd name="connsiteX40" fmla="*/ 111261 w 603360"/>
              <a:gd name="connsiteY40" fmla="*/ 12944 h 109895"/>
              <a:gd name="connsiteX41" fmla="*/ 122466 w 603360"/>
              <a:gd name="connsiteY41" fmla="*/ 3111 h 109895"/>
              <a:gd name="connsiteX42" fmla="*/ 136659 w 603360"/>
              <a:gd name="connsiteY42" fmla="*/ 0 h 109895"/>
              <a:gd name="connsiteX43" fmla="*/ 150702 w 603360"/>
              <a:gd name="connsiteY43" fmla="*/ 3111 h 109895"/>
              <a:gd name="connsiteX44" fmla="*/ 161758 w 603360"/>
              <a:gd name="connsiteY44" fmla="*/ 12944 h 109895"/>
              <a:gd name="connsiteX45" fmla="*/ 168929 w 603360"/>
              <a:gd name="connsiteY45" fmla="*/ 29870 h 109895"/>
              <a:gd name="connsiteX46" fmla="*/ 171618 w 603360"/>
              <a:gd name="connsiteY46" fmla="*/ 54512 h 109895"/>
              <a:gd name="connsiteX47" fmla="*/ 168929 w 603360"/>
              <a:gd name="connsiteY47" fmla="*/ 79279 h 109895"/>
              <a:gd name="connsiteX48" fmla="*/ 161758 w 603360"/>
              <a:gd name="connsiteY48" fmla="*/ 96454 h 109895"/>
              <a:gd name="connsiteX49" fmla="*/ 150702 w 603360"/>
              <a:gd name="connsiteY49" fmla="*/ 106597 h 109895"/>
              <a:gd name="connsiteX50" fmla="*/ 136659 w 603360"/>
              <a:gd name="connsiteY50" fmla="*/ 109896 h 109895"/>
              <a:gd name="connsiteX51" fmla="*/ 136509 w 603360"/>
              <a:gd name="connsiteY51" fmla="*/ 98072 h 109895"/>
              <a:gd name="connsiteX52" fmla="*/ 145473 w 603360"/>
              <a:gd name="connsiteY52" fmla="*/ 95832 h 109895"/>
              <a:gd name="connsiteX53" fmla="*/ 152047 w 603360"/>
              <a:gd name="connsiteY53" fmla="*/ 88552 h 109895"/>
              <a:gd name="connsiteX54" fmla="*/ 156081 w 603360"/>
              <a:gd name="connsiteY54" fmla="*/ 75235 h 109895"/>
              <a:gd name="connsiteX55" fmla="*/ 157575 w 603360"/>
              <a:gd name="connsiteY55" fmla="*/ 54948 h 109895"/>
              <a:gd name="connsiteX56" fmla="*/ 156230 w 603360"/>
              <a:gd name="connsiteY56" fmla="*/ 34786 h 109895"/>
              <a:gd name="connsiteX57" fmla="*/ 152196 w 603360"/>
              <a:gd name="connsiteY57" fmla="*/ 21345 h 109895"/>
              <a:gd name="connsiteX58" fmla="*/ 145623 w 603360"/>
              <a:gd name="connsiteY58" fmla="*/ 14001 h 109895"/>
              <a:gd name="connsiteX59" fmla="*/ 136659 w 603360"/>
              <a:gd name="connsiteY59" fmla="*/ 11761 h 109895"/>
              <a:gd name="connsiteX60" fmla="*/ 127546 w 603360"/>
              <a:gd name="connsiteY60" fmla="*/ 14001 h 109895"/>
              <a:gd name="connsiteX61" fmla="*/ 120823 w 603360"/>
              <a:gd name="connsiteY61" fmla="*/ 21345 h 109895"/>
              <a:gd name="connsiteX62" fmla="*/ 116640 w 603360"/>
              <a:gd name="connsiteY62" fmla="*/ 34786 h 109895"/>
              <a:gd name="connsiteX63" fmla="*/ 115295 w 603360"/>
              <a:gd name="connsiteY63" fmla="*/ 54948 h 109895"/>
              <a:gd name="connsiteX64" fmla="*/ 116640 w 603360"/>
              <a:gd name="connsiteY64" fmla="*/ 75235 h 109895"/>
              <a:gd name="connsiteX65" fmla="*/ 120823 w 603360"/>
              <a:gd name="connsiteY65" fmla="*/ 88552 h 109895"/>
              <a:gd name="connsiteX66" fmla="*/ 127396 w 603360"/>
              <a:gd name="connsiteY66" fmla="*/ 95832 h 109895"/>
              <a:gd name="connsiteX67" fmla="*/ 136509 w 603360"/>
              <a:gd name="connsiteY67" fmla="*/ 98072 h 109895"/>
              <a:gd name="connsiteX68" fmla="*/ 218798 w 603360"/>
              <a:gd name="connsiteY68" fmla="*/ 109896 h 109895"/>
              <a:gd name="connsiteX69" fmla="*/ 204605 w 603360"/>
              <a:gd name="connsiteY69" fmla="*/ 106784 h 109895"/>
              <a:gd name="connsiteX70" fmla="*/ 193401 w 603360"/>
              <a:gd name="connsiteY70" fmla="*/ 96766 h 109895"/>
              <a:gd name="connsiteX71" fmla="*/ 186080 w 603360"/>
              <a:gd name="connsiteY71" fmla="*/ 79590 h 109895"/>
              <a:gd name="connsiteX72" fmla="*/ 183391 w 603360"/>
              <a:gd name="connsiteY72" fmla="*/ 54761 h 109895"/>
              <a:gd name="connsiteX73" fmla="*/ 186080 w 603360"/>
              <a:gd name="connsiteY73" fmla="*/ 30119 h 109895"/>
              <a:gd name="connsiteX74" fmla="*/ 193401 w 603360"/>
              <a:gd name="connsiteY74" fmla="*/ 12944 h 109895"/>
              <a:gd name="connsiteX75" fmla="*/ 204605 w 603360"/>
              <a:gd name="connsiteY75" fmla="*/ 3111 h 109895"/>
              <a:gd name="connsiteX76" fmla="*/ 218798 w 603360"/>
              <a:gd name="connsiteY76" fmla="*/ 0 h 109895"/>
              <a:gd name="connsiteX77" fmla="*/ 232842 w 603360"/>
              <a:gd name="connsiteY77" fmla="*/ 3111 h 109895"/>
              <a:gd name="connsiteX78" fmla="*/ 243897 w 603360"/>
              <a:gd name="connsiteY78" fmla="*/ 12944 h 109895"/>
              <a:gd name="connsiteX79" fmla="*/ 251068 w 603360"/>
              <a:gd name="connsiteY79" fmla="*/ 29870 h 109895"/>
              <a:gd name="connsiteX80" fmla="*/ 253757 w 603360"/>
              <a:gd name="connsiteY80" fmla="*/ 54512 h 109895"/>
              <a:gd name="connsiteX81" fmla="*/ 251068 w 603360"/>
              <a:gd name="connsiteY81" fmla="*/ 79279 h 109895"/>
              <a:gd name="connsiteX82" fmla="*/ 243897 w 603360"/>
              <a:gd name="connsiteY82" fmla="*/ 96454 h 109895"/>
              <a:gd name="connsiteX83" fmla="*/ 232842 w 603360"/>
              <a:gd name="connsiteY83" fmla="*/ 106597 h 109895"/>
              <a:gd name="connsiteX84" fmla="*/ 218798 w 603360"/>
              <a:gd name="connsiteY84" fmla="*/ 109896 h 109895"/>
              <a:gd name="connsiteX85" fmla="*/ 218649 w 603360"/>
              <a:gd name="connsiteY85" fmla="*/ 98072 h 109895"/>
              <a:gd name="connsiteX86" fmla="*/ 227613 w 603360"/>
              <a:gd name="connsiteY86" fmla="*/ 95832 h 109895"/>
              <a:gd name="connsiteX87" fmla="*/ 234186 w 603360"/>
              <a:gd name="connsiteY87" fmla="*/ 88552 h 109895"/>
              <a:gd name="connsiteX88" fmla="*/ 238220 w 603360"/>
              <a:gd name="connsiteY88" fmla="*/ 75235 h 109895"/>
              <a:gd name="connsiteX89" fmla="*/ 239714 w 603360"/>
              <a:gd name="connsiteY89" fmla="*/ 54948 h 109895"/>
              <a:gd name="connsiteX90" fmla="*/ 238369 w 603360"/>
              <a:gd name="connsiteY90" fmla="*/ 34786 h 109895"/>
              <a:gd name="connsiteX91" fmla="*/ 234336 w 603360"/>
              <a:gd name="connsiteY91" fmla="*/ 21345 h 109895"/>
              <a:gd name="connsiteX92" fmla="*/ 227762 w 603360"/>
              <a:gd name="connsiteY92" fmla="*/ 14001 h 109895"/>
              <a:gd name="connsiteX93" fmla="*/ 218798 w 603360"/>
              <a:gd name="connsiteY93" fmla="*/ 11761 h 109895"/>
              <a:gd name="connsiteX94" fmla="*/ 209685 w 603360"/>
              <a:gd name="connsiteY94" fmla="*/ 14001 h 109895"/>
              <a:gd name="connsiteX95" fmla="*/ 202962 w 603360"/>
              <a:gd name="connsiteY95" fmla="*/ 21345 h 109895"/>
              <a:gd name="connsiteX96" fmla="*/ 198779 w 603360"/>
              <a:gd name="connsiteY96" fmla="*/ 34786 h 109895"/>
              <a:gd name="connsiteX97" fmla="*/ 197434 w 603360"/>
              <a:gd name="connsiteY97" fmla="*/ 54948 h 109895"/>
              <a:gd name="connsiteX98" fmla="*/ 198779 w 603360"/>
              <a:gd name="connsiteY98" fmla="*/ 75235 h 109895"/>
              <a:gd name="connsiteX99" fmla="*/ 202962 w 603360"/>
              <a:gd name="connsiteY99" fmla="*/ 88552 h 109895"/>
              <a:gd name="connsiteX100" fmla="*/ 209536 w 603360"/>
              <a:gd name="connsiteY100" fmla="*/ 95832 h 109895"/>
              <a:gd name="connsiteX101" fmla="*/ 218649 w 603360"/>
              <a:gd name="connsiteY101" fmla="*/ 98072 h 109895"/>
              <a:gd name="connsiteX102" fmla="*/ 272104 w 603360"/>
              <a:gd name="connsiteY102" fmla="*/ 1307 h 109895"/>
              <a:gd name="connsiteX103" fmla="*/ 337541 w 603360"/>
              <a:gd name="connsiteY103" fmla="*/ 1307 h 109895"/>
              <a:gd name="connsiteX104" fmla="*/ 337541 w 603360"/>
              <a:gd name="connsiteY104" fmla="*/ 14188 h 109895"/>
              <a:gd name="connsiteX105" fmla="*/ 286148 w 603360"/>
              <a:gd name="connsiteY105" fmla="*/ 14188 h 109895"/>
              <a:gd name="connsiteX106" fmla="*/ 286148 w 603360"/>
              <a:gd name="connsiteY106" fmla="*/ 49720 h 109895"/>
              <a:gd name="connsiteX107" fmla="*/ 329772 w 603360"/>
              <a:gd name="connsiteY107" fmla="*/ 49720 h 109895"/>
              <a:gd name="connsiteX108" fmla="*/ 329772 w 603360"/>
              <a:gd name="connsiteY108" fmla="*/ 62415 h 109895"/>
              <a:gd name="connsiteX109" fmla="*/ 286148 w 603360"/>
              <a:gd name="connsiteY109" fmla="*/ 62415 h 109895"/>
              <a:gd name="connsiteX110" fmla="*/ 286148 w 603360"/>
              <a:gd name="connsiteY110" fmla="*/ 108402 h 109895"/>
              <a:gd name="connsiteX111" fmla="*/ 272104 w 603360"/>
              <a:gd name="connsiteY111" fmla="*/ 108402 h 109895"/>
              <a:gd name="connsiteX112" fmla="*/ 272104 w 603360"/>
              <a:gd name="connsiteY112" fmla="*/ 1307 h 109895"/>
              <a:gd name="connsiteX113" fmla="*/ 378110 w 603360"/>
              <a:gd name="connsiteY113" fmla="*/ 1307 h 109895"/>
              <a:gd name="connsiteX114" fmla="*/ 399026 w 603360"/>
              <a:gd name="connsiteY114" fmla="*/ 1307 h 109895"/>
              <a:gd name="connsiteX115" fmla="*/ 437421 w 603360"/>
              <a:gd name="connsiteY115" fmla="*/ 108402 h 109895"/>
              <a:gd name="connsiteX116" fmla="*/ 422481 w 603360"/>
              <a:gd name="connsiteY116" fmla="*/ 108402 h 109895"/>
              <a:gd name="connsiteX117" fmla="*/ 411426 w 603360"/>
              <a:gd name="connsiteY117" fmla="*/ 77786 h 109895"/>
              <a:gd name="connsiteX118" fmla="*/ 364067 w 603360"/>
              <a:gd name="connsiteY118" fmla="*/ 77786 h 109895"/>
              <a:gd name="connsiteX119" fmla="*/ 353161 w 603360"/>
              <a:gd name="connsiteY119" fmla="*/ 108402 h 109895"/>
              <a:gd name="connsiteX120" fmla="*/ 340014 w 603360"/>
              <a:gd name="connsiteY120" fmla="*/ 108402 h 109895"/>
              <a:gd name="connsiteX121" fmla="*/ 378110 w 603360"/>
              <a:gd name="connsiteY121" fmla="*/ 1307 h 109895"/>
              <a:gd name="connsiteX122" fmla="*/ 406944 w 603360"/>
              <a:gd name="connsiteY122" fmla="*/ 65091 h 109895"/>
              <a:gd name="connsiteX123" fmla="*/ 387821 w 603360"/>
              <a:gd name="connsiteY123" fmla="*/ 11761 h 109895"/>
              <a:gd name="connsiteX124" fmla="*/ 368698 w 603360"/>
              <a:gd name="connsiteY124" fmla="*/ 65091 h 109895"/>
              <a:gd name="connsiteX125" fmla="*/ 406944 w 603360"/>
              <a:gd name="connsiteY125" fmla="*/ 65091 h 109895"/>
              <a:gd name="connsiteX126" fmla="*/ 453016 w 603360"/>
              <a:gd name="connsiteY126" fmla="*/ 1307 h 109895"/>
              <a:gd name="connsiteX127" fmla="*/ 518453 w 603360"/>
              <a:gd name="connsiteY127" fmla="*/ 1307 h 109895"/>
              <a:gd name="connsiteX128" fmla="*/ 518453 w 603360"/>
              <a:gd name="connsiteY128" fmla="*/ 14188 h 109895"/>
              <a:gd name="connsiteX129" fmla="*/ 467059 w 603360"/>
              <a:gd name="connsiteY129" fmla="*/ 14188 h 109895"/>
              <a:gd name="connsiteX130" fmla="*/ 467059 w 603360"/>
              <a:gd name="connsiteY130" fmla="*/ 49720 h 109895"/>
              <a:gd name="connsiteX131" fmla="*/ 510683 w 603360"/>
              <a:gd name="connsiteY131" fmla="*/ 49720 h 109895"/>
              <a:gd name="connsiteX132" fmla="*/ 510683 w 603360"/>
              <a:gd name="connsiteY132" fmla="*/ 62415 h 109895"/>
              <a:gd name="connsiteX133" fmla="*/ 467059 w 603360"/>
              <a:gd name="connsiteY133" fmla="*/ 62415 h 109895"/>
              <a:gd name="connsiteX134" fmla="*/ 467059 w 603360"/>
              <a:gd name="connsiteY134" fmla="*/ 108402 h 109895"/>
              <a:gd name="connsiteX135" fmla="*/ 453016 w 603360"/>
              <a:gd name="connsiteY135" fmla="*/ 108402 h 109895"/>
              <a:gd name="connsiteX136" fmla="*/ 453016 w 603360"/>
              <a:gd name="connsiteY136" fmla="*/ 1307 h 109895"/>
              <a:gd name="connsiteX137" fmla="*/ 537924 w 603360"/>
              <a:gd name="connsiteY137" fmla="*/ 1307 h 109895"/>
              <a:gd name="connsiteX138" fmla="*/ 603360 w 603360"/>
              <a:gd name="connsiteY138" fmla="*/ 1307 h 109895"/>
              <a:gd name="connsiteX139" fmla="*/ 603360 w 603360"/>
              <a:gd name="connsiteY139" fmla="*/ 14188 h 109895"/>
              <a:gd name="connsiteX140" fmla="*/ 551968 w 603360"/>
              <a:gd name="connsiteY140" fmla="*/ 14188 h 109895"/>
              <a:gd name="connsiteX141" fmla="*/ 551968 w 603360"/>
              <a:gd name="connsiteY141" fmla="*/ 49720 h 109895"/>
              <a:gd name="connsiteX142" fmla="*/ 595592 w 603360"/>
              <a:gd name="connsiteY142" fmla="*/ 49720 h 109895"/>
              <a:gd name="connsiteX143" fmla="*/ 595592 w 603360"/>
              <a:gd name="connsiteY143" fmla="*/ 62415 h 109895"/>
              <a:gd name="connsiteX144" fmla="*/ 551968 w 603360"/>
              <a:gd name="connsiteY144" fmla="*/ 62415 h 109895"/>
              <a:gd name="connsiteX145" fmla="*/ 551968 w 603360"/>
              <a:gd name="connsiteY145" fmla="*/ 108402 h 109895"/>
              <a:gd name="connsiteX146" fmla="*/ 537924 w 603360"/>
              <a:gd name="connsiteY146" fmla="*/ 108402 h 109895"/>
              <a:gd name="connsiteX147" fmla="*/ 537924 w 603360"/>
              <a:gd name="connsiteY14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3360" h="109895">
                <a:moveTo>
                  <a:pt x="50795" y="77475"/>
                </a:moveTo>
                <a:lnTo>
                  <a:pt x="28386" y="77475"/>
                </a:lnTo>
                <a:lnTo>
                  <a:pt x="22111" y="108402"/>
                </a:ln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close/>
                <a:moveTo>
                  <a:pt x="53036" y="67020"/>
                </a:move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lnTo>
                  <a:pt x="53036" y="67020"/>
                </a:lnTo>
                <a:close/>
                <a:moveTo>
                  <a:pt x="136659" y="109896"/>
                </a:moveTo>
                <a:cubicBezTo>
                  <a:pt x="131579" y="109896"/>
                  <a:pt x="126848" y="108837"/>
                  <a:pt x="122466" y="106784"/>
                </a:cubicBezTo>
                <a:cubicBezTo>
                  <a:pt x="118183" y="104544"/>
                  <a:pt x="114448" y="101246"/>
                  <a:pt x="111261" y="96766"/>
                </a:cubicBezTo>
                <a:cubicBezTo>
                  <a:pt x="108174" y="92161"/>
                  <a:pt x="105734" y="86435"/>
                  <a:pt x="103941" y="79590"/>
                </a:cubicBezTo>
                <a:cubicBezTo>
                  <a:pt x="102148" y="72621"/>
                  <a:pt x="101252" y="64345"/>
                  <a:pt x="101252" y="54761"/>
                </a:cubicBezTo>
                <a:cubicBezTo>
                  <a:pt x="101252" y="45240"/>
                  <a:pt x="102148" y="37026"/>
                  <a:pt x="103941" y="30119"/>
                </a:cubicBezTo>
                <a:cubicBezTo>
                  <a:pt x="105734" y="23150"/>
                  <a:pt x="108174" y="17424"/>
                  <a:pt x="111261" y="12944"/>
                </a:cubicBezTo>
                <a:cubicBezTo>
                  <a:pt x="114448" y="8463"/>
                  <a:pt x="118183" y="5228"/>
                  <a:pt x="122466" y="3111"/>
                </a:cubicBezTo>
                <a:cubicBezTo>
                  <a:pt x="126848" y="996"/>
                  <a:pt x="131579" y="0"/>
                  <a:pt x="136659" y="0"/>
                </a:cubicBezTo>
                <a:cubicBezTo>
                  <a:pt x="141738" y="0"/>
                  <a:pt x="146420" y="996"/>
                  <a:pt x="150702" y="3111"/>
                </a:cubicBezTo>
                <a:cubicBezTo>
                  <a:pt x="154985" y="5228"/>
                  <a:pt x="158670" y="8463"/>
                  <a:pt x="161758" y="12944"/>
                </a:cubicBezTo>
                <a:cubicBezTo>
                  <a:pt x="164845" y="17362"/>
                  <a:pt x="167236" y="22963"/>
                  <a:pt x="168929" y="29870"/>
                </a:cubicBezTo>
                <a:cubicBezTo>
                  <a:pt x="170721" y="36715"/>
                  <a:pt x="171618" y="44930"/>
                  <a:pt x="171618" y="54512"/>
                </a:cubicBezTo>
                <a:cubicBezTo>
                  <a:pt x="171618" y="64033"/>
                  <a:pt x="170721" y="72309"/>
                  <a:pt x="168929" y="79279"/>
                </a:cubicBezTo>
                <a:cubicBezTo>
                  <a:pt x="167236" y="86125"/>
                  <a:pt x="164845" y="91849"/>
                  <a:pt x="161758" y="96454"/>
                </a:cubicBezTo>
                <a:cubicBezTo>
                  <a:pt x="158670" y="101059"/>
                  <a:pt x="154985" y="104419"/>
                  <a:pt x="150702" y="106597"/>
                </a:cubicBezTo>
                <a:cubicBezTo>
                  <a:pt x="146420" y="108776"/>
                  <a:pt x="141738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39896" y="98072"/>
                  <a:pt x="142884" y="97325"/>
                  <a:pt x="145473" y="95832"/>
                </a:cubicBezTo>
                <a:cubicBezTo>
                  <a:pt x="148063" y="94339"/>
                  <a:pt x="150254" y="91912"/>
                  <a:pt x="152047" y="88552"/>
                </a:cubicBezTo>
                <a:cubicBezTo>
                  <a:pt x="153840" y="85129"/>
                  <a:pt x="155184" y="80711"/>
                  <a:pt x="156081" y="75235"/>
                </a:cubicBezTo>
                <a:cubicBezTo>
                  <a:pt x="157077" y="69696"/>
                  <a:pt x="157575" y="62913"/>
                  <a:pt x="157575" y="54948"/>
                </a:cubicBezTo>
                <a:cubicBezTo>
                  <a:pt x="157575" y="46983"/>
                  <a:pt x="157126" y="40262"/>
                  <a:pt x="156230" y="34786"/>
                </a:cubicBezTo>
                <a:cubicBezTo>
                  <a:pt x="155334" y="29186"/>
                  <a:pt x="153989" y="24705"/>
                  <a:pt x="152196" y="21345"/>
                </a:cubicBezTo>
                <a:cubicBezTo>
                  <a:pt x="150403" y="17922"/>
                  <a:pt x="148212" y="15495"/>
                  <a:pt x="145623" y="14001"/>
                </a:cubicBezTo>
                <a:cubicBezTo>
                  <a:pt x="143033" y="12508"/>
                  <a:pt x="140045" y="11761"/>
                  <a:pt x="136659" y="11761"/>
                </a:cubicBezTo>
                <a:cubicBezTo>
                  <a:pt x="133273" y="11761"/>
                  <a:pt x="130235" y="12508"/>
                  <a:pt x="127546" y="14001"/>
                </a:cubicBezTo>
                <a:cubicBezTo>
                  <a:pt x="124956" y="15495"/>
                  <a:pt x="122715" y="17922"/>
                  <a:pt x="120823" y="21345"/>
                </a:cubicBezTo>
                <a:cubicBezTo>
                  <a:pt x="119030" y="24705"/>
                  <a:pt x="117636" y="29186"/>
                  <a:pt x="116640" y="34786"/>
                </a:cubicBezTo>
                <a:cubicBezTo>
                  <a:pt x="115743" y="40262"/>
                  <a:pt x="115295" y="46983"/>
                  <a:pt x="115295" y="54948"/>
                </a:cubicBezTo>
                <a:cubicBezTo>
                  <a:pt x="115295" y="62913"/>
                  <a:pt x="115743" y="69696"/>
                  <a:pt x="116640" y="75235"/>
                </a:cubicBezTo>
                <a:cubicBezTo>
                  <a:pt x="117636" y="80711"/>
                  <a:pt x="119030" y="85129"/>
                  <a:pt x="120823" y="88552"/>
                </a:cubicBezTo>
                <a:cubicBezTo>
                  <a:pt x="122615" y="91912"/>
                  <a:pt x="124807" y="94339"/>
                  <a:pt x="127396" y="95832"/>
                </a:cubicBezTo>
                <a:cubicBezTo>
                  <a:pt x="130085" y="97325"/>
                  <a:pt x="133123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3719" y="109896"/>
                  <a:pt x="208988" y="108837"/>
                  <a:pt x="204605" y="106784"/>
                </a:cubicBezTo>
                <a:cubicBezTo>
                  <a:pt x="200323" y="104544"/>
                  <a:pt x="196588" y="101246"/>
                  <a:pt x="193401" y="96766"/>
                </a:cubicBezTo>
                <a:cubicBezTo>
                  <a:pt x="190313" y="92161"/>
                  <a:pt x="187873" y="86435"/>
                  <a:pt x="186080" y="79590"/>
                </a:cubicBezTo>
                <a:cubicBezTo>
                  <a:pt x="184287" y="72621"/>
                  <a:pt x="183391" y="64345"/>
                  <a:pt x="183391" y="54761"/>
                </a:cubicBezTo>
                <a:cubicBezTo>
                  <a:pt x="183391" y="45240"/>
                  <a:pt x="184287" y="37026"/>
                  <a:pt x="186080" y="30119"/>
                </a:cubicBezTo>
                <a:cubicBezTo>
                  <a:pt x="187873" y="23150"/>
                  <a:pt x="190313" y="17424"/>
                  <a:pt x="193401" y="12944"/>
                </a:cubicBezTo>
                <a:cubicBezTo>
                  <a:pt x="196588" y="8463"/>
                  <a:pt x="200323" y="5228"/>
                  <a:pt x="204605" y="3111"/>
                </a:cubicBezTo>
                <a:cubicBezTo>
                  <a:pt x="208988" y="996"/>
                  <a:pt x="213719" y="0"/>
                  <a:pt x="218798" y="0"/>
                </a:cubicBezTo>
                <a:cubicBezTo>
                  <a:pt x="223878" y="0"/>
                  <a:pt x="228559" y="996"/>
                  <a:pt x="232842" y="3111"/>
                </a:cubicBezTo>
                <a:cubicBezTo>
                  <a:pt x="237124" y="5228"/>
                  <a:pt x="240809" y="8463"/>
                  <a:pt x="243897" y="12944"/>
                </a:cubicBezTo>
                <a:cubicBezTo>
                  <a:pt x="246985" y="17362"/>
                  <a:pt x="249375" y="22963"/>
                  <a:pt x="251068" y="29870"/>
                </a:cubicBezTo>
                <a:cubicBezTo>
                  <a:pt x="252861" y="36715"/>
                  <a:pt x="253757" y="44930"/>
                  <a:pt x="253757" y="54512"/>
                </a:cubicBezTo>
                <a:cubicBezTo>
                  <a:pt x="253757" y="64033"/>
                  <a:pt x="252861" y="72309"/>
                  <a:pt x="251068" y="79279"/>
                </a:cubicBezTo>
                <a:cubicBezTo>
                  <a:pt x="249375" y="86125"/>
                  <a:pt x="246985" y="91849"/>
                  <a:pt x="243897" y="96454"/>
                </a:cubicBezTo>
                <a:cubicBezTo>
                  <a:pt x="240809" y="101059"/>
                  <a:pt x="237124" y="104419"/>
                  <a:pt x="232842" y="106597"/>
                </a:cubicBezTo>
                <a:cubicBezTo>
                  <a:pt x="228559" y="108776"/>
                  <a:pt x="223878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2035" y="98072"/>
                  <a:pt x="225023" y="97325"/>
                  <a:pt x="227613" y="95832"/>
                </a:cubicBezTo>
                <a:cubicBezTo>
                  <a:pt x="230202" y="94339"/>
                  <a:pt x="232393" y="91912"/>
                  <a:pt x="234186" y="88552"/>
                </a:cubicBezTo>
                <a:cubicBezTo>
                  <a:pt x="235979" y="85129"/>
                  <a:pt x="237324" y="80711"/>
                  <a:pt x="238220" y="75235"/>
                </a:cubicBezTo>
                <a:cubicBezTo>
                  <a:pt x="239216" y="69696"/>
                  <a:pt x="239714" y="62913"/>
                  <a:pt x="239714" y="54948"/>
                </a:cubicBezTo>
                <a:cubicBezTo>
                  <a:pt x="239714" y="46983"/>
                  <a:pt x="239266" y="40262"/>
                  <a:pt x="238369" y="34786"/>
                </a:cubicBezTo>
                <a:cubicBezTo>
                  <a:pt x="237473" y="29186"/>
                  <a:pt x="236128" y="24705"/>
                  <a:pt x="234336" y="21345"/>
                </a:cubicBezTo>
                <a:cubicBezTo>
                  <a:pt x="232543" y="17922"/>
                  <a:pt x="230352" y="15495"/>
                  <a:pt x="227762" y="14001"/>
                </a:cubicBezTo>
                <a:cubicBezTo>
                  <a:pt x="225173" y="12508"/>
                  <a:pt x="222185" y="11761"/>
                  <a:pt x="218798" y="11761"/>
                </a:cubicBezTo>
                <a:cubicBezTo>
                  <a:pt x="215412" y="11761"/>
                  <a:pt x="212374" y="12508"/>
                  <a:pt x="209685" y="14001"/>
                </a:cubicBezTo>
                <a:cubicBezTo>
                  <a:pt x="207095" y="15495"/>
                  <a:pt x="204854" y="17922"/>
                  <a:pt x="202962" y="21345"/>
                </a:cubicBezTo>
                <a:cubicBezTo>
                  <a:pt x="201169" y="24705"/>
                  <a:pt x="199775" y="29186"/>
                  <a:pt x="198779" y="34786"/>
                </a:cubicBezTo>
                <a:cubicBezTo>
                  <a:pt x="197883" y="40262"/>
                  <a:pt x="197434" y="46983"/>
                  <a:pt x="197434" y="54948"/>
                </a:cubicBezTo>
                <a:cubicBezTo>
                  <a:pt x="197434" y="62913"/>
                  <a:pt x="197883" y="69696"/>
                  <a:pt x="198779" y="75235"/>
                </a:cubicBezTo>
                <a:cubicBezTo>
                  <a:pt x="199775" y="80711"/>
                  <a:pt x="201169" y="85129"/>
                  <a:pt x="202962" y="88552"/>
                </a:cubicBezTo>
                <a:cubicBezTo>
                  <a:pt x="204755" y="91912"/>
                  <a:pt x="206946" y="94339"/>
                  <a:pt x="209536" y="95832"/>
                </a:cubicBezTo>
                <a:cubicBezTo>
                  <a:pt x="212225" y="97325"/>
                  <a:pt x="215262" y="98072"/>
                  <a:pt x="218649" y="98072"/>
                </a:cubicBezTo>
                <a:close/>
                <a:moveTo>
                  <a:pt x="272104" y="1307"/>
                </a:moveTo>
                <a:lnTo>
                  <a:pt x="337541" y="1307"/>
                </a:lnTo>
                <a:lnTo>
                  <a:pt x="337541" y="14188"/>
                </a:lnTo>
                <a:lnTo>
                  <a:pt x="286148" y="14188"/>
                </a:lnTo>
                <a:lnTo>
                  <a:pt x="286148" y="49720"/>
                </a:lnTo>
                <a:lnTo>
                  <a:pt x="329772" y="49720"/>
                </a:lnTo>
                <a:lnTo>
                  <a:pt x="329772" y="62415"/>
                </a:lnTo>
                <a:lnTo>
                  <a:pt x="286148" y="62415"/>
                </a:lnTo>
                <a:lnTo>
                  <a:pt x="286148" y="108402"/>
                </a:ln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378110" y="1307"/>
                </a:moveTo>
                <a:lnTo>
                  <a:pt x="399026" y="1307"/>
                </a:lnTo>
                <a:lnTo>
                  <a:pt x="437421" y="108402"/>
                </a:lnTo>
                <a:lnTo>
                  <a:pt x="422481" y="108402"/>
                </a:lnTo>
                <a:lnTo>
                  <a:pt x="411426" y="77786"/>
                </a:lnTo>
                <a:lnTo>
                  <a:pt x="364067" y="77786"/>
                </a:lnTo>
                <a:lnTo>
                  <a:pt x="353161" y="108402"/>
                </a:lnTo>
                <a:lnTo>
                  <a:pt x="340014" y="108402"/>
                </a:lnTo>
                <a:lnTo>
                  <a:pt x="378110" y="1307"/>
                </a:lnTo>
                <a:close/>
                <a:moveTo>
                  <a:pt x="406944" y="65091"/>
                </a:moveTo>
                <a:lnTo>
                  <a:pt x="387821" y="11761"/>
                </a:lnTo>
                <a:lnTo>
                  <a:pt x="368698" y="65091"/>
                </a:lnTo>
                <a:lnTo>
                  <a:pt x="406944" y="65091"/>
                </a:lnTo>
                <a:close/>
                <a:moveTo>
                  <a:pt x="453016" y="1307"/>
                </a:moveTo>
                <a:lnTo>
                  <a:pt x="518453" y="1307"/>
                </a:lnTo>
                <a:lnTo>
                  <a:pt x="518453" y="14188"/>
                </a:lnTo>
                <a:lnTo>
                  <a:pt x="467059" y="14188"/>
                </a:lnTo>
                <a:lnTo>
                  <a:pt x="467059" y="49720"/>
                </a:lnTo>
                <a:lnTo>
                  <a:pt x="510683" y="49720"/>
                </a:lnTo>
                <a:lnTo>
                  <a:pt x="510683" y="62415"/>
                </a:lnTo>
                <a:lnTo>
                  <a:pt x="467059" y="62415"/>
                </a:lnTo>
                <a:lnTo>
                  <a:pt x="467059" y="108402"/>
                </a:lnTo>
                <a:lnTo>
                  <a:pt x="453016" y="108402"/>
                </a:lnTo>
                <a:lnTo>
                  <a:pt x="453016" y="1307"/>
                </a:lnTo>
                <a:close/>
                <a:moveTo>
                  <a:pt x="537924" y="1307"/>
                </a:moveTo>
                <a:lnTo>
                  <a:pt x="603360" y="1307"/>
                </a:lnTo>
                <a:lnTo>
                  <a:pt x="603360" y="14188"/>
                </a:lnTo>
                <a:lnTo>
                  <a:pt x="551968" y="14188"/>
                </a:lnTo>
                <a:lnTo>
                  <a:pt x="551968" y="49720"/>
                </a:lnTo>
                <a:lnTo>
                  <a:pt x="595592" y="49720"/>
                </a:lnTo>
                <a:lnTo>
                  <a:pt x="595592" y="62415"/>
                </a:lnTo>
                <a:lnTo>
                  <a:pt x="551968" y="62415"/>
                </a:lnTo>
                <a:lnTo>
                  <a:pt x="551968" y="108402"/>
                </a:lnTo>
                <a:lnTo>
                  <a:pt x="537924" y="108402"/>
                </a:lnTo>
                <a:lnTo>
                  <a:pt x="537924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8" name="Полилиния 977">
            <a:extLst>
              <a:ext uri="{FF2B5EF4-FFF2-40B4-BE49-F238E27FC236}">
                <a16:creationId xmlns:a16="http://schemas.microsoft.com/office/drawing/2014/main" id="{70566EAE-9468-AE0A-1F74-03747EEDAAB6}"/>
              </a:ext>
            </a:extLst>
          </p:cNvPr>
          <p:cNvSpPr/>
          <p:nvPr userDrawn="1"/>
        </p:nvSpPr>
        <p:spPr>
          <a:xfrm>
            <a:off x="12270615" y="8871204"/>
            <a:ext cx="1398954" cy="726227"/>
          </a:xfrm>
          <a:custGeom>
            <a:avLst/>
            <a:gdLst>
              <a:gd name="connsiteX0" fmla="*/ 0 w 1198727"/>
              <a:gd name="connsiteY0" fmla="*/ 1622 h 622284"/>
              <a:gd name="connsiteX1" fmla="*/ 1198728 w 1198727"/>
              <a:gd name="connsiteY1" fmla="*/ 1622 h 622284"/>
              <a:gd name="connsiteX2" fmla="*/ 1198728 w 1198727"/>
              <a:gd name="connsiteY2" fmla="*/ 623906 h 622284"/>
              <a:gd name="connsiteX3" fmla="*/ 0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622"/>
                </a:moveTo>
                <a:lnTo>
                  <a:pt x="1198728" y="1622"/>
                </a:lnTo>
                <a:lnTo>
                  <a:pt x="1198728" y="623906"/>
                </a:lnTo>
                <a:lnTo>
                  <a:pt x="0" y="623906"/>
                </a:lnTo>
                <a:close/>
              </a:path>
            </a:pathLst>
          </a:custGeom>
          <a:solidFill>
            <a:srgbClr val="5AFA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9" name="Полилиния 978">
            <a:extLst>
              <a:ext uri="{FF2B5EF4-FFF2-40B4-BE49-F238E27FC236}">
                <a16:creationId xmlns:a16="http://schemas.microsoft.com/office/drawing/2014/main" id="{0B0670D7-6F77-4CDF-F466-4E85A302C131}"/>
              </a:ext>
            </a:extLst>
          </p:cNvPr>
          <p:cNvSpPr/>
          <p:nvPr userDrawn="1"/>
        </p:nvSpPr>
        <p:spPr>
          <a:xfrm>
            <a:off x="12393824" y="9174693"/>
            <a:ext cx="729001" cy="126725"/>
          </a:xfrm>
          <a:custGeom>
            <a:avLst/>
            <a:gdLst>
              <a:gd name="connsiteX0" fmla="*/ 50795 w 624661"/>
              <a:gd name="connsiteY0" fmla="*/ 76168 h 108588"/>
              <a:gd name="connsiteX1" fmla="*/ 28386 w 624661"/>
              <a:gd name="connsiteY1" fmla="*/ 76168 h 108588"/>
              <a:gd name="connsiteX2" fmla="*/ 22111 w 624661"/>
              <a:gd name="connsiteY2" fmla="*/ 107095 h 108588"/>
              <a:gd name="connsiteX3" fmla="*/ 10159 w 624661"/>
              <a:gd name="connsiteY3" fmla="*/ 107095 h 108588"/>
              <a:gd name="connsiteX4" fmla="*/ 16434 w 624661"/>
              <a:gd name="connsiteY4" fmla="*/ 76168 h 108588"/>
              <a:gd name="connsiteX5" fmla="*/ 0 w 624661"/>
              <a:gd name="connsiteY5" fmla="*/ 76168 h 108588"/>
              <a:gd name="connsiteX6" fmla="*/ 0 w 624661"/>
              <a:gd name="connsiteY6" fmla="*/ 65713 h 108588"/>
              <a:gd name="connsiteX7" fmla="*/ 18675 w 624661"/>
              <a:gd name="connsiteY7" fmla="*/ 65713 h 108588"/>
              <a:gd name="connsiteX8" fmla="*/ 24202 w 624661"/>
              <a:gd name="connsiteY8" fmla="*/ 38519 h 108588"/>
              <a:gd name="connsiteX9" fmla="*/ 4034 w 624661"/>
              <a:gd name="connsiteY9" fmla="*/ 38519 h 108588"/>
              <a:gd name="connsiteX10" fmla="*/ 4034 w 624661"/>
              <a:gd name="connsiteY10" fmla="*/ 28065 h 108588"/>
              <a:gd name="connsiteX11" fmla="*/ 26294 w 624661"/>
              <a:gd name="connsiteY11" fmla="*/ 28065 h 108588"/>
              <a:gd name="connsiteX12" fmla="*/ 32120 w 624661"/>
              <a:gd name="connsiteY12" fmla="*/ 0 h 108588"/>
              <a:gd name="connsiteX13" fmla="*/ 44072 w 624661"/>
              <a:gd name="connsiteY13" fmla="*/ 0 h 108588"/>
              <a:gd name="connsiteX14" fmla="*/ 38246 w 624661"/>
              <a:gd name="connsiteY14" fmla="*/ 28065 h 108588"/>
              <a:gd name="connsiteX15" fmla="*/ 60655 w 624661"/>
              <a:gd name="connsiteY15" fmla="*/ 28065 h 108588"/>
              <a:gd name="connsiteX16" fmla="*/ 66482 w 624661"/>
              <a:gd name="connsiteY16" fmla="*/ 0 h 108588"/>
              <a:gd name="connsiteX17" fmla="*/ 78434 w 624661"/>
              <a:gd name="connsiteY17" fmla="*/ 0 h 108588"/>
              <a:gd name="connsiteX18" fmla="*/ 72607 w 624661"/>
              <a:gd name="connsiteY18" fmla="*/ 28065 h 108588"/>
              <a:gd name="connsiteX19" fmla="*/ 89340 w 624661"/>
              <a:gd name="connsiteY19" fmla="*/ 28065 h 108588"/>
              <a:gd name="connsiteX20" fmla="*/ 89340 w 624661"/>
              <a:gd name="connsiteY20" fmla="*/ 38519 h 108588"/>
              <a:gd name="connsiteX21" fmla="*/ 70516 w 624661"/>
              <a:gd name="connsiteY21" fmla="*/ 38519 h 108588"/>
              <a:gd name="connsiteX22" fmla="*/ 64988 w 624661"/>
              <a:gd name="connsiteY22" fmla="*/ 65713 h 108588"/>
              <a:gd name="connsiteX23" fmla="*/ 85306 w 624661"/>
              <a:gd name="connsiteY23" fmla="*/ 65713 h 108588"/>
              <a:gd name="connsiteX24" fmla="*/ 85306 w 624661"/>
              <a:gd name="connsiteY24" fmla="*/ 76168 h 108588"/>
              <a:gd name="connsiteX25" fmla="*/ 62747 w 624661"/>
              <a:gd name="connsiteY25" fmla="*/ 76168 h 108588"/>
              <a:gd name="connsiteX26" fmla="*/ 56472 w 624661"/>
              <a:gd name="connsiteY26" fmla="*/ 107095 h 108588"/>
              <a:gd name="connsiteX27" fmla="*/ 44520 w 624661"/>
              <a:gd name="connsiteY27" fmla="*/ 107095 h 108588"/>
              <a:gd name="connsiteX28" fmla="*/ 50795 w 624661"/>
              <a:gd name="connsiteY28" fmla="*/ 76168 h 108588"/>
              <a:gd name="connsiteX29" fmla="*/ 53036 w 624661"/>
              <a:gd name="connsiteY29" fmla="*/ 65713 h 108588"/>
              <a:gd name="connsiteX30" fmla="*/ 58564 w 624661"/>
              <a:gd name="connsiteY30" fmla="*/ 38519 h 108588"/>
              <a:gd name="connsiteX31" fmla="*/ 36154 w 624661"/>
              <a:gd name="connsiteY31" fmla="*/ 38519 h 108588"/>
              <a:gd name="connsiteX32" fmla="*/ 30626 w 624661"/>
              <a:gd name="connsiteY32" fmla="*/ 65713 h 108588"/>
              <a:gd name="connsiteX33" fmla="*/ 53036 w 624661"/>
              <a:gd name="connsiteY33" fmla="*/ 65713 h 108588"/>
              <a:gd name="connsiteX34" fmla="*/ 169078 w 624661"/>
              <a:gd name="connsiteY34" fmla="*/ 71687 h 108588"/>
              <a:gd name="connsiteX35" fmla="*/ 166389 w 624661"/>
              <a:gd name="connsiteY35" fmla="*/ 86933 h 108588"/>
              <a:gd name="connsiteX36" fmla="*/ 158919 w 624661"/>
              <a:gd name="connsiteY36" fmla="*/ 98570 h 108588"/>
              <a:gd name="connsiteX37" fmla="*/ 147117 w 624661"/>
              <a:gd name="connsiteY37" fmla="*/ 106037 h 108588"/>
              <a:gd name="connsiteX38" fmla="*/ 131729 w 624661"/>
              <a:gd name="connsiteY38" fmla="*/ 108588 h 108588"/>
              <a:gd name="connsiteX39" fmla="*/ 115146 w 624661"/>
              <a:gd name="connsiteY39" fmla="*/ 106660 h 108588"/>
              <a:gd name="connsiteX40" fmla="*/ 103194 w 624661"/>
              <a:gd name="connsiteY40" fmla="*/ 100997 h 108588"/>
              <a:gd name="connsiteX41" fmla="*/ 103194 w 624661"/>
              <a:gd name="connsiteY41" fmla="*/ 86311 h 108588"/>
              <a:gd name="connsiteX42" fmla="*/ 114847 w 624661"/>
              <a:gd name="connsiteY42" fmla="*/ 93529 h 108588"/>
              <a:gd name="connsiteX43" fmla="*/ 131729 w 624661"/>
              <a:gd name="connsiteY43" fmla="*/ 96329 h 108588"/>
              <a:gd name="connsiteX44" fmla="*/ 148760 w 624661"/>
              <a:gd name="connsiteY44" fmla="*/ 89608 h 108588"/>
              <a:gd name="connsiteX45" fmla="*/ 154885 w 624661"/>
              <a:gd name="connsiteY45" fmla="*/ 71998 h 108588"/>
              <a:gd name="connsiteX46" fmla="*/ 148909 w 624661"/>
              <a:gd name="connsiteY46" fmla="*/ 54947 h 108588"/>
              <a:gd name="connsiteX47" fmla="*/ 133820 w 624661"/>
              <a:gd name="connsiteY47" fmla="*/ 49596 h 108588"/>
              <a:gd name="connsiteX48" fmla="*/ 123064 w 624661"/>
              <a:gd name="connsiteY48" fmla="*/ 51836 h 108588"/>
              <a:gd name="connsiteX49" fmla="*/ 117088 w 624661"/>
              <a:gd name="connsiteY49" fmla="*/ 56316 h 108588"/>
              <a:gd name="connsiteX50" fmla="*/ 106182 w 624661"/>
              <a:gd name="connsiteY50" fmla="*/ 56316 h 108588"/>
              <a:gd name="connsiteX51" fmla="*/ 106182 w 624661"/>
              <a:gd name="connsiteY51" fmla="*/ 0 h 108588"/>
              <a:gd name="connsiteX52" fmla="*/ 164148 w 624661"/>
              <a:gd name="connsiteY52" fmla="*/ 0 h 108588"/>
              <a:gd name="connsiteX53" fmla="*/ 164148 w 624661"/>
              <a:gd name="connsiteY53" fmla="*/ 12881 h 108588"/>
              <a:gd name="connsiteX54" fmla="*/ 118432 w 624661"/>
              <a:gd name="connsiteY54" fmla="*/ 12881 h 108588"/>
              <a:gd name="connsiteX55" fmla="*/ 118432 w 624661"/>
              <a:gd name="connsiteY55" fmla="*/ 43498 h 108588"/>
              <a:gd name="connsiteX56" fmla="*/ 125753 w 624661"/>
              <a:gd name="connsiteY56" fmla="*/ 39577 h 108588"/>
              <a:gd name="connsiteX57" fmla="*/ 136061 w 624661"/>
              <a:gd name="connsiteY57" fmla="*/ 37772 h 108588"/>
              <a:gd name="connsiteX58" fmla="*/ 148909 w 624661"/>
              <a:gd name="connsiteY58" fmla="*/ 40012 h 108588"/>
              <a:gd name="connsiteX59" fmla="*/ 159517 w 624661"/>
              <a:gd name="connsiteY59" fmla="*/ 46484 h 108588"/>
              <a:gd name="connsiteX60" fmla="*/ 166538 w 624661"/>
              <a:gd name="connsiteY60" fmla="*/ 57063 h 108588"/>
              <a:gd name="connsiteX61" fmla="*/ 169078 w 624661"/>
              <a:gd name="connsiteY61" fmla="*/ 71687 h 108588"/>
              <a:gd name="connsiteX62" fmla="*/ 218499 w 624661"/>
              <a:gd name="connsiteY62" fmla="*/ 0 h 108588"/>
              <a:gd name="connsiteX63" fmla="*/ 239415 w 624661"/>
              <a:gd name="connsiteY63" fmla="*/ 0 h 108588"/>
              <a:gd name="connsiteX64" fmla="*/ 277810 w 624661"/>
              <a:gd name="connsiteY64" fmla="*/ 107095 h 108588"/>
              <a:gd name="connsiteX65" fmla="*/ 262870 w 624661"/>
              <a:gd name="connsiteY65" fmla="*/ 107095 h 108588"/>
              <a:gd name="connsiteX66" fmla="*/ 251815 w 624661"/>
              <a:gd name="connsiteY66" fmla="*/ 76478 h 108588"/>
              <a:gd name="connsiteX67" fmla="*/ 204456 w 624661"/>
              <a:gd name="connsiteY67" fmla="*/ 76478 h 108588"/>
              <a:gd name="connsiteX68" fmla="*/ 193550 w 624661"/>
              <a:gd name="connsiteY68" fmla="*/ 107095 h 108588"/>
              <a:gd name="connsiteX69" fmla="*/ 180403 w 624661"/>
              <a:gd name="connsiteY69" fmla="*/ 107095 h 108588"/>
              <a:gd name="connsiteX70" fmla="*/ 218499 w 624661"/>
              <a:gd name="connsiteY70" fmla="*/ 0 h 108588"/>
              <a:gd name="connsiteX71" fmla="*/ 247333 w 624661"/>
              <a:gd name="connsiteY71" fmla="*/ 63784 h 108588"/>
              <a:gd name="connsiteX72" fmla="*/ 228210 w 624661"/>
              <a:gd name="connsiteY72" fmla="*/ 10454 h 108588"/>
              <a:gd name="connsiteX73" fmla="*/ 209087 w 624661"/>
              <a:gd name="connsiteY73" fmla="*/ 63784 h 108588"/>
              <a:gd name="connsiteX74" fmla="*/ 247333 w 624661"/>
              <a:gd name="connsiteY74" fmla="*/ 63784 h 108588"/>
              <a:gd name="connsiteX75" fmla="*/ 293405 w 624661"/>
              <a:gd name="connsiteY75" fmla="*/ 0 h 108588"/>
              <a:gd name="connsiteX76" fmla="*/ 358841 w 624661"/>
              <a:gd name="connsiteY76" fmla="*/ 0 h 108588"/>
              <a:gd name="connsiteX77" fmla="*/ 358841 w 624661"/>
              <a:gd name="connsiteY77" fmla="*/ 12881 h 108588"/>
              <a:gd name="connsiteX78" fmla="*/ 307448 w 624661"/>
              <a:gd name="connsiteY78" fmla="*/ 12881 h 108588"/>
              <a:gd name="connsiteX79" fmla="*/ 307448 w 624661"/>
              <a:gd name="connsiteY79" fmla="*/ 48413 h 108588"/>
              <a:gd name="connsiteX80" fmla="*/ 351072 w 624661"/>
              <a:gd name="connsiteY80" fmla="*/ 48413 h 108588"/>
              <a:gd name="connsiteX81" fmla="*/ 351072 w 624661"/>
              <a:gd name="connsiteY81" fmla="*/ 61108 h 108588"/>
              <a:gd name="connsiteX82" fmla="*/ 307448 w 624661"/>
              <a:gd name="connsiteY82" fmla="*/ 61108 h 108588"/>
              <a:gd name="connsiteX83" fmla="*/ 307448 w 624661"/>
              <a:gd name="connsiteY83" fmla="*/ 107095 h 108588"/>
              <a:gd name="connsiteX84" fmla="*/ 293405 w 624661"/>
              <a:gd name="connsiteY84" fmla="*/ 107095 h 108588"/>
              <a:gd name="connsiteX85" fmla="*/ 293405 w 624661"/>
              <a:gd name="connsiteY85" fmla="*/ 0 h 108588"/>
              <a:gd name="connsiteX86" fmla="*/ 399410 w 624661"/>
              <a:gd name="connsiteY86" fmla="*/ 0 h 108588"/>
              <a:gd name="connsiteX87" fmla="*/ 420326 w 624661"/>
              <a:gd name="connsiteY87" fmla="*/ 0 h 108588"/>
              <a:gd name="connsiteX88" fmla="*/ 458721 w 624661"/>
              <a:gd name="connsiteY88" fmla="*/ 107095 h 108588"/>
              <a:gd name="connsiteX89" fmla="*/ 443782 w 624661"/>
              <a:gd name="connsiteY89" fmla="*/ 107095 h 108588"/>
              <a:gd name="connsiteX90" fmla="*/ 432726 w 624661"/>
              <a:gd name="connsiteY90" fmla="*/ 76478 h 108588"/>
              <a:gd name="connsiteX91" fmla="*/ 385367 w 624661"/>
              <a:gd name="connsiteY91" fmla="*/ 76478 h 108588"/>
              <a:gd name="connsiteX92" fmla="*/ 374461 w 624661"/>
              <a:gd name="connsiteY92" fmla="*/ 107095 h 108588"/>
              <a:gd name="connsiteX93" fmla="*/ 361314 w 624661"/>
              <a:gd name="connsiteY93" fmla="*/ 107095 h 108588"/>
              <a:gd name="connsiteX94" fmla="*/ 399410 w 624661"/>
              <a:gd name="connsiteY94" fmla="*/ 0 h 108588"/>
              <a:gd name="connsiteX95" fmla="*/ 428244 w 624661"/>
              <a:gd name="connsiteY95" fmla="*/ 63784 h 108588"/>
              <a:gd name="connsiteX96" fmla="*/ 409121 w 624661"/>
              <a:gd name="connsiteY96" fmla="*/ 10454 h 108588"/>
              <a:gd name="connsiteX97" fmla="*/ 389998 w 624661"/>
              <a:gd name="connsiteY97" fmla="*/ 63784 h 108588"/>
              <a:gd name="connsiteX98" fmla="*/ 428244 w 624661"/>
              <a:gd name="connsiteY98" fmla="*/ 63784 h 108588"/>
              <a:gd name="connsiteX99" fmla="*/ 474316 w 624661"/>
              <a:gd name="connsiteY99" fmla="*/ 0 h 108588"/>
              <a:gd name="connsiteX100" fmla="*/ 539754 w 624661"/>
              <a:gd name="connsiteY100" fmla="*/ 0 h 108588"/>
              <a:gd name="connsiteX101" fmla="*/ 539754 w 624661"/>
              <a:gd name="connsiteY101" fmla="*/ 12881 h 108588"/>
              <a:gd name="connsiteX102" fmla="*/ 488359 w 624661"/>
              <a:gd name="connsiteY102" fmla="*/ 12881 h 108588"/>
              <a:gd name="connsiteX103" fmla="*/ 488359 w 624661"/>
              <a:gd name="connsiteY103" fmla="*/ 48413 h 108588"/>
              <a:gd name="connsiteX104" fmla="*/ 531986 w 624661"/>
              <a:gd name="connsiteY104" fmla="*/ 48413 h 108588"/>
              <a:gd name="connsiteX105" fmla="*/ 531986 w 624661"/>
              <a:gd name="connsiteY105" fmla="*/ 61108 h 108588"/>
              <a:gd name="connsiteX106" fmla="*/ 488359 w 624661"/>
              <a:gd name="connsiteY106" fmla="*/ 61108 h 108588"/>
              <a:gd name="connsiteX107" fmla="*/ 488359 w 624661"/>
              <a:gd name="connsiteY107" fmla="*/ 107095 h 108588"/>
              <a:gd name="connsiteX108" fmla="*/ 474316 w 624661"/>
              <a:gd name="connsiteY108" fmla="*/ 107095 h 108588"/>
              <a:gd name="connsiteX109" fmla="*/ 474316 w 624661"/>
              <a:gd name="connsiteY109" fmla="*/ 0 h 108588"/>
              <a:gd name="connsiteX110" fmla="*/ 559226 w 624661"/>
              <a:gd name="connsiteY110" fmla="*/ 0 h 108588"/>
              <a:gd name="connsiteX111" fmla="*/ 624662 w 624661"/>
              <a:gd name="connsiteY111" fmla="*/ 0 h 108588"/>
              <a:gd name="connsiteX112" fmla="*/ 624662 w 624661"/>
              <a:gd name="connsiteY112" fmla="*/ 12881 h 108588"/>
              <a:gd name="connsiteX113" fmla="*/ 573269 w 624661"/>
              <a:gd name="connsiteY113" fmla="*/ 12881 h 108588"/>
              <a:gd name="connsiteX114" fmla="*/ 573269 w 624661"/>
              <a:gd name="connsiteY114" fmla="*/ 48413 h 108588"/>
              <a:gd name="connsiteX115" fmla="*/ 616893 w 624661"/>
              <a:gd name="connsiteY115" fmla="*/ 48413 h 108588"/>
              <a:gd name="connsiteX116" fmla="*/ 616893 w 624661"/>
              <a:gd name="connsiteY116" fmla="*/ 61108 h 108588"/>
              <a:gd name="connsiteX117" fmla="*/ 573269 w 624661"/>
              <a:gd name="connsiteY117" fmla="*/ 61108 h 108588"/>
              <a:gd name="connsiteX118" fmla="*/ 573269 w 624661"/>
              <a:gd name="connsiteY118" fmla="*/ 107095 h 108588"/>
              <a:gd name="connsiteX119" fmla="*/ 559226 w 624661"/>
              <a:gd name="connsiteY119" fmla="*/ 107095 h 108588"/>
              <a:gd name="connsiteX120" fmla="*/ 559226 w 624661"/>
              <a:gd name="connsiteY120" fmla="*/ 0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624661" h="108588">
                <a:moveTo>
                  <a:pt x="50795" y="76168"/>
                </a:moveTo>
                <a:lnTo>
                  <a:pt x="28386" y="76168"/>
                </a:lnTo>
                <a:lnTo>
                  <a:pt x="22111" y="107095"/>
                </a:ln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close/>
                <a:moveTo>
                  <a:pt x="53036" y="65713"/>
                </a:move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lnTo>
                  <a:pt x="53036" y="65713"/>
                </a:lnTo>
                <a:close/>
                <a:moveTo>
                  <a:pt x="169078" y="71687"/>
                </a:moveTo>
                <a:cubicBezTo>
                  <a:pt x="169078" y="77287"/>
                  <a:pt x="168182" y="82328"/>
                  <a:pt x="166389" y="86933"/>
                </a:cubicBezTo>
                <a:cubicBezTo>
                  <a:pt x="164696" y="91413"/>
                  <a:pt x="162206" y="95271"/>
                  <a:pt x="158919" y="98570"/>
                </a:cubicBezTo>
                <a:cubicBezTo>
                  <a:pt x="155732" y="101743"/>
                  <a:pt x="151798" y="104233"/>
                  <a:pt x="147117" y="106037"/>
                </a:cubicBezTo>
                <a:cubicBezTo>
                  <a:pt x="142535" y="107717"/>
                  <a:pt x="137406" y="108588"/>
                  <a:pt x="131729" y="108588"/>
                </a:cubicBezTo>
                <a:cubicBezTo>
                  <a:pt x="125354" y="108588"/>
                  <a:pt x="119827" y="107966"/>
                  <a:pt x="115146" y="106660"/>
                </a:cubicBezTo>
                <a:cubicBezTo>
                  <a:pt x="110465" y="105228"/>
                  <a:pt x="106481" y="103361"/>
                  <a:pt x="103194" y="100997"/>
                </a:cubicBezTo>
                <a:lnTo>
                  <a:pt x="103194" y="86311"/>
                </a:lnTo>
                <a:cubicBezTo>
                  <a:pt x="106580" y="89111"/>
                  <a:pt x="110465" y="91538"/>
                  <a:pt x="114847" y="93529"/>
                </a:cubicBezTo>
                <a:cubicBezTo>
                  <a:pt x="119329" y="95396"/>
                  <a:pt x="124956" y="96329"/>
                  <a:pt x="131729" y="96329"/>
                </a:cubicBezTo>
                <a:cubicBezTo>
                  <a:pt x="139099" y="96329"/>
                  <a:pt x="144776" y="94089"/>
                  <a:pt x="148760" y="89608"/>
                </a:cubicBezTo>
                <a:cubicBezTo>
                  <a:pt x="152844" y="85128"/>
                  <a:pt x="154885" y="79279"/>
                  <a:pt x="154885" y="71998"/>
                </a:cubicBezTo>
                <a:cubicBezTo>
                  <a:pt x="154885" y="64219"/>
                  <a:pt x="152893" y="58556"/>
                  <a:pt x="148909" y="54947"/>
                </a:cubicBezTo>
                <a:cubicBezTo>
                  <a:pt x="144926" y="51401"/>
                  <a:pt x="139896" y="49596"/>
                  <a:pt x="133820" y="49596"/>
                </a:cubicBezTo>
                <a:cubicBezTo>
                  <a:pt x="129338" y="49596"/>
                  <a:pt x="125753" y="50343"/>
                  <a:pt x="123064" y="51836"/>
                </a:cubicBezTo>
                <a:cubicBezTo>
                  <a:pt x="120474" y="53205"/>
                  <a:pt x="118482" y="54698"/>
                  <a:pt x="117088" y="56316"/>
                </a:cubicBezTo>
                <a:lnTo>
                  <a:pt x="106182" y="56316"/>
                </a:lnTo>
                <a:lnTo>
                  <a:pt x="106182" y="0"/>
                </a:lnTo>
                <a:lnTo>
                  <a:pt x="164148" y="0"/>
                </a:lnTo>
                <a:lnTo>
                  <a:pt x="164148" y="12881"/>
                </a:lnTo>
                <a:lnTo>
                  <a:pt x="118432" y="12881"/>
                </a:lnTo>
                <a:lnTo>
                  <a:pt x="118432" y="43498"/>
                </a:lnTo>
                <a:cubicBezTo>
                  <a:pt x="120424" y="42004"/>
                  <a:pt x="122865" y="40697"/>
                  <a:pt x="125753" y="39577"/>
                </a:cubicBezTo>
                <a:cubicBezTo>
                  <a:pt x="128641" y="38394"/>
                  <a:pt x="132077" y="37772"/>
                  <a:pt x="136061" y="37772"/>
                </a:cubicBezTo>
                <a:cubicBezTo>
                  <a:pt x="140643" y="37772"/>
                  <a:pt x="144926" y="38519"/>
                  <a:pt x="148909" y="40012"/>
                </a:cubicBezTo>
                <a:cubicBezTo>
                  <a:pt x="152993" y="41444"/>
                  <a:pt x="156529" y="43560"/>
                  <a:pt x="159517" y="46484"/>
                </a:cubicBezTo>
                <a:cubicBezTo>
                  <a:pt x="162505" y="49222"/>
                  <a:pt x="164845" y="52770"/>
                  <a:pt x="166538" y="57063"/>
                </a:cubicBezTo>
                <a:cubicBezTo>
                  <a:pt x="168232" y="61233"/>
                  <a:pt x="169078" y="66149"/>
                  <a:pt x="169078" y="71687"/>
                </a:cubicBezTo>
                <a:close/>
                <a:moveTo>
                  <a:pt x="218499" y="0"/>
                </a:moveTo>
                <a:lnTo>
                  <a:pt x="239415" y="0"/>
                </a:lnTo>
                <a:lnTo>
                  <a:pt x="277810" y="107095"/>
                </a:lnTo>
                <a:lnTo>
                  <a:pt x="262870" y="107095"/>
                </a:lnTo>
                <a:lnTo>
                  <a:pt x="251815" y="76478"/>
                </a:lnTo>
                <a:lnTo>
                  <a:pt x="204456" y="76478"/>
                </a:lnTo>
                <a:lnTo>
                  <a:pt x="193550" y="107095"/>
                </a:lnTo>
                <a:lnTo>
                  <a:pt x="180403" y="107095"/>
                </a:lnTo>
                <a:lnTo>
                  <a:pt x="218499" y="0"/>
                </a:lnTo>
                <a:close/>
                <a:moveTo>
                  <a:pt x="247333" y="63784"/>
                </a:moveTo>
                <a:lnTo>
                  <a:pt x="228210" y="10454"/>
                </a:lnTo>
                <a:lnTo>
                  <a:pt x="209087" y="63784"/>
                </a:lnTo>
                <a:lnTo>
                  <a:pt x="247333" y="63784"/>
                </a:lnTo>
                <a:close/>
                <a:moveTo>
                  <a:pt x="293405" y="0"/>
                </a:moveTo>
                <a:lnTo>
                  <a:pt x="358841" y="0"/>
                </a:lnTo>
                <a:lnTo>
                  <a:pt x="358841" y="12881"/>
                </a:lnTo>
                <a:lnTo>
                  <a:pt x="307448" y="12881"/>
                </a:lnTo>
                <a:lnTo>
                  <a:pt x="307448" y="48413"/>
                </a:lnTo>
                <a:lnTo>
                  <a:pt x="351072" y="48413"/>
                </a:lnTo>
                <a:lnTo>
                  <a:pt x="351072" y="61108"/>
                </a:lnTo>
                <a:lnTo>
                  <a:pt x="307448" y="61108"/>
                </a:lnTo>
                <a:lnTo>
                  <a:pt x="307448" y="107095"/>
                </a:lnTo>
                <a:lnTo>
                  <a:pt x="293405" y="107095"/>
                </a:lnTo>
                <a:lnTo>
                  <a:pt x="293405" y="0"/>
                </a:lnTo>
                <a:close/>
                <a:moveTo>
                  <a:pt x="399410" y="0"/>
                </a:moveTo>
                <a:lnTo>
                  <a:pt x="420326" y="0"/>
                </a:lnTo>
                <a:lnTo>
                  <a:pt x="458721" y="107095"/>
                </a:lnTo>
                <a:lnTo>
                  <a:pt x="443782" y="107095"/>
                </a:lnTo>
                <a:lnTo>
                  <a:pt x="432726" y="76478"/>
                </a:lnTo>
                <a:lnTo>
                  <a:pt x="385367" y="76478"/>
                </a:lnTo>
                <a:lnTo>
                  <a:pt x="374461" y="107095"/>
                </a:lnTo>
                <a:lnTo>
                  <a:pt x="361314" y="107095"/>
                </a:lnTo>
                <a:lnTo>
                  <a:pt x="399410" y="0"/>
                </a:lnTo>
                <a:close/>
                <a:moveTo>
                  <a:pt x="428244" y="63784"/>
                </a:moveTo>
                <a:lnTo>
                  <a:pt x="409121" y="10454"/>
                </a:lnTo>
                <a:lnTo>
                  <a:pt x="389998" y="63784"/>
                </a:lnTo>
                <a:lnTo>
                  <a:pt x="428244" y="63784"/>
                </a:lnTo>
                <a:close/>
                <a:moveTo>
                  <a:pt x="474316" y="0"/>
                </a:moveTo>
                <a:lnTo>
                  <a:pt x="539754" y="0"/>
                </a:lnTo>
                <a:lnTo>
                  <a:pt x="539754" y="12881"/>
                </a:lnTo>
                <a:lnTo>
                  <a:pt x="488359" y="12881"/>
                </a:lnTo>
                <a:lnTo>
                  <a:pt x="488359" y="48413"/>
                </a:lnTo>
                <a:lnTo>
                  <a:pt x="531986" y="48413"/>
                </a:lnTo>
                <a:lnTo>
                  <a:pt x="531986" y="61108"/>
                </a:lnTo>
                <a:lnTo>
                  <a:pt x="488359" y="61108"/>
                </a:lnTo>
                <a:lnTo>
                  <a:pt x="488359" y="107095"/>
                </a:lnTo>
                <a:lnTo>
                  <a:pt x="474316" y="107095"/>
                </a:lnTo>
                <a:lnTo>
                  <a:pt x="474316" y="0"/>
                </a:lnTo>
                <a:close/>
                <a:moveTo>
                  <a:pt x="559226" y="0"/>
                </a:moveTo>
                <a:lnTo>
                  <a:pt x="624662" y="0"/>
                </a:lnTo>
                <a:lnTo>
                  <a:pt x="624662" y="12881"/>
                </a:lnTo>
                <a:lnTo>
                  <a:pt x="573269" y="12881"/>
                </a:lnTo>
                <a:lnTo>
                  <a:pt x="573269" y="48413"/>
                </a:lnTo>
                <a:lnTo>
                  <a:pt x="616893" y="48413"/>
                </a:lnTo>
                <a:lnTo>
                  <a:pt x="616893" y="61108"/>
                </a:lnTo>
                <a:lnTo>
                  <a:pt x="573269" y="61108"/>
                </a:lnTo>
                <a:lnTo>
                  <a:pt x="573269" y="107095"/>
                </a:lnTo>
                <a:lnTo>
                  <a:pt x="559226" y="107095"/>
                </a:lnTo>
                <a:lnTo>
                  <a:pt x="559226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0" name="Полилиния 979">
            <a:extLst>
              <a:ext uri="{FF2B5EF4-FFF2-40B4-BE49-F238E27FC236}">
                <a16:creationId xmlns:a16="http://schemas.microsoft.com/office/drawing/2014/main" id="{9B2D707B-69CB-7544-912A-232247AD2ED4}"/>
              </a:ext>
            </a:extLst>
          </p:cNvPr>
          <p:cNvSpPr/>
          <p:nvPr userDrawn="1"/>
        </p:nvSpPr>
        <p:spPr>
          <a:xfrm>
            <a:off x="12270615" y="9597429"/>
            <a:ext cx="1398954" cy="726227"/>
          </a:xfrm>
          <a:custGeom>
            <a:avLst/>
            <a:gdLst>
              <a:gd name="connsiteX0" fmla="*/ 0 w 1198727"/>
              <a:gd name="connsiteY0" fmla="*/ 1722 h 622284"/>
              <a:gd name="connsiteX1" fmla="*/ 1198728 w 1198727"/>
              <a:gd name="connsiteY1" fmla="*/ 1722 h 622284"/>
              <a:gd name="connsiteX2" fmla="*/ 1198728 w 1198727"/>
              <a:gd name="connsiteY2" fmla="*/ 624006 h 622284"/>
              <a:gd name="connsiteX3" fmla="*/ 0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722"/>
                </a:moveTo>
                <a:lnTo>
                  <a:pt x="1198728" y="1722"/>
                </a:lnTo>
                <a:lnTo>
                  <a:pt x="1198728" y="624006"/>
                </a:lnTo>
                <a:lnTo>
                  <a:pt x="0" y="624006"/>
                </a:lnTo>
                <a:close/>
              </a:path>
            </a:pathLst>
          </a:custGeom>
          <a:solidFill>
            <a:srgbClr val="9E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1" name="Полилиния 980">
            <a:extLst>
              <a:ext uri="{FF2B5EF4-FFF2-40B4-BE49-F238E27FC236}">
                <a16:creationId xmlns:a16="http://schemas.microsoft.com/office/drawing/2014/main" id="{2FFA3CED-5E10-7E4F-A210-5DDFC98A766D}"/>
              </a:ext>
            </a:extLst>
          </p:cNvPr>
          <p:cNvSpPr/>
          <p:nvPr userDrawn="1"/>
        </p:nvSpPr>
        <p:spPr>
          <a:xfrm>
            <a:off x="13814863" y="3787620"/>
            <a:ext cx="1398954" cy="726227"/>
          </a:xfrm>
          <a:custGeom>
            <a:avLst/>
            <a:gdLst>
              <a:gd name="connsiteX0" fmla="*/ 213 w 1198727"/>
              <a:gd name="connsiteY0" fmla="*/ 1022 h 622284"/>
              <a:gd name="connsiteX1" fmla="*/ 1198941 w 1198727"/>
              <a:gd name="connsiteY1" fmla="*/ 1022 h 622284"/>
              <a:gd name="connsiteX2" fmla="*/ 1198941 w 1198727"/>
              <a:gd name="connsiteY2" fmla="*/ 623306 h 622284"/>
              <a:gd name="connsiteX3" fmla="*/ 213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022"/>
                </a:moveTo>
                <a:lnTo>
                  <a:pt x="1198941" y="1022"/>
                </a:lnTo>
                <a:lnTo>
                  <a:pt x="1198941" y="623306"/>
                </a:lnTo>
                <a:lnTo>
                  <a:pt x="213" y="623306"/>
                </a:lnTo>
                <a:close/>
              </a:path>
            </a:pathLst>
          </a:custGeom>
          <a:solidFill>
            <a:srgbClr val="00463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2" name="Полилиния 981">
            <a:extLst>
              <a:ext uri="{FF2B5EF4-FFF2-40B4-BE49-F238E27FC236}">
                <a16:creationId xmlns:a16="http://schemas.microsoft.com/office/drawing/2014/main" id="{BCDD7BE7-3AD2-CCAC-FA8B-05A0F81EA157}"/>
              </a:ext>
            </a:extLst>
          </p:cNvPr>
          <p:cNvSpPr/>
          <p:nvPr userDrawn="1"/>
        </p:nvSpPr>
        <p:spPr>
          <a:xfrm>
            <a:off x="13938073" y="4089368"/>
            <a:ext cx="697021" cy="128468"/>
          </a:xfrm>
          <a:custGeom>
            <a:avLst/>
            <a:gdLst>
              <a:gd name="connsiteX0" fmla="*/ 22111 w 597259"/>
              <a:gd name="connsiteY0" fmla="*/ 108588 h 110081"/>
              <a:gd name="connsiteX1" fmla="*/ 10159 w 597259"/>
              <a:gd name="connsiteY1" fmla="*/ 108588 h 110081"/>
              <a:gd name="connsiteX2" fmla="*/ 16434 w 597259"/>
              <a:gd name="connsiteY2" fmla="*/ 77661 h 110081"/>
              <a:gd name="connsiteX3" fmla="*/ 0 w 597259"/>
              <a:gd name="connsiteY3" fmla="*/ 77661 h 110081"/>
              <a:gd name="connsiteX4" fmla="*/ 0 w 597259"/>
              <a:gd name="connsiteY4" fmla="*/ 67206 h 110081"/>
              <a:gd name="connsiteX5" fmla="*/ 18675 w 597259"/>
              <a:gd name="connsiteY5" fmla="*/ 67206 h 110081"/>
              <a:gd name="connsiteX6" fmla="*/ 24202 w 597259"/>
              <a:gd name="connsiteY6" fmla="*/ 40012 h 110081"/>
              <a:gd name="connsiteX7" fmla="*/ 4034 w 597259"/>
              <a:gd name="connsiteY7" fmla="*/ 40012 h 110081"/>
              <a:gd name="connsiteX8" fmla="*/ 4034 w 597259"/>
              <a:gd name="connsiteY8" fmla="*/ 29559 h 110081"/>
              <a:gd name="connsiteX9" fmla="*/ 26294 w 597259"/>
              <a:gd name="connsiteY9" fmla="*/ 29559 h 110081"/>
              <a:gd name="connsiteX10" fmla="*/ 32120 w 597259"/>
              <a:gd name="connsiteY10" fmla="*/ 1493 h 110081"/>
              <a:gd name="connsiteX11" fmla="*/ 44072 w 597259"/>
              <a:gd name="connsiteY11" fmla="*/ 1493 h 110081"/>
              <a:gd name="connsiteX12" fmla="*/ 38246 w 597259"/>
              <a:gd name="connsiteY12" fmla="*/ 29559 h 110081"/>
              <a:gd name="connsiteX13" fmla="*/ 60655 w 597259"/>
              <a:gd name="connsiteY13" fmla="*/ 29559 h 110081"/>
              <a:gd name="connsiteX14" fmla="*/ 66482 w 597259"/>
              <a:gd name="connsiteY14" fmla="*/ 1493 h 110081"/>
              <a:gd name="connsiteX15" fmla="*/ 78434 w 597259"/>
              <a:gd name="connsiteY15" fmla="*/ 1493 h 110081"/>
              <a:gd name="connsiteX16" fmla="*/ 72607 w 597259"/>
              <a:gd name="connsiteY16" fmla="*/ 29559 h 110081"/>
              <a:gd name="connsiteX17" fmla="*/ 89340 w 597259"/>
              <a:gd name="connsiteY17" fmla="*/ 29559 h 110081"/>
              <a:gd name="connsiteX18" fmla="*/ 89340 w 597259"/>
              <a:gd name="connsiteY18" fmla="*/ 40012 h 110081"/>
              <a:gd name="connsiteX19" fmla="*/ 70516 w 597259"/>
              <a:gd name="connsiteY19" fmla="*/ 40012 h 110081"/>
              <a:gd name="connsiteX20" fmla="*/ 64988 w 597259"/>
              <a:gd name="connsiteY20" fmla="*/ 67206 h 110081"/>
              <a:gd name="connsiteX21" fmla="*/ 85306 w 597259"/>
              <a:gd name="connsiteY21" fmla="*/ 67206 h 110081"/>
              <a:gd name="connsiteX22" fmla="*/ 85306 w 597259"/>
              <a:gd name="connsiteY22" fmla="*/ 77661 h 110081"/>
              <a:gd name="connsiteX23" fmla="*/ 62747 w 597259"/>
              <a:gd name="connsiteY23" fmla="*/ 77661 h 110081"/>
              <a:gd name="connsiteX24" fmla="*/ 56472 w 597259"/>
              <a:gd name="connsiteY24" fmla="*/ 108588 h 110081"/>
              <a:gd name="connsiteX25" fmla="*/ 44520 w 597259"/>
              <a:gd name="connsiteY25" fmla="*/ 108588 h 110081"/>
              <a:gd name="connsiteX26" fmla="*/ 50795 w 597259"/>
              <a:gd name="connsiteY26" fmla="*/ 77661 h 110081"/>
              <a:gd name="connsiteX27" fmla="*/ 28386 w 597259"/>
              <a:gd name="connsiteY27" fmla="*/ 77661 h 110081"/>
              <a:gd name="connsiteX28" fmla="*/ 22111 w 597259"/>
              <a:gd name="connsiteY28" fmla="*/ 108588 h 110081"/>
              <a:gd name="connsiteX29" fmla="*/ 30626 w 597259"/>
              <a:gd name="connsiteY29" fmla="*/ 67206 h 110081"/>
              <a:gd name="connsiteX30" fmla="*/ 53036 w 597259"/>
              <a:gd name="connsiteY30" fmla="*/ 67206 h 110081"/>
              <a:gd name="connsiteX31" fmla="*/ 58564 w 597259"/>
              <a:gd name="connsiteY31" fmla="*/ 40012 h 110081"/>
              <a:gd name="connsiteX32" fmla="*/ 36154 w 597259"/>
              <a:gd name="connsiteY32" fmla="*/ 40012 h 110081"/>
              <a:gd name="connsiteX33" fmla="*/ 30626 w 597259"/>
              <a:gd name="connsiteY33" fmla="*/ 67206 h 110081"/>
              <a:gd name="connsiteX34" fmla="*/ 136661 w 597259"/>
              <a:gd name="connsiteY34" fmla="*/ 110082 h 110081"/>
              <a:gd name="connsiteX35" fmla="*/ 118435 w 597259"/>
              <a:gd name="connsiteY35" fmla="*/ 104233 h 110081"/>
              <a:gd name="connsiteX36" fmla="*/ 105736 w 597259"/>
              <a:gd name="connsiteY36" fmla="*/ 86311 h 110081"/>
              <a:gd name="connsiteX37" fmla="*/ 101254 w 597259"/>
              <a:gd name="connsiteY37" fmla="*/ 54947 h 110081"/>
              <a:gd name="connsiteX38" fmla="*/ 105736 w 597259"/>
              <a:gd name="connsiteY38" fmla="*/ 23584 h 110081"/>
              <a:gd name="connsiteX39" fmla="*/ 118435 w 597259"/>
              <a:gd name="connsiteY39" fmla="*/ 5849 h 110081"/>
              <a:gd name="connsiteX40" fmla="*/ 136661 w 597259"/>
              <a:gd name="connsiteY40" fmla="*/ 186 h 110081"/>
              <a:gd name="connsiteX41" fmla="*/ 154738 w 597259"/>
              <a:gd name="connsiteY41" fmla="*/ 5849 h 110081"/>
              <a:gd name="connsiteX42" fmla="*/ 167138 w 597259"/>
              <a:gd name="connsiteY42" fmla="*/ 23584 h 110081"/>
              <a:gd name="connsiteX43" fmla="*/ 171620 w 597259"/>
              <a:gd name="connsiteY43" fmla="*/ 54698 h 110081"/>
              <a:gd name="connsiteX44" fmla="*/ 167138 w 597259"/>
              <a:gd name="connsiteY44" fmla="*/ 86062 h 110081"/>
              <a:gd name="connsiteX45" fmla="*/ 154738 w 597259"/>
              <a:gd name="connsiteY45" fmla="*/ 104233 h 110081"/>
              <a:gd name="connsiteX46" fmla="*/ 136661 w 597259"/>
              <a:gd name="connsiteY46" fmla="*/ 110082 h 110081"/>
              <a:gd name="connsiteX47" fmla="*/ 136512 w 597259"/>
              <a:gd name="connsiteY47" fmla="*/ 98258 h 110081"/>
              <a:gd name="connsiteX48" fmla="*/ 147866 w 597259"/>
              <a:gd name="connsiteY48" fmla="*/ 94275 h 110081"/>
              <a:gd name="connsiteX49" fmla="*/ 155037 w 597259"/>
              <a:gd name="connsiteY49" fmla="*/ 80648 h 110081"/>
              <a:gd name="connsiteX50" fmla="*/ 157577 w 597259"/>
              <a:gd name="connsiteY50" fmla="*/ 55134 h 110081"/>
              <a:gd name="connsiteX51" fmla="*/ 155187 w 597259"/>
              <a:gd name="connsiteY51" fmla="*/ 29745 h 110081"/>
              <a:gd name="connsiteX52" fmla="*/ 148016 w 597259"/>
              <a:gd name="connsiteY52" fmla="*/ 16117 h 110081"/>
              <a:gd name="connsiteX53" fmla="*/ 136661 w 597259"/>
              <a:gd name="connsiteY53" fmla="*/ 11947 h 110081"/>
              <a:gd name="connsiteX54" fmla="*/ 125158 w 597259"/>
              <a:gd name="connsiteY54" fmla="*/ 16117 h 110081"/>
              <a:gd name="connsiteX55" fmla="*/ 117837 w 597259"/>
              <a:gd name="connsiteY55" fmla="*/ 29745 h 110081"/>
              <a:gd name="connsiteX56" fmla="*/ 115298 w 597259"/>
              <a:gd name="connsiteY56" fmla="*/ 55134 h 110081"/>
              <a:gd name="connsiteX57" fmla="*/ 117688 w 597259"/>
              <a:gd name="connsiteY57" fmla="*/ 80648 h 110081"/>
              <a:gd name="connsiteX58" fmla="*/ 125008 w 597259"/>
              <a:gd name="connsiteY58" fmla="*/ 94275 h 110081"/>
              <a:gd name="connsiteX59" fmla="*/ 136512 w 597259"/>
              <a:gd name="connsiteY59" fmla="*/ 98258 h 110081"/>
              <a:gd name="connsiteX60" fmla="*/ 218799 w 597259"/>
              <a:gd name="connsiteY60" fmla="*/ 110082 h 110081"/>
              <a:gd name="connsiteX61" fmla="*/ 200572 w 597259"/>
              <a:gd name="connsiteY61" fmla="*/ 104233 h 110081"/>
              <a:gd name="connsiteX62" fmla="*/ 187874 w 597259"/>
              <a:gd name="connsiteY62" fmla="*/ 86311 h 110081"/>
              <a:gd name="connsiteX63" fmla="*/ 183392 w 597259"/>
              <a:gd name="connsiteY63" fmla="*/ 54947 h 110081"/>
              <a:gd name="connsiteX64" fmla="*/ 187874 w 597259"/>
              <a:gd name="connsiteY64" fmla="*/ 23584 h 110081"/>
              <a:gd name="connsiteX65" fmla="*/ 200572 w 597259"/>
              <a:gd name="connsiteY65" fmla="*/ 5849 h 110081"/>
              <a:gd name="connsiteX66" fmla="*/ 218799 w 597259"/>
              <a:gd name="connsiteY66" fmla="*/ 186 h 110081"/>
              <a:gd name="connsiteX67" fmla="*/ 236876 w 597259"/>
              <a:gd name="connsiteY67" fmla="*/ 5849 h 110081"/>
              <a:gd name="connsiteX68" fmla="*/ 249276 w 597259"/>
              <a:gd name="connsiteY68" fmla="*/ 23584 h 110081"/>
              <a:gd name="connsiteX69" fmla="*/ 253758 w 597259"/>
              <a:gd name="connsiteY69" fmla="*/ 54698 h 110081"/>
              <a:gd name="connsiteX70" fmla="*/ 249276 w 597259"/>
              <a:gd name="connsiteY70" fmla="*/ 86062 h 110081"/>
              <a:gd name="connsiteX71" fmla="*/ 236876 w 597259"/>
              <a:gd name="connsiteY71" fmla="*/ 104233 h 110081"/>
              <a:gd name="connsiteX72" fmla="*/ 218799 w 597259"/>
              <a:gd name="connsiteY72" fmla="*/ 110082 h 110081"/>
              <a:gd name="connsiteX73" fmla="*/ 218649 w 597259"/>
              <a:gd name="connsiteY73" fmla="*/ 98258 h 110081"/>
              <a:gd name="connsiteX74" fmla="*/ 230004 w 597259"/>
              <a:gd name="connsiteY74" fmla="*/ 94275 h 110081"/>
              <a:gd name="connsiteX75" fmla="*/ 237175 w 597259"/>
              <a:gd name="connsiteY75" fmla="*/ 80648 h 110081"/>
              <a:gd name="connsiteX76" fmla="*/ 239714 w 597259"/>
              <a:gd name="connsiteY76" fmla="*/ 55134 h 110081"/>
              <a:gd name="connsiteX77" fmla="*/ 237324 w 597259"/>
              <a:gd name="connsiteY77" fmla="*/ 29745 h 110081"/>
              <a:gd name="connsiteX78" fmla="*/ 230153 w 597259"/>
              <a:gd name="connsiteY78" fmla="*/ 16117 h 110081"/>
              <a:gd name="connsiteX79" fmla="*/ 218799 w 597259"/>
              <a:gd name="connsiteY79" fmla="*/ 11947 h 110081"/>
              <a:gd name="connsiteX80" fmla="*/ 207295 w 597259"/>
              <a:gd name="connsiteY80" fmla="*/ 16117 h 110081"/>
              <a:gd name="connsiteX81" fmla="*/ 199975 w 597259"/>
              <a:gd name="connsiteY81" fmla="*/ 29745 h 110081"/>
              <a:gd name="connsiteX82" fmla="*/ 197435 w 597259"/>
              <a:gd name="connsiteY82" fmla="*/ 55134 h 110081"/>
              <a:gd name="connsiteX83" fmla="*/ 199825 w 597259"/>
              <a:gd name="connsiteY83" fmla="*/ 80648 h 110081"/>
              <a:gd name="connsiteX84" fmla="*/ 207146 w 597259"/>
              <a:gd name="connsiteY84" fmla="*/ 94275 h 110081"/>
              <a:gd name="connsiteX85" fmla="*/ 218649 w 597259"/>
              <a:gd name="connsiteY85" fmla="*/ 98258 h 110081"/>
              <a:gd name="connsiteX86" fmla="*/ 323053 w 597259"/>
              <a:gd name="connsiteY86" fmla="*/ 108588 h 110081"/>
              <a:gd name="connsiteX87" fmla="*/ 309906 w 597259"/>
              <a:gd name="connsiteY87" fmla="*/ 108588 h 110081"/>
              <a:gd name="connsiteX88" fmla="*/ 309906 w 597259"/>
              <a:gd name="connsiteY88" fmla="*/ 83199 h 110081"/>
              <a:gd name="connsiteX89" fmla="*/ 263593 w 597259"/>
              <a:gd name="connsiteY89" fmla="*/ 83199 h 110081"/>
              <a:gd name="connsiteX90" fmla="*/ 263593 w 597259"/>
              <a:gd name="connsiteY90" fmla="*/ 73927 h 110081"/>
              <a:gd name="connsiteX91" fmla="*/ 305424 w 597259"/>
              <a:gd name="connsiteY91" fmla="*/ 1493 h 110081"/>
              <a:gd name="connsiteX92" fmla="*/ 323053 w 597259"/>
              <a:gd name="connsiteY92" fmla="*/ 1493 h 110081"/>
              <a:gd name="connsiteX93" fmla="*/ 323053 w 597259"/>
              <a:gd name="connsiteY93" fmla="*/ 71873 h 110081"/>
              <a:gd name="connsiteX94" fmla="*/ 337545 w 597259"/>
              <a:gd name="connsiteY94" fmla="*/ 71873 h 110081"/>
              <a:gd name="connsiteX95" fmla="*/ 337545 w 597259"/>
              <a:gd name="connsiteY95" fmla="*/ 83199 h 110081"/>
              <a:gd name="connsiteX96" fmla="*/ 323053 w 597259"/>
              <a:gd name="connsiteY96" fmla="*/ 83199 h 110081"/>
              <a:gd name="connsiteX97" fmla="*/ 323053 w 597259"/>
              <a:gd name="connsiteY97" fmla="*/ 108588 h 110081"/>
              <a:gd name="connsiteX98" fmla="*/ 277188 w 597259"/>
              <a:gd name="connsiteY98" fmla="*/ 71873 h 110081"/>
              <a:gd name="connsiteX99" fmla="*/ 309906 w 597259"/>
              <a:gd name="connsiteY99" fmla="*/ 71873 h 110081"/>
              <a:gd name="connsiteX100" fmla="*/ 309906 w 597259"/>
              <a:gd name="connsiteY100" fmla="*/ 16117 h 110081"/>
              <a:gd name="connsiteX101" fmla="*/ 277188 w 597259"/>
              <a:gd name="connsiteY101" fmla="*/ 71873 h 110081"/>
              <a:gd name="connsiteX102" fmla="*/ 419683 w 597259"/>
              <a:gd name="connsiteY102" fmla="*/ 73491 h 110081"/>
              <a:gd name="connsiteX103" fmla="*/ 414902 w 597259"/>
              <a:gd name="connsiteY103" fmla="*/ 92782 h 110081"/>
              <a:gd name="connsiteX104" fmla="*/ 402203 w 597259"/>
              <a:gd name="connsiteY104" fmla="*/ 105601 h 110081"/>
              <a:gd name="connsiteX105" fmla="*/ 384126 w 597259"/>
              <a:gd name="connsiteY105" fmla="*/ 110082 h 110081"/>
              <a:gd name="connsiteX106" fmla="*/ 362463 w 597259"/>
              <a:gd name="connsiteY106" fmla="*/ 104108 h 110081"/>
              <a:gd name="connsiteX107" fmla="*/ 350362 w 597259"/>
              <a:gd name="connsiteY107" fmla="*/ 87555 h 110081"/>
              <a:gd name="connsiteX108" fmla="*/ 346627 w 597259"/>
              <a:gd name="connsiteY108" fmla="*/ 63161 h 110081"/>
              <a:gd name="connsiteX109" fmla="*/ 351109 w 597259"/>
              <a:gd name="connsiteY109" fmla="*/ 30181 h 110081"/>
              <a:gd name="connsiteX110" fmla="*/ 365152 w 597259"/>
              <a:gd name="connsiteY110" fmla="*/ 8089 h 110081"/>
              <a:gd name="connsiteX111" fmla="*/ 389654 w 597259"/>
              <a:gd name="connsiteY111" fmla="*/ 0 h 110081"/>
              <a:gd name="connsiteX112" fmla="*/ 412213 w 597259"/>
              <a:gd name="connsiteY112" fmla="*/ 5538 h 110081"/>
              <a:gd name="connsiteX113" fmla="*/ 412213 w 597259"/>
              <a:gd name="connsiteY113" fmla="*/ 18855 h 110081"/>
              <a:gd name="connsiteX114" fmla="*/ 389654 w 597259"/>
              <a:gd name="connsiteY114" fmla="*/ 12259 h 110081"/>
              <a:gd name="connsiteX115" fmla="*/ 374116 w 597259"/>
              <a:gd name="connsiteY115" fmla="*/ 17361 h 110081"/>
              <a:gd name="connsiteX116" fmla="*/ 364256 w 597259"/>
              <a:gd name="connsiteY116" fmla="*/ 31238 h 110081"/>
              <a:gd name="connsiteX117" fmla="*/ 360073 w 597259"/>
              <a:gd name="connsiteY117" fmla="*/ 50778 h 110081"/>
              <a:gd name="connsiteX118" fmla="*/ 371427 w 597259"/>
              <a:gd name="connsiteY118" fmla="*/ 40759 h 110081"/>
              <a:gd name="connsiteX119" fmla="*/ 385470 w 597259"/>
              <a:gd name="connsiteY119" fmla="*/ 37523 h 110081"/>
              <a:gd name="connsiteX120" fmla="*/ 402801 w 597259"/>
              <a:gd name="connsiteY120" fmla="*/ 41693 h 110081"/>
              <a:gd name="connsiteX121" fmla="*/ 415051 w 597259"/>
              <a:gd name="connsiteY121" fmla="*/ 53952 h 110081"/>
              <a:gd name="connsiteX122" fmla="*/ 419683 w 597259"/>
              <a:gd name="connsiteY122" fmla="*/ 73491 h 110081"/>
              <a:gd name="connsiteX123" fmla="*/ 383678 w 597259"/>
              <a:gd name="connsiteY123" fmla="*/ 98134 h 110081"/>
              <a:gd name="connsiteX124" fmla="*/ 394434 w 597259"/>
              <a:gd name="connsiteY124" fmla="*/ 95458 h 110081"/>
              <a:gd name="connsiteX125" fmla="*/ 402352 w 597259"/>
              <a:gd name="connsiteY125" fmla="*/ 87244 h 110081"/>
              <a:gd name="connsiteX126" fmla="*/ 405490 w 597259"/>
              <a:gd name="connsiteY126" fmla="*/ 73803 h 110081"/>
              <a:gd name="connsiteX127" fmla="*/ 402502 w 597259"/>
              <a:gd name="connsiteY127" fmla="*/ 60174 h 110081"/>
              <a:gd name="connsiteX128" fmla="*/ 394882 w 597259"/>
              <a:gd name="connsiteY128" fmla="*/ 51961 h 110081"/>
              <a:gd name="connsiteX129" fmla="*/ 385172 w 597259"/>
              <a:gd name="connsiteY129" fmla="*/ 49160 h 110081"/>
              <a:gd name="connsiteX130" fmla="*/ 368589 w 597259"/>
              <a:gd name="connsiteY130" fmla="*/ 55570 h 110081"/>
              <a:gd name="connsiteX131" fmla="*/ 362015 w 597259"/>
              <a:gd name="connsiteY131" fmla="*/ 74114 h 110081"/>
              <a:gd name="connsiteX132" fmla="*/ 367842 w 597259"/>
              <a:gd name="connsiteY132" fmla="*/ 91538 h 110081"/>
              <a:gd name="connsiteX133" fmla="*/ 383678 w 597259"/>
              <a:gd name="connsiteY133" fmla="*/ 98134 h 110081"/>
              <a:gd name="connsiteX134" fmla="*/ 448634 w 597259"/>
              <a:gd name="connsiteY134" fmla="*/ 58992 h 110081"/>
              <a:gd name="connsiteX135" fmla="*/ 448634 w 597259"/>
              <a:gd name="connsiteY135" fmla="*/ 46298 h 110081"/>
              <a:gd name="connsiteX136" fmla="*/ 462977 w 597259"/>
              <a:gd name="connsiteY136" fmla="*/ 46298 h 110081"/>
              <a:gd name="connsiteX137" fmla="*/ 476572 w 597259"/>
              <a:gd name="connsiteY137" fmla="*/ 41817 h 110081"/>
              <a:gd name="connsiteX138" fmla="*/ 481950 w 597259"/>
              <a:gd name="connsiteY138" fmla="*/ 28812 h 110081"/>
              <a:gd name="connsiteX139" fmla="*/ 477020 w 597259"/>
              <a:gd name="connsiteY139" fmla="*/ 16864 h 110081"/>
              <a:gd name="connsiteX140" fmla="*/ 462827 w 597259"/>
              <a:gd name="connsiteY140" fmla="*/ 12383 h 110081"/>
              <a:gd name="connsiteX141" fmla="*/ 448186 w 597259"/>
              <a:gd name="connsiteY141" fmla="*/ 15246 h 110081"/>
              <a:gd name="connsiteX142" fmla="*/ 434143 w 597259"/>
              <a:gd name="connsiteY142" fmla="*/ 24331 h 110081"/>
              <a:gd name="connsiteX143" fmla="*/ 434143 w 597259"/>
              <a:gd name="connsiteY143" fmla="*/ 9707 h 110081"/>
              <a:gd name="connsiteX144" fmla="*/ 462977 w 597259"/>
              <a:gd name="connsiteY144" fmla="*/ 0 h 110081"/>
              <a:gd name="connsiteX145" fmla="*/ 487030 w 597259"/>
              <a:gd name="connsiteY145" fmla="*/ 7779 h 110081"/>
              <a:gd name="connsiteX146" fmla="*/ 495844 w 597259"/>
              <a:gd name="connsiteY146" fmla="*/ 28065 h 110081"/>
              <a:gd name="connsiteX147" fmla="*/ 490167 w 597259"/>
              <a:gd name="connsiteY147" fmla="*/ 44244 h 110081"/>
              <a:gd name="connsiteX148" fmla="*/ 476870 w 597259"/>
              <a:gd name="connsiteY148" fmla="*/ 52147 h 110081"/>
              <a:gd name="connsiteX149" fmla="*/ 488374 w 597259"/>
              <a:gd name="connsiteY149" fmla="*/ 56441 h 110081"/>
              <a:gd name="connsiteX150" fmla="*/ 497039 w 597259"/>
              <a:gd name="connsiteY150" fmla="*/ 65153 h 110081"/>
              <a:gd name="connsiteX151" fmla="*/ 500326 w 597259"/>
              <a:gd name="connsiteY151" fmla="*/ 77661 h 110081"/>
              <a:gd name="connsiteX152" fmla="*/ 495396 w 597259"/>
              <a:gd name="connsiteY152" fmla="*/ 94836 h 110081"/>
              <a:gd name="connsiteX153" fmla="*/ 481801 w 597259"/>
              <a:gd name="connsiteY153" fmla="*/ 106224 h 110081"/>
              <a:gd name="connsiteX154" fmla="*/ 461931 w 597259"/>
              <a:gd name="connsiteY154" fmla="*/ 110082 h 110081"/>
              <a:gd name="connsiteX155" fmla="*/ 431454 w 597259"/>
              <a:gd name="connsiteY155" fmla="*/ 100997 h 110081"/>
              <a:gd name="connsiteX156" fmla="*/ 431454 w 597259"/>
              <a:gd name="connsiteY156" fmla="*/ 86062 h 110081"/>
              <a:gd name="connsiteX157" fmla="*/ 445198 w 597259"/>
              <a:gd name="connsiteY157" fmla="*/ 94711 h 110081"/>
              <a:gd name="connsiteX158" fmla="*/ 462080 w 597259"/>
              <a:gd name="connsiteY158" fmla="*/ 97823 h 110081"/>
              <a:gd name="connsiteX159" fmla="*/ 479410 w 597259"/>
              <a:gd name="connsiteY159" fmla="*/ 92596 h 110081"/>
              <a:gd name="connsiteX160" fmla="*/ 485834 w 597259"/>
              <a:gd name="connsiteY160" fmla="*/ 77972 h 110081"/>
              <a:gd name="connsiteX161" fmla="*/ 480008 w 597259"/>
              <a:gd name="connsiteY161" fmla="*/ 64095 h 110081"/>
              <a:gd name="connsiteX162" fmla="*/ 462379 w 597259"/>
              <a:gd name="connsiteY162" fmla="*/ 58992 h 110081"/>
              <a:gd name="connsiteX163" fmla="*/ 448634 w 597259"/>
              <a:gd name="connsiteY163" fmla="*/ 58992 h 110081"/>
              <a:gd name="connsiteX164" fmla="*/ 564990 w 597259"/>
              <a:gd name="connsiteY164" fmla="*/ 110082 h 110081"/>
              <a:gd name="connsiteX165" fmla="*/ 537202 w 597259"/>
              <a:gd name="connsiteY165" fmla="*/ 103486 h 110081"/>
              <a:gd name="connsiteX166" fmla="*/ 518826 w 597259"/>
              <a:gd name="connsiteY166" fmla="*/ 84693 h 110081"/>
              <a:gd name="connsiteX167" fmla="*/ 512253 w 597259"/>
              <a:gd name="connsiteY167" fmla="*/ 55134 h 110081"/>
              <a:gd name="connsiteX168" fmla="*/ 525848 w 597259"/>
              <a:gd name="connsiteY168" fmla="*/ 14810 h 110081"/>
              <a:gd name="connsiteX169" fmla="*/ 564691 w 597259"/>
              <a:gd name="connsiteY169" fmla="*/ 186 h 110081"/>
              <a:gd name="connsiteX170" fmla="*/ 582619 w 597259"/>
              <a:gd name="connsiteY170" fmla="*/ 2240 h 110081"/>
              <a:gd name="connsiteX171" fmla="*/ 597260 w 597259"/>
              <a:gd name="connsiteY171" fmla="*/ 7902 h 110081"/>
              <a:gd name="connsiteX172" fmla="*/ 597260 w 597259"/>
              <a:gd name="connsiteY172" fmla="*/ 21344 h 110081"/>
              <a:gd name="connsiteX173" fmla="*/ 582171 w 597259"/>
              <a:gd name="connsiteY173" fmla="*/ 15121 h 110081"/>
              <a:gd name="connsiteX174" fmla="*/ 564542 w 597259"/>
              <a:gd name="connsiteY174" fmla="*/ 12881 h 110081"/>
              <a:gd name="connsiteX175" fmla="*/ 536605 w 597259"/>
              <a:gd name="connsiteY175" fmla="*/ 23459 h 110081"/>
              <a:gd name="connsiteX176" fmla="*/ 527491 w 597259"/>
              <a:gd name="connsiteY176" fmla="*/ 55134 h 110081"/>
              <a:gd name="connsiteX177" fmla="*/ 537352 w 597259"/>
              <a:gd name="connsiteY177" fmla="*/ 86933 h 110081"/>
              <a:gd name="connsiteX178" fmla="*/ 566185 w 597259"/>
              <a:gd name="connsiteY178" fmla="*/ 97387 h 110081"/>
              <a:gd name="connsiteX179" fmla="*/ 597260 w 597259"/>
              <a:gd name="connsiteY179" fmla="*/ 87555 h 110081"/>
              <a:gd name="connsiteX180" fmla="*/ 597260 w 597259"/>
              <a:gd name="connsiteY180" fmla="*/ 100997 h 110081"/>
              <a:gd name="connsiteX181" fmla="*/ 583366 w 597259"/>
              <a:gd name="connsiteY181" fmla="*/ 107717 h 110081"/>
              <a:gd name="connsiteX182" fmla="*/ 564990 w 597259"/>
              <a:gd name="connsiteY182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25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323053" y="108588"/>
                </a:moveTo>
                <a:lnTo>
                  <a:pt x="309906" y="108588"/>
                </a:lnTo>
                <a:lnTo>
                  <a:pt x="309906" y="83199"/>
                </a:lnTo>
                <a:lnTo>
                  <a:pt x="263593" y="83199"/>
                </a:lnTo>
                <a:lnTo>
                  <a:pt x="263593" y="73927"/>
                </a:lnTo>
                <a:lnTo>
                  <a:pt x="305424" y="1493"/>
                </a:lnTo>
                <a:lnTo>
                  <a:pt x="323053" y="1493"/>
                </a:lnTo>
                <a:lnTo>
                  <a:pt x="323053" y="71873"/>
                </a:lnTo>
                <a:lnTo>
                  <a:pt x="337545" y="71873"/>
                </a:lnTo>
                <a:lnTo>
                  <a:pt x="337545" y="83199"/>
                </a:lnTo>
                <a:lnTo>
                  <a:pt x="323053" y="83199"/>
                </a:lnTo>
                <a:lnTo>
                  <a:pt x="323053" y="108588"/>
                </a:lnTo>
                <a:close/>
                <a:moveTo>
                  <a:pt x="277188" y="71873"/>
                </a:moveTo>
                <a:lnTo>
                  <a:pt x="309906" y="71873"/>
                </a:lnTo>
                <a:lnTo>
                  <a:pt x="309906" y="16117"/>
                </a:lnTo>
                <a:lnTo>
                  <a:pt x="277188" y="71873"/>
                </a:lnTo>
                <a:close/>
                <a:moveTo>
                  <a:pt x="419683" y="73491"/>
                </a:moveTo>
                <a:cubicBezTo>
                  <a:pt x="419683" y="80772"/>
                  <a:pt x="418089" y="87182"/>
                  <a:pt x="414902" y="92782"/>
                </a:cubicBezTo>
                <a:cubicBezTo>
                  <a:pt x="411814" y="98258"/>
                  <a:pt x="407581" y="102490"/>
                  <a:pt x="402203" y="105601"/>
                </a:cubicBezTo>
                <a:cubicBezTo>
                  <a:pt x="396825" y="108588"/>
                  <a:pt x="390799" y="110082"/>
                  <a:pt x="384126" y="110082"/>
                </a:cubicBezTo>
                <a:cubicBezTo>
                  <a:pt x="375162" y="110082"/>
                  <a:pt x="367941" y="108091"/>
                  <a:pt x="362463" y="104108"/>
                </a:cubicBezTo>
                <a:cubicBezTo>
                  <a:pt x="356985" y="100125"/>
                  <a:pt x="352952" y="94587"/>
                  <a:pt x="350362" y="87555"/>
                </a:cubicBezTo>
                <a:cubicBezTo>
                  <a:pt x="347872" y="80461"/>
                  <a:pt x="346627" y="72372"/>
                  <a:pt x="346627" y="63161"/>
                </a:cubicBezTo>
                <a:cubicBezTo>
                  <a:pt x="346627" y="50653"/>
                  <a:pt x="348121" y="39639"/>
                  <a:pt x="351109" y="30181"/>
                </a:cubicBezTo>
                <a:cubicBezTo>
                  <a:pt x="354196" y="20722"/>
                  <a:pt x="358878" y="13379"/>
                  <a:pt x="365152" y="8089"/>
                </a:cubicBezTo>
                <a:cubicBezTo>
                  <a:pt x="371527" y="2675"/>
                  <a:pt x="379694" y="0"/>
                  <a:pt x="389654" y="0"/>
                </a:cubicBezTo>
                <a:cubicBezTo>
                  <a:pt x="398219" y="0"/>
                  <a:pt x="405739" y="1866"/>
                  <a:pt x="412213" y="5538"/>
                </a:cubicBezTo>
                <a:lnTo>
                  <a:pt x="412213" y="18855"/>
                </a:lnTo>
                <a:cubicBezTo>
                  <a:pt x="405739" y="14437"/>
                  <a:pt x="398219" y="12259"/>
                  <a:pt x="389654" y="12259"/>
                </a:cubicBezTo>
                <a:cubicBezTo>
                  <a:pt x="383478" y="12259"/>
                  <a:pt x="378299" y="13939"/>
                  <a:pt x="374116" y="17361"/>
                </a:cubicBezTo>
                <a:cubicBezTo>
                  <a:pt x="369933" y="20722"/>
                  <a:pt x="366646" y="25327"/>
                  <a:pt x="364256" y="31238"/>
                </a:cubicBezTo>
                <a:cubicBezTo>
                  <a:pt x="361965" y="37026"/>
                  <a:pt x="360571" y="43498"/>
                  <a:pt x="360073" y="50778"/>
                </a:cubicBezTo>
                <a:cubicBezTo>
                  <a:pt x="363360" y="46298"/>
                  <a:pt x="367144" y="42999"/>
                  <a:pt x="371427" y="40759"/>
                </a:cubicBezTo>
                <a:cubicBezTo>
                  <a:pt x="375710" y="38581"/>
                  <a:pt x="380391" y="37523"/>
                  <a:pt x="385470" y="37523"/>
                </a:cubicBezTo>
                <a:cubicBezTo>
                  <a:pt x="391944" y="37523"/>
                  <a:pt x="397721" y="38893"/>
                  <a:pt x="402801" y="41693"/>
                </a:cubicBezTo>
                <a:cubicBezTo>
                  <a:pt x="407980" y="44493"/>
                  <a:pt x="412063" y="48538"/>
                  <a:pt x="415051" y="53952"/>
                </a:cubicBezTo>
                <a:cubicBezTo>
                  <a:pt x="418139" y="59179"/>
                  <a:pt x="419683" y="65713"/>
                  <a:pt x="419683" y="73491"/>
                </a:cubicBezTo>
                <a:close/>
                <a:moveTo>
                  <a:pt x="383678" y="98134"/>
                </a:moveTo>
                <a:cubicBezTo>
                  <a:pt x="387562" y="98134"/>
                  <a:pt x="391147" y="97263"/>
                  <a:pt x="394434" y="95458"/>
                </a:cubicBezTo>
                <a:cubicBezTo>
                  <a:pt x="397721" y="93529"/>
                  <a:pt x="400360" y="90791"/>
                  <a:pt x="402352" y="87244"/>
                </a:cubicBezTo>
                <a:cubicBezTo>
                  <a:pt x="404444" y="83635"/>
                  <a:pt x="405490" y="79154"/>
                  <a:pt x="405490" y="73803"/>
                </a:cubicBezTo>
                <a:cubicBezTo>
                  <a:pt x="405490" y="68389"/>
                  <a:pt x="404494" y="63908"/>
                  <a:pt x="402502" y="60174"/>
                </a:cubicBezTo>
                <a:cubicBezTo>
                  <a:pt x="400510" y="56503"/>
                  <a:pt x="397970" y="53765"/>
                  <a:pt x="394882" y="51961"/>
                </a:cubicBezTo>
                <a:cubicBezTo>
                  <a:pt x="391795" y="50093"/>
                  <a:pt x="388558" y="49160"/>
                  <a:pt x="385172" y="49160"/>
                </a:cubicBezTo>
                <a:cubicBezTo>
                  <a:pt x="378598" y="49160"/>
                  <a:pt x="373070" y="51276"/>
                  <a:pt x="368589" y="55570"/>
                </a:cubicBezTo>
                <a:cubicBezTo>
                  <a:pt x="364206" y="59739"/>
                  <a:pt x="362015" y="65900"/>
                  <a:pt x="362015" y="74114"/>
                </a:cubicBezTo>
                <a:cubicBezTo>
                  <a:pt x="362015" y="81270"/>
                  <a:pt x="363957" y="87058"/>
                  <a:pt x="367842" y="91538"/>
                </a:cubicBezTo>
                <a:cubicBezTo>
                  <a:pt x="371726" y="95956"/>
                  <a:pt x="377005" y="98134"/>
                  <a:pt x="383678" y="98134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2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1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30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2" y="40262"/>
                  <a:pt x="490167" y="44244"/>
                </a:cubicBezTo>
                <a:cubicBezTo>
                  <a:pt x="486482" y="48227"/>
                  <a:pt x="482050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3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5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1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64990" y="110082"/>
                </a:moveTo>
                <a:cubicBezTo>
                  <a:pt x="554433" y="110082"/>
                  <a:pt x="545170" y="107904"/>
                  <a:pt x="537202" y="103486"/>
                </a:cubicBezTo>
                <a:cubicBezTo>
                  <a:pt x="529334" y="99129"/>
                  <a:pt x="523209" y="92844"/>
                  <a:pt x="518826" y="84693"/>
                </a:cubicBezTo>
                <a:cubicBezTo>
                  <a:pt x="514444" y="76416"/>
                  <a:pt x="512253" y="66584"/>
                  <a:pt x="512253" y="55134"/>
                </a:cubicBezTo>
                <a:cubicBezTo>
                  <a:pt x="512253" y="37897"/>
                  <a:pt x="516785" y="24455"/>
                  <a:pt x="525848" y="14810"/>
                </a:cubicBezTo>
                <a:cubicBezTo>
                  <a:pt x="534911" y="5040"/>
                  <a:pt x="547859" y="186"/>
                  <a:pt x="564691" y="186"/>
                </a:cubicBezTo>
                <a:cubicBezTo>
                  <a:pt x="570966" y="186"/>
                  <a:pt x="576942" y="871"/>
                  <a:pt x="582619" y="2240"/>
                </a:cubicBezTo>
                <a:cubicBezTo>
                  <a:pt x="588396" y="3547"/>
                  <a:pt x="593276" y="5414"/>
                  <a:pt x="597260" y="7902"/>
                </a:cubicBezTo>
                <a:lnTo>
                  <a:pt x="597260" y="21344"/>
                </a:lnTo>
                <a:cubicBezTo>
                  <a:pt x="592977" y="18669"/>
                  <a:pt x="587947" y="16615"/>
                  <a:pt x="582171" y="15121"/>
                </a:cubicBezTo>
                <a:cubicBezTo>
                  <a:pt x="576494" y="13628"/>
                  <a:pt x="570617" y="12881"/>
                  <a:pt x="564542" y="12881"/>
                </a:cubicBezTo>
                <a:cubicBezTo>
                  <a:pt x="551993" y="12881"/>
                  <a:pt x="542680" y="16366"/>
                  <a:pt x="536605" y="23459"/>
                </a:cubicBezTo>
                <a:cubicBezTo>
                  <a:pt x="530529" y="30554"/>
                  <a:pt x="527491" y="41071"/>
                  <a:pt x="527491" y="55134"/>
                </a:cubicBezTo>
                <a:cubicBezTo>
                  <a:pt x="527491" y="69260"/>
                  <a:pt x="530778" y="79839"/>
                  <a:pt x="537352" y="86933"/>
                </a:cubicBezTo>
                <a:cubicBezTo>
                  <a:pt x="543925" y="93902"/>
                  <a:pt x="553536" y="97387"/>
                  <a:pt x="566185" y="97387"/>
                </a:cubicBezTo>
                <a:cubicBezTo>
                  <a:pt x="578137" y="97387"/>
                  <a:pt x="588495" y="94089"/>
                  <a:pt x="597260" y="87555"/>
                </a:cubicBezTo>
                <a:lnTo>
                  <a:pt x="597260" y="100997"/>
                </a:lnTo>
                <a:cubicBezTo>
                  <a:pt x="593774" y="103734"/>
                  <a:pt x="589143" y="105974"/>
                  <a:pt x="583366" y="107717"/>
                </a:cubicBezTo>
                <a:cubicBezTo>
                  <a:pt x="577589" y="109273"/>
                  <a:pt x="571464" y="110082"/>
                  <a:pt x="56499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3" name="Полилиния 982">
            <a:extLst>
              <a:ext uri="{FF2B5EF4-FFF2-40B4-BE49-F238E27FC236}">
                <a16:creationId xmlns:a16="http://schemas.microsoft.com/office/drawing/2014/main" id="{85424433-5812-9C94-7B0B-3217C9A6B099}"/>
              </a:ext>
            </a:extLst>
          </p:cNvPr>
          <p:cNvSpPr/>
          <p:nvPr userDrawn="1"/>
        </p:nvSpPr>
        <p:spPr>
          <a:xfrm>
            <a:off x="13814863" y="4513847"/>
            <a:ext cx="1398954" cy="726227"/>
          </a:xfrm>
          <a:custGeom>
            <a:avLst/>
            <a:gdLst>
              <a:gd name="connsiteX0" fmla="*/ 213 w 1198727"/>
              <a:gd name="connsiteY0" fmla="*/ 1122 h 622284"/>
              <a:gd name="connsiteX1" fmla="*/ 1198941 w 1198727"/>
              <a:gd name="connsiteY1" fmla="*/ 1122 h 622284"/>
              <a:gd name="connsiteX2" fmla="*/ 1198941 w 1198727"/>
              <a:gd name="connsiteY2" fmla="*/ 623406 h 622284"/>
              <a:gd name="connsiteX3" fmla="*/ 213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122"/>
                </a:moveTo>
                <a:lnTo>
                  <a:pt x="1198941" y="1122"/>
                </a:lnTo>
                <a:lnTo>
                  <a:pt x="1198941" y="623406"/>
                </a:lnTo>
                <a:lnTo>
                  <a:pt x="213" y="623406"/>
                </a:lnTo>
                <a:close/>
              </a:path>
            </a:pathLst>
          </a:custGeom>
          <a:solidFill>
            <a:srgbClr val="006E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4" name="Полилиния 983">
            <a:extLst>
              <a:ext uri="{FF2B5EF4-FFF2-40B4-BE49-F238E27FC236}">
                <a16:creationId xmlns:a16="http://schemas.microsoft.com/office/drawing/2014/main" id="{68B55150-032C-C42B-BC18-61A7F1A9768D}"/>
              </a:ext>
            </a:extLst>
          </p:cNvPr>
          <p:cNvSpPr/>
          <p:nvPr userDrawn="1"/>
        </p:nvSpPr>
        <p:spPr>
          <a:xfrm>
            <a:off x="13938073" y="4815595"/>
            <a:ext cx="715996" cy="128468"/>
          </a:xfrm>
          <a:custGeom>
            <a:avLst/>
            <a:gdLst>
              <a:gd name="connsiteX0" fmla="*/ 22111 w 613519"/>
              <a:gd name="connsiteY0" fmla="*/ 108588 h 110081"/>
              <a:gd name="connsiteX1" fmla="*/ 10159 w 613519"/>
              <a:gd name="connsiteY1" fmla="*/ 108588 h 110081"/>
              <a:gd name="connsiteX2" fmla="*/ 16434 w 613519"/>
              <a:gd name="connsiteY2" fmla="*/ 77661 h 110081"/>
              <a:gd name="connsiteX3" fmla="*/ 0 w 613519"/>
              <a:gd name="connsiteY3" fmla="*/ 77661 h 110081"/>
              <a:gd name="connsiteX4" fmla="*/ 0 w 613519"/>
              <a:gd name="connsiteY4" fmla="*/ 67206 h 110081"/>
              <a:gd name="connsiteX5" fmla="*/ 18675 w 613519"/>
              <a:gd name="connsiteY5" fmla="*/ 67206 h 110081"/>
              <a:gd name="connsiteX6" fmla="*/ 24202 w 613519"/>
              <a:gd name="connsiteY6" fmla="*/ 40012 h 110081"/>
              <a:gd name="connsiteX7" fmla="*/ 4034 w 613519"/>
              <a:gd name="connsiteY7" fmla="*/ 40012 h 110081"/>
              <a:gd name="connsiteX8" fmla="*/ 4034 w 613519"/>
              <a:gd name="connsiteY8" fmla="*/ 29559 h 110081"/>
              <a:gd name="connsiteX9" fmla="*/ 26294 w 613519"/>
              <a:gd name="connsiteY9" fmla="*/ 29559 h 110081"/>
              <a:gd name="connsiteX10" fmla="*/ 32120 w 613519"/>
              <a:gd name="connsiteY10" fmla="*/ 1493 h 110081"/>
              <a:gd name="connsiteX11" fmla="*/ 44072 w 613519"/>
              <a:gd name="connsiteY11" fmla="*/ 1493 h 110081"/>
              <a:gd name="connsiteX12" fmla="*/ 38246 w 613519"/>
              <a:gd name="connsiteY12" fmla="*/ 29559 h 110081"/>
              <a:gd name="connsiteX13" fmla="*/ 60655 w 613519"/>
              <a:gd name="connsiteY13" fmla="*/ 29559 h 110081"/>
              <a:gd name="connsiteX14" fmla="*/ 66482 w 613519"/>
              <a:gd name="connsiteY14" fmla="*/ 1493 h 110081"/>
              <a:gd name="connsiteX15" fmla="*/ 78434 w 613519"/>
              <a:gd name="connsiteY15" fmla="*/ 1493 h 110081"/>
              <a:gd name="connsiteX16" fmla="*/ 72607 w 613519"/>
              <a:gd name="connsiteY16" fmla="*/ 29559 h 110081"/>
              <a:gd name="connsiteX17" fmla="*/ 89340 w 613519"/>
              <a:gd name="connsiteY17" fmla="*/ 29559 h 110081"/>
              <a:gd name="connsiteX18" fmla="*/ 89340 w 613519"/>
              <a:gd name="connsiteY18" fmla="*/ 40012 h 110081"/>
              <a:gd name="connsiteX19" fmla="*/ 70516 w 613519"/>
              <a:gd name="connsiteY19" fmla="*/ 40012 h 110081"/>
              <a:gd name="connsiteX20" fmla="*/ 64988 w 613519"/>
              <a:gd name="connsiteY20" fmla="*/ 67206 h 110081"/>
              <a:gd name="connsiteX21" fmla="*/ 85306 w 613519"/>
              <a:gd name="connsiteY21" fmla="*/ 67206 h 110081"/>
              <a:gd name="connsiteX22" fmla="*/ 85306 w 613519"/>
              <a:gd name="connsiteY22" fmla="*/ 77661 h 110081"/>
              <a:gd name="connsiteX23" fmla="*/ 62747 w 613519"/>
              <a:gd name="connsiteY23" fmla="*/ 77661 h 110081"/>
              <a:gd name="connsiteX24" fmla="*/ 56472 w 613519"/>
              <a:gd name="connsiteY24" fmla="*/ 108588 h 110081"/>
              <a:gd name="connsiteX25" fmla="*/ 44520 w 613519"/>
              <a:gd name="connsiteY25" fmla="*/ 108588 h 110081"/>
              <a:gd name="connsiteX26" fmla="*/ 50795 w 613519"/>
              <a:gd name="connsiteY26" fmla="*/ 77661 h 110081"/>
              <a:gd name="connsiteX27" fmla="*/ 28386 w 613519"/>
              <a:gd name="connsiteY27" fmla="*/ 77661 h 110081"/>
              <a:gd name="connsiteX28" fmla="*/ 22111 w 613519"/>
              <a:gd name="connsiteY28" fmla="*/ 108588 h 110081"/>
              <a:gd name="connsiteX29" fmla="*/ 30626 w 613519"/>
              <a:gd name="connsiteY29" fmla="*/ 67206 h 110081"/>
              <a:gd name="connsiteX30" fmla="*/ 53036 w 613519"/>
              <a:gd name="connsiteY30" fmla="*/ 67206 h 110081"/>
              <a:gd name="connsiteX31" fmla="*/ 58564 w 613519"/>
              <a:gd name="connsiteY31" fmla="*/ 40012 h 110081"/>
              <a:gd name="connsiteX32" fmla="*/ 36154 w 613519"/>
              <a:gd name="connsiteY32" fmla="*/ 40012 h 110081"/>
              <a:gd name="connsiteX33" fmla="*/ 30626 w 613519"/>
              <a:gd name="connsiteY33" fmla="*/ 67206 h 110081"/>
              <a:gd name="connsiteX34" fmla="*/ 136661 w 613519"/>
              <a:gd name="connsiteY34" fmla="*/ 110082 h 110081"/>
              <a:gd name="connsiteX35" fmla="*/ 118435 w 613519"/>
              <a:gd name="connsiteY35" fmla="*/ 104233 h 110081"/>
              <a:gd name="connsiteX36" fmla="*/ 105736 w 613519"/>
              <a:gd name="connsiteY36" fmla="*/ 86311 h 110081"/>
              <a:gd name="connsiteX37" fmla="*/ 101254 w 613519"/>
              <a:gd name="connsiteY37" fmla="*/ 54947 h 110081"/>
              <a:gd name="connsiteX38" fmla="*/ 105736 w 613519"/>
              <a:gd name="connsiteY38" fmla="*/ 23584 h 110081"/>
              <a:gd name="connsiteX39" fmla="*/ 118435 w 613519"/>
              <a:gd name="connsiteY39" fmla="*/ 5849 h 110081"/>
              <a:gd name="connsiteX40" fmla="*/ 136661 w 613519"/>
              <a:gd name="connsiteY40" fmla="*/ 186 h 110081"/>
              <a:gd name="connsiteX41" fmla="*/ 154738 w 613519"/>
              <a:gd name="connsiteY41" fmla="*/ 5849 h 110081"/>
              <a:gd name="connsiteX42" fmla="*/ 167138 w 613519"/>
              <a:gd name="connsiteY42" fmla="*/ 23584 h 110081"/>
              <a:gd name="connsiteX43" fmla="*/ 171620 w 613519"/>
              <a:gd name="connsiteY43" fmla="*/ 54698 h 110081"/>
              <a:gd name="connsiteX44" fmla="*/ 167138 w 613519"/>
              <a:gd name="connsiteY44" fmla="*/ 86062 h 110081"/>
              <a:gd name="connsiteX45" fmla="*/ 154738 w 613519"/>
              <a:gd name="connsiteY45" fmla="*/ 104233 h 110081"/>
              <a:gd name="connsiteX46" fmla="*/ 136661 w 613519"/>
              <a:gd name="connsiteY46" fmla="*/ 110082 h 110081"/>
              <a:gd name="connsiteX47" fmla="*/ 136512 w 613519"/>
              <a:gd name="connsiteY47" fmla="*/ 98258 h 110081"/>
              <a:gd name="connsiteX48" fmla="*/ 147866 w 613519"/>
              <a:gd name="connsiteY48" fmla="*/ 94275 h 110081"/>
              <a:gd name="connsiteX49" fmla="*/ 155037 w 613519"/>
              <a:gd name="connsiteY49" fmla="*/ 80648 h 110081"/>
              <a:gd name="connsiteX50" fmla="*/ 157577 w 613519"/>
              <a:gd name="connsiteY50" fmla="*/ 55134 h 110081"/>
              <a:gd name="connsiteX51" fmla="*/ 155187 w 613519"/>
              <a:gd name="connsiteY51" fmla="*/ 29745 h 110081"/>
              <a:gd name="connsiteX52" fmla="*/ 148016 w 613519"/>
              <a:gd name="connsiteY52" fmla="*/ 16117 h 110081"/>
              <a:gd name="connsiteX53" fmla="*/ 136661 w 613519"/>
              <a:gd name="connsiteY53" fmla="*/ 11947 h 110081"/>
              <a:gd name="connsiteX54" fmla="*/ 125158 w 613519"/>
              <a:gd name="connsiteY54" fmla="*/ 16117 h 110081"/>
              <a:gd name="connsiteX55" fmla="*/ 117837 w 613519"/>
              <a:gd name="connsiteY55" fmla="*/ 29745 h 110081"/>
              <a:gd name="connsiteX56" fmla="*/ 115298 w 613519"/>
              <a:gd name="connsiteY56" fmla="*/ 55134 h 110081"/>
              <a:gd name="connsiteX57" fmla="*/ 117688 w 613519"/>
              <a:gd name="connsiteY57" fmla="*/ 80648 h 110081"/>
              <a:gd name="connsiteX58" fmla="*/ 125008 w 613519"/>
              <a:gd name="connsiteY58" fmla="*/ 94275 h 110081"/>
              <a:gd name="connsiteX59" fmla="*/ 136512 w 613519"/>
              <a:gd name="connsiteY59" fmla="*/ 98258 h 110081"/>
              <a:gd name="connsiteX60" fmla="*/ 218799 w 613519"/>
              <a:gd name="connsiteY60" fmla="*/ 110082 h 110081"/>
              <a:gd name="connsiteX61" fmla="*/ 200572 w 613519"/>
              <a:gd name="connsiteY61" fmla="*/ 104233 h 110081"/>
              <a:gd name="connsiteX62" fmla="*/ 187874 w 613519"/>
              <a:gd name="connsiteY62" fmla="*/ 86311 h 110081"/>
              <a:gd name="connsiteX63" fmla="*/ 183392 w 613519"/>
              <a:gd name="connsiteY63" fmla="*/ 54947 h 110081"/>
              <a:gd name="connsiteX64" fmla="*/ 187874 w 613519"/>
              <a:gd name="connsiteY64" fmla="*/ 23584 h 110081"/>
              <a:gd name="connsiteX65" fmla="*/ 200572 w 613519"/>
              <a:gd name="connsiteY65" fmla="*/ 5849 h 110081"/>
              <a:gd name="connsiteX66" fmla="*/ 218799 w 613519"/>
              <a:gd name="connsiteY66" fmla="*/ 186 h 110081"/>
              <a:gd name="connsiteX67" fmla="*/ 236876 w 613519"/>
              <a:gd name="connsiteY67" fmla="*/ 5849 h 110081"/>
              <a:gd name="connsiteX68" fmla="*/ 249276 w 613519"/>
              <a:gd name="connsiteY68" fmla="*/ 23584 h 110081"/>
              <a:gd name="connsiteX69" fmla="*/ 253758 w 613519"/>
              <a:gd name="connsiteY69" fmla="*/ 54698 h 110081"/>
              <a:gd name="connsiteX70" fmla="*/ 249276 w 613519"/>
              <a:gd name="connsiteY70" fmla="*/ 86062 h 110081"/>
              <a:gd name="connsiteX71" fmla="*/ 236876 w 613519"/>
              <a:gd name="connsiteY71" fmla="*/ 104233 h 110081"/>
              <a:gd name="connsiteX72" fmla="*/ 218799 w 613519"/>
              <a:gd name="connsiteY72" fmla="*/ 110082 h 110081"/>
              <a:gd name="connsiteX73" fmla="*/ 218649 w 613519"/>
              <a:gd name="connsiteY73" fmla="*/ 98258 h 110081"/>
              <a:gd name="connsiteX74" fmla="*/ 230004 w 613519"/>
              <a:gd name="connsiteY74" fmla="*/ 94275 h 110081"/>
              <a:gd name="connsiteX75" fmla="*/ 237175 w 613519"/>
              <a:gd name="connsiteY75" fmla="*/ 80648 h 110081"/>
              <a:gd name="connsiteX76" fmla="*/ 239714 w 613519"/>
              <a:gd name="connsiteY76" fmla="*/ 55134 h 110081"/>
              <a:gd name="connsiteX77" fmla="*/ 237324 w 613519"/>
              <a:gd name="connsiteY77" fmla="*/ 29745 h 110081"/>
              <a:gd name="connsiteX78" fmla="*/ 230153 w 613519"/>
              <a:gd name="connsiteY78" fmla="*/ 16117 h 110081"/>
              <a:gd name="connsiteX79" fmla="*/ 218799 w 613519"/>
              <a:gd name="connsiteY79" fmla="*/ 11947 h 110081"/>
              <a:gd name="connsiteX80" fmla="*/ 207295 w 613519"/>
              <a:gd name="connsiteY80" fmla="*/ 16117 h 110081"/>
              <a:gd name="connsiteX81" fmla="*/ 199975 w 613519"/>
              <a:gd name="connsiteY81" fmla="*/ 29745 h 110081"/>
              <a:gd name="connsiteX82" fmla="*/ 197435 w 613519"/>
              <a:gd name="connsiteY82" fmla="*/ 55134 h 110081"/>
              <a:gd name="connsiteX83" fmla="*/ 199825 w 613519"/>
              <a:gd name="connsiteY83" fmla="*/ 80648 h 110081"/>
              <a:gd name="connsiteX84" fmla="*/ 207146 w 613519"/>
              <a:gd name="connsiteY84" fmla="*/ 94275 h 110081"/>
              <a:gd name="connsiteX85" fmla="*/ 218649 w 613519"/>
              <a:gd name="connsiteY85" fmla="*/ 98258 h 110081"/>
              <a:gd name="connsiteX86" fmla="*/ 337545 w 613519"/>
              <a:gd name="connsiteY86" fmla="*/ 73491 h 110081"/>
              <a:gd name="connsiteX87" fmla="*/ 332764 w 613519"/>
              <a:gd name="connsiteY87" fmla="*/ 92782 h 110081"/>
              <a:gd name="connsiteX88" fmla="*/ 320065 w 613519"/>
              <a:gd name="connsiteY88" fmla="*/ 105601 h 110081"/>
              <a:gd name="connsiteX89" fmla="*/ 301988 w 613519"/>
              <a:gd name="connsiteY89" fmla="*/ 110082 h 110081"/>
              <a:gd name="connsiteX90" fmla="*/ 280326 w 613519"/>
              <a:gd name="connsiteY90" fmla="*/ 104108 h 110081"/>
              <a:gd name="connsiteX91" fmla="*/ 268224 w 613519"/>
              <a:gd name="connsiteY91" fmla="*/ 87555 h 110081"/>
              <a:gd name="connsiteX92" fmla="*/ 264490 w 613519"/>
              <a:gd name="connsiteY92" fmla="*/ 63161 h 110081"/>
              <a:gd name="connsiteX93" fmla="*/ 268972 w 613519"/>
              <a:gd name="connsiteY93" fmla="*/ 30181 h 110081"/>
              <a:gd name="connsiteX94" fmla="*/ 283015 w 613519"/>
              <a:gd name="connsiteY94" fmla="*/ 8089 h 110081"/>
              <a:gd name="connsiteX95" fmla="*/ 307516 w 613519"/>
              <a:gd name="connsiteY95" fmla="*/ 0 h 110081"/>
              <a:gd name="connsiteX96" fmla="*/ 330075 w 613519"/>
              <a:gd name="connsiteY96" fmla="*/ 5538 h 110081"/>
              <a:gd name="connsiteX97" fmla="*/ 330075 w 613519"/>
              <a:gd name="connsiteY97" fmla="*/ 18855 h 110081"/>
              <a:gd name="connsiteX98" fmla="*/ 307516 w 613519"/>
              <a:gd name="connsiteY98" fmla="*/ 12259 h 110081"/>
              <a:gd name="connsiteX99" fmla="*/ 291979 w 613519"/>
              <a:gd name="connsiteY99" fmla="*/ 17361 h 110081"/>
              <a:gd name="connsiteX100" fmla="*/ 282119 w 613519"/>
              <a:gd name="connsiteY100" fmla="*/ 31238 h 110081"/>
              <a:gd name="connsiteX101" fmla="*/ 277935 w 613519"/>
              <a:gd name="connsiteY101" fmla="*/ 50778 h 110081"/>
              <a:gd name="connsiteX102" fmla="*/ 289290 w 613519"/>
              <a:gd name="connsiteY102" fmla="*/ 40759 h 110081"/>
              <a:gd name="connsiteX103" fmla="*/ 303333 w 613519"/>
              <a:gd name="connsiteY103" fmla="*/ 37523 h 110081"/>
              <a:gd name="connsiteX104" fmla="*/ 320663 w 613519"/>
              <a:gd name="connsiteY104" fmla="*/ 41693 h 110081"/>
              <a:gd name="connsiteX105" fmla="*/ 332914 w 613519"/>
              <a:gd name="connsiteY105" fmla="*/ 53952 h 110081"/>
              <a:gd name="connsiteX106" fmla="*/ 337545 w 613519"/>
              <a:gd name="connsiteY106" fmla="*/ 73491 h 110081"/>
              <a:gd name="connsiteX107" fmla="*/ 301540 w 613519"/>
              <a:gd name="connsiteY107" fmla="*/ 98134 h 110081"/>
              <a:gd name="connsiteX108" fmla="*/ 312297 w 613519"/>
              <a:gd name="connsiteY108" fmla="*/ 95458 h 110081"/>
              <a:gd name="connsiteX109" fmla="*/ 320215 w 613519"/>
              <a:gd name="connsiteY109" fmla="*/ 87244 h 110081"/>
              <a:gd name="connsiteX110" fmla="*/ 323352 w 613519"/>
              <a:gd name="connsiteY110" fmla="*/ 73803 h 110081"/>
              <a:gd name="connsiteX111" fmla="*/ 320364 w 613519"/>
              <a:gd name="connsiteY111" fmla="*/ 60174 h 110081"/>
              <a:gd name="connsiteX112" fmla="*/ 312745 w 613519"/>
              <a:gd name="connsiteY112" fmla="*/ 51961 h 110081"/>
              <a:gd name="connsiteX113" fmla="*/ 303034 w 613519"/>
              <a:gd name="connsiteY113" fmla="*/ 49160 h 110081"/>
              <a:gd name="connsiteX114" fmla="*/ 286451 w 613519"/>
              <a:gd name="connsiteY114" fmla="*/ 55570 h 110081"/>
              <a:gd name="connsiteX115" fmla="*/ 279878 w 613519"/>
              <a:gd name="connsiteY115" fmla="*/ 74114 h 110081"/>
              <a:gd name="connsiteX116" fmla="*/ 285704 w 613519"/>
              <a:gd name="connsiteY116" fmla="*/ 91538 h 110081"/>
              <a:gd name="connsiteX117" fmla="*/ 301540 w 613519"/>
              <a:gd name="connsiteY117" fmla="*/ 98134 h 110081"/>
              <a:gd name="connsiteX118" fmla="*/ 354246 w 613519"/>
              <a:gd name="connsiteY118" fmla="*/ 1493 h 110081"/>
              <a:gd name="connsiteX119" fmla="*/ 420579 w 613519"/>
              <a:gd name="connsiteY119" fmla="*/ 1493 h 110081"/>
              <a:gd name="connsiteX120" fmla="*/ 420579 w 613519"/>
              <a:gd name="connsiteY120" fmla="*/ 14374 h 110081"/>
              <a:gd name="connsiteX121" fmla="*/ 368290 w 613519"/>
              <a:gd name="connsiteY121" fmla="*/ 14374 h 110081"/>
              <a:gd name="connsiteX122" fmla="*/ 368290 w 613519"/>
              <a:gd name="connsiteY122" fmla="*/ 46734 h 110081"/>
              <a:gd name="connsiteX123" fmla="*/ 412661 w 613519"/>
              <a:gd name="connsiteY123" fmla="*/ 46734 h 110081"/>
              <a:gd name="connsiteX124" fmla="*/ 412661 w 613519"/>
              <a:gd name="connsiteY124" fmla="*/ 59428 h 110081"/>
              <a:gd name="connsiteX125" fmla="*/ 368290 w 613519"/>
              <a:gd name="connsiteY125" fmla="*/ 59428 h 110081"/>
              <a:gd name="connsiteX126" fmla="*/ 368290 w 613519"/>
              <a:gd name="connsiteY126" fmla="*/ 95893 h 110081"/>
              <a:gd name="connsiteX127" fmla="*/ 421326 w 613519"/>
              <a:gd name="connsiteY127" fmla="*/ 95893 h 110081"/>
              <a:gd name="connsiteX128" fmla="*/ 421326 w 613519"/>
              <a:gd name="connsiteY128" fmla="*/ 108588 h 110081"/>
              <a:gd name="connsiteX129" fmla="*/ 354246 w 613519"/>
              <a:gd name="connsiteY129" fmla="*/ 108588 h 110081"/>
              <a:gd name="connsiteX130" fmla="*/ 354246 w 613519"/>
              <a:gd name="connsiteY130" fmla="*/ 1493 h 110081"/>
              <a:gd name="connsiteX131" fmla="*/ 467440 w 613519"/>
              <a:gd name="connsiteY131" fmla="*/ 110082 h 110081"/>
              <a:gd name="connsiteX132" fmla="*/ 438905 w 613519"/>
              <a:gd name="connsiteY132" fmla="*/ 102490 h 110081"/>
              <a:gd name="connsiteX133" fmla="*/ 438905 w 613519"/>
              <a:gd name="connsiteY133" fmla="*/ 87804 h 110081"/>
              <a:gd name="connsiteX134" fmla="*/ 452052 w 613519"/>
              <a:gd name="connsiteY134" fmla="*/ 95458 h 110081"/>
              <a:gd name="connsiteX135" fmla="*/ 467440 w 613519"/>
              <a:gd name="connsiteY135" fmla="*/ 97823 h 110081"/>
              <a:gd name="connsiteX136" fmla="*/ 484471 w 613519"/>
              <a:gd name="connsiteY136" fmla="*/ 91102 h 110081"/>
              <a:gd name="connsiteX137" fmla="*/ 490596 w 613519"/>
              <a:gd name="connsiteY137" fmla="*/ 73491 h 110081"/>
              <a:gd name="connsiteX138" fmla="*/ 484620 w 613519"/>
              <a:gd name="connsiteY138" fmla="*/ 56441 h 110081"/>
              <a:gd name="connsiteX139" fmla="*/ 469531 w 613519"/>
              <a:gd name="connsiteY139" fmla="*/ 51089 h 110081"/>
              <a:gd name="connsiteX140" fmla="*/ 458924 w 613519"/>
              <a:gd name="connsiteY140" fmla="*/ 53329 h 110081"/>
              <a:gd name="connsiteX141" fmla="*/ 452799 w 613519"/>
              <a:gd name="connsiteY141" fmla="*/ 57810 h 110081"/>
              <a:gd name="connsiteX142" fmla="*/ 441893 w 613519"/>
              <a:gd name="connsiteY142" fmla="*/ 57810 h 110081"/>
              <a:gd name="connsiteX143" fmla="*/ 441893 w 613519"/>
              <a:gd name="connsiteY143" fmla="*/ 1493 h 110081"/>
              <a:gd name="connsiteX144" fmla="*/ 499859 w 613519"/>
              <a:gd name="connsiteY144" fmla="*/ 1493 h 110081"/>
              <a:gd name="connsiteX145" fmla="*/ 499859 w 613519"/>
              <a:gd name="connsiteY145" fmla="*/ 14374 h 110081"/>
              <a:gd name="connsiteX146" fmla="*/ 454143 w 613519"/>
              <a:gd name="connsiteY146" fmla="*/ 14374 h 110081"/>
              <a:gd name="connsiteX147" fmla="*/ 454143 w 613519"/>
              <a:gd name="connsiteY147" fmla="*/ 44991 h 110081"/>
              <a:gd name="connsiteX148" fmla="*/ 461464 w 613519"/>
              <a:gd name="connsiteY148" fmla="*/ 41071 h 110081"/>
              <a:gd name="connsiteX149" fmla="*/ 471772 w 613519"/>
              <a:gd name="connsiteY149" fmla="*/ 39266 h 110081"/>
              <a:gd name="connsiteX150" fmla="*/ 488505 w 613519"/>
              <a:gd name="connsiteY150" fmla="*/ 43186 h 110081"/>
              <a:gd name="connsiteX151" fmla="*/ 500307 w 613519"/>
              <a:gd name="connsiteY151" fmla="*/ 54512 h 110081"/>
              <a:gd name="connsiteX152" fmla="*/ 504789 w 613519"/>
              <a:gd name="connsiteY152" fmla="*/ 73181 h 110081"/>
              <a:gd name="connsiteX153" fmla="*/ 500158 w 613519"/>
              <a:gd name="connsiteY153" fmla="*/ 92596 h 110081"/>
              <a:gd name="connsiteX154" fmla="*/ 487310 w 613519"/>
              <a:gd name="connsiteY154" fmla="*/ 105601 h 110081"/>
              <a:gd name="connsiteX155" fmla="*/ 467440 w 613519"/>
              <a:gd name="connsiteY155" fmla="*/ 110082 h 110081"/>
              <a:gd name="connsiteX156" fmla="*/ 613519 w 613519"/>
              <a:gd name="connsiteY156" fmla="*/ 108588 h 110081"/>
              <a:gd name="connsiteX157" fmla="*/ 598580 w 613519"/>
              <a:gd name="connsiteY157" fmla="*/ 108588 h 110081"/>
              <a:gd name="connsiteX158" fmla="*/ 587524 w 613519"/>
              <a:gd name="connsiteY158" fmla="*/ 77972 h 110081"/>
              <a:gd name="connsiteX159" fmla="*/ 540165 w 613519"/>
              <a:gd name="connsiteY159" fmla="*/ 77972 h 110081"/>
              <a:gd name="connsiteX160" fmla="*/ 529259 w 613519"/>
              <a:gd name="connsiteY160" fmla="*/ 108588 h 110081"/>
              <a:gd name="connsiteX161" fmla="*/ 516112 w 613519"/>
              <a:gd name="connsiteY161" fmla="*/ 108588 h 110081"/>
              <a:gd name="connsiteX162" fmla="*/ 554209 w 613519"/>
              <a:gd name="connsiteY162" fmla="*/ 1493 h 110081"/>
              <a:gd name="connsiteX163" fmla="*/ 575124 w 613519"/>
              <a:gd name="connsiteY163" fmla="*/ 1493 h 110081"/>
              <a:gd name="connsiteX164" fmla="*/ 613519 w 613519"/>
              <a:gd name="connsiteY164" fmla="*/ 108588 h 110081"/>
              <a:gd name="connsiteX165" fmla="*/ 544797 w 613519"/>
              <a:gd name="connsiteY165" fmla="*/ 65278 h 110081"/>
              <a:gd name="connsiteX166" fmla="*/ 583042 w 613519"/>
              <a:gd name="connsiteY166" fmla="*/ 65278 h 110081"/>
              <a:gd name="connsiteX167" fmla="*/ 563919 w 613519"/>
              <a:gd name="connsiteY167" fmla="*/ 11947 h 110081"/>
              <a:gd name="connsiteX168" fmla="*/ 544797 w 613519"/>
              <a:gd name="connsiteY168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61351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337545" y="73491"/>
                </a:moveTo>
                <a:cubicBezTo>
                  <a:pt x="337545" y="80772"/>
                  <a:pt x="335951" y="87182"/>
                  <a:pt x="332764" y="92782"/>
                </a:cubicBezTo>
                <a:cubicBezTo>
                  <a:pt x="329677" y="98258"/>
                  <a:pt x="325444" y="102490"/>
                  <a:pt x="320065" y="105601"/>
                </a:cubicBezTo>
                <a:cubicBezTo>
                  <a:pt x="314687" y="108588"/>
                  <a:pt x="308661" y="110082"/>
                  <a:pt x="301988" y="110082"/>
                </a:cubicBezTo>
                <a:cubicBezTo>
                  <a:pt x="293024" y="110082"/>
                  <a:pt x="285804" y="108091"/>
                  <a:pt x="280326" y="104108"/>
                </a:cubicBezTo>
                <a:cubicBezTo>
                  <a:pt x="274848" y="100125"/>
                  <a:pt x="270814" y="94587"/>
                  <a:pt x="268224" y="87555"/>
                </a:cubicBezTo>
                <a:cubicBezTo>
                  <a:pt x="265735" y="80461"/>
                  <a:pt x="264490" y="72372"/>
                  <a:pt x="264490" y="63161"/>
                </a:cubicBezTo>
                <a:cubicBezTo>
                  <a:pt x="264490" y="50653"/>
                  <a:pt x="265984" y="39639"/>
                  <a:pt x="268972" y="30181"/>
                </a:cubicBezTo>
                <a:cubicBezTo>
                  <a:pt x="272059" y="20722"/>
                  <a:pt x="276740" y="13379"/>
                  <a:pt x="283015" y="8089"/>
                </a:cubicBezTo>
                <a:cubicBezTo>
                  <a:pt x="289389" y="2675"/>
                  <a:pt x="297556" y="0"/>
                  <a:pt x="307516" y="0"/>
                </a:cubicBezTo>
                <a:cubicBezTo>
                  <a:pt x="316082" y="0"/>
                  <a:pt x="323601" y="1866"/>
                  <a:pt x="330075" y="5538"/>
                </a:cubicBezTo>
                <a:lnTo>
                  <a:pt x="330075" y="18855"/>
                </a:lnTo>
                <a:cubicBezTo>
                  <a:pt x="323601" y="14437"/>
                  <a:pt x="316082" y="12259"/>
                  <a:pt x="307516" y="12259"/>
                </a:cubicBezTo>
                <a:cubicBezTo>
                  <a:pt x="301341" y="12259"/>
                  <a:pt x="296162" y="13939"/>
                  <a:pt x="291979" y="17361"/>
                </a:cubicBezTo>
                <a:cubicBezTo>
                  <a:pt x="287796" y="20722"/>
                  <a:pt x="284509" y="25327"/>
                  <a:pt x="282119" y="31238"/>
                </a:cubicBezTo>
                <a:cubicBezTo>
                  <a:pt x="279828" y="37026"/>
                  <a:pt x="278433" y="43498"/>
                  <a:pt x="277935" y="50778"/>
                </a:cubicBezTo>
                <a:cubicBezTo>
                  <a:pt x="281222" y="46298"/>
                  <a:pt x="285007" y="42999"/>
                  <a:pt x="289290" y="40759"/>
                </a:cubicBezTo>
                <a:cubicBezTo>
                  <a:pt x="293572" y="38581"/>
                  <a:pt x="298253" y="37523"/>
                  <a:pt x="303333" y="37523"/>
                </a:cubicBezTo>
                <a:cubicBezTo>
                  <a:pt x="309807" y="37523"/>
                  <a:pt x="315583" y="38893"/>
                  <a:pt x="320663" y="41693"/>
                </a:cubicBezTo>
                <a:cubicBezTo>
                  <a:pt x="325842" y="44493"/>
                  <a:pt x="329926" y="48538"/>
                  <a:pt x="332914" y="53952"/>
                </a:cubicBezTo>
                <a:cubicBezTo>
                  <a:pt x="336001" y="59179"/>
                  <a:pt x="337545" y="65713"/>
                  <a:pt x="337545" y="73491"/>
                </a:cubicBezTo>
                <a:close/>
                <a:moveTo>
                  <a:pt x="301540" y="98134"/>
                </a:moveTo>
                <a:cubicBezTo>
                  <a:pt x="305424" y="98134"/>
                  <a:pt x="309010" y="97263"/>
                  <a:pt x="312297" y="95458"/>
                </a:cubicBezTo>
                <a:cubicBezTo>
                  <a:pt x="315583" y="93529"/>
                  <a:pt x="318223" y="90791"/>
                  <a:pt x="320215" y="87244"/>
                </a:cubicBezTo>
                <a:cubicBezTo>
                  <a:pt x="322306" y="83635"/>
                  <a:pt x="323352" y="79154"/>
                  <a:pt x="323352" y="73803"/>
                </a:cubicBezTo>
                <a:cubicBezTo>
                  <a:pt x="323352" y="68389"/>
                  <a:pt x="322356" y="63908"/>
                  <a:pt x="320364" y="60174"/>
                </a:cubicBezTo>
                <a:cubicBezTo>
                  <a:pt x="318372" y="56503"/>
                  <a:pt x="315832" y="53765"/>
                  <a:pt x="312745" y="51961"/>
                </a:cubicBezTo>
                <a:cubicBezTo>
                  <a:pt x="309657" y="50093"/>
                  <a:pt x="306420" y="49160"/>
                  <a:pt x="303034" y="49160"/>
                </a:cubicBezTo>
                <a:cubicBezTo>
                  <a:pt x="296461" y="49160"/>
                  <a:pt x="290933" y="51276"/>
                  <a:pt x="286451" y="55570"/>
                </a:cubicBezTo>
                <a:cubicBezTo>
                  <a:pt x="282069" y="59739"/>
                  <a:pt x="279878" y="65900"/>
                  <a:pt x="279878" y="74114"/>
                </a:cubicBezTo>
                <a:cubicBezTo>
                  <a:pt x="279878" y="81270"/>
                  <a:pt x="281820" y="87058"/>
                  <a:pt x="285704" y="91538"/>
                </a:cubicBezTo>
                <a:cubicBezTo>
                  <a:pt x="289588" y="95956"/>
                  <a:pt x="294867" y="98134"/>
                  <a:pt x="301540" y="98134"/>
                </a:cubicBezTo>
                <a:close/>
                <a:moveTo>
                  <a:pt x="354246" y="1493"/>
                </a:moveTo>
                <a:lnTo>
                  <a:pt x="420579" y="1493"/>
                </a:lnTo>
                <a:lnTo>
                  <a:pt x="420579" y="14374"/>
                </a:lnTo>
                <a:lnTo>
                  <a:pt x="368290" y="14374"/>
                </a:lnTo>
                <a:lnTo>
                  <a:pt x="368290" y="46734"/>
                </a:lnTo>
                <a:lnTo>
                  <a:pt x="412661" y="46734"/>
                </a:lnTo>
                <a:lnTo>
                  <a:pt x="412661" y="59428"/>
                </a:lnTo>
                <a:lnTo>
                  <a:pt x="368290" y="59428"/>
                </a:lnTo>
                <a:lnTo>
                  <a:pt x="368290" y="95893"/>
                </a:lnTo>
                <a:lnTo>
                  <a:pt x="421326" y="95893"/>
                </a:lnTo>
                <a:lnTo>
                  <a:pt x="421326" y="108588"/>
                </a:lnTo>
                <a:lnTo>
                  <a:pt x="354246" y="108588"/>
                </a:lnTo>
                <a:lnTo>
                  <a:pt x="354246" y="1493"/>
                </a:lnTo>
                <a:close/>
                <a:moveTo>
                  <a:pt x="467440" y="110082"/>
                </a:moveTo>
                <a:cubicBezTo>
                  <a:pt x="455488" y="110082"/>
                  <a:pt x="445976" y="107530"/>
                  <a:pt x="438905" y="102490"/>
                </a:cubicBezTo>
                <a:lnTo>
                  <a:pt x="438905" y="87804"/>
                </a:lnTo>
                <a:cubicBezTo>
                  <a:pt x="443088" y="91226"/>
                  <a:pt x="447470" y="93778"/>
                  <a:pt x="452052" y="95458"/>
                </a:cubicBezTo>
                <a:cubicBezTo>
                  <a:pt x="456633" y="97014"/>
                  <a:pt x="461763" y="97823"/>
                  <a:pt x="467440" y="97823"/>
                </a:cubicBezTo>
                <a:cubicBezTo>
                  <a:pt x="474810" y="97823"/>
                  <a:pt x="480487" y="95583"/>
                  <a:pt x="484471" y="91102"/>
                </a:cubicBezTo>
                <a:cubicBezTo>
                  <a:pt x="488555" y="86621"/>
                  <a:pt x="490596" y="80772"/>
                  <a:pt x="490596" y="73491"/>
                </a:cubicBezTo>
                <a:cubicBezTo>
                  <a:pt x="490596" y="65713"/>
                  <a:pt x="488604" y="60050"/>
                  <a:pt x="484620" y="56441"/>
                </a:cubicBezTo>
                <a:cubicBezTo>
                  <a:pt x="480637" y="52894"/>
                  <a:pt x="475607" y="51089"/>
                  <a:pt x="469531" y="51089"/>
                </a:cubicBezTo>
                <a:cubicBezTo>
                  <a:pt x="465149" y="51089"/>
                  <a:pt x="461613" y="51836"/>
                  <a:pt x="458924" y="53329"/>
                </a:cubicBezTo>
                <a:cubicBezTo>
                  <a:pt x="456235" y="54698"/>
                  <a:pt x="454193" y="56192"/>
                  <a:pt x="452799" y="57810"/>
                </a:cubicBezTo>
                <a:lnTo>
                  <a:pt x="441893" y="57810"/>
                </a:lnTo>
                <a:lnTo>
                  <a:pt x="441893" y="1493"/>
                </a:lnTo>
                <a:lnTo>
                  <a:pt x="499859" y="1493"/>
                </a:lnTo>
                <a:lnTo>
                  <a:pt x="499859" y="14374"/>
                </a:lnTo>
                <a:lnTo>
                  <a:pt x="454143" y="14374"/>
                </a:lnTo>
                <a:lnTo>
                  <a:pt x="454143" y="44991"/>
                </a:lnTo>
                <a:cubicBezTo>
                  <a:pt x="456135" y="43498"/>
                  <a:pt x="458576" y="42190"/>
                  <a:pt x="461464" y="41071"/>
                </a:cubicBezTo>
                <a:cubicBezTo>
                  <a:pt x="464352" y="39888"/>
                  <a:pt x="467788" y="39266"/>
                  <a:pt x="471772" y="39266"/>
                </a:cubicBezTo>
                <a:cubicBezTo>
                  <a:pt x="477947" y="39266"/>
                  <a:pt x="483525" y="40572"/>
                  <a:pt x="488505" y="43186"/>
                </a:cubicBezTo>
                <a:cubicBezTo>
                  <a:pt x="493485" y="45675"/>
                  <a:pt x="497419" y="49471"/>
                  <a:pt x="500307" y="54512"/>
                </a:cubicBezTo>
                <a:cubicBezTo>
                  <a:pt x="503295" y="59490"/>
                  <a:pt x="504789" y="65713"/>
                  <a:pt x="504789" y="73181"/>
                </a:cubicBezTo>
                <a:cubicBezTo>
                  <a:pt x="504789" y="80586"/>
                  <a:pt x="503245" y="87058"/>
                  <a:pt x="500158" y="92596"/>
                </a:cubicBezTo>
                <a:cubicBezTo>
                  <a:pt x="497170" y="98196"/>
                  <a:pt x="492887" y="102490"/>
                  <a:pt x="487310" y="105601"/>
                </a:cubicBezTo>
                <a:cubicBezTo>
                  <a:pt x="481732" y="108588"/>
                  <a:pt x="475109" y="110082"/>
                  <a:pt x="467440" y="110082"/>
                </a:cubicBezTo>
                <a:close/>
                <a:moveTo>
                  <a:pt x="613519" y="108588"/>
                </a:moveTo>
                <a:lnTo>
                  <a:pt x="598580" y="108588"/>
                </a:lnTo>
                <a:lnTo>
                  <a:pt x="587524" y="77972"/>
                </a:lnTo>
                <a:lnTo>
                  <a:pt x="540165" y="77972"/>
                </a:lnTo>
                <a:lnTo>
                  <a:pt x="529259" y="108588"/>
                </a:lnTo>
                <a:lnTo>
                  <a:pt x="516112" y="108588"/>
                </a:lnTo>
                <a:lnTo>
                  <a:pt x="554209" y="1493"/>
                </a:lnTo>
                <a:lnTo>
                  <a:pt x="575124" y="1493"/>
                </a:lnTo>
                <a:lnTo>
                  <a:pt x="613519" y="108588"/>
                </a:lnTo>
                <a:close/>
                <a:moveTo>
                  <a:pt x="544797" y="65278"/>
                </a:moveTo>
                <a:lnTo>
                  <a:pt x="583042" y="65278"/>
                </a:lnTo>
                <a:lnTo>
                  <a:pt x="563919" y="11947"/>
                </a:lnTo>
                <a:lnTo>
                  <a:pt x="544797" y="6527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5" name="Полилиния 984">
            <a:extLst>
              <a:ext uri="{FF2B5EF4-FFF2-40B4-BE49-F238E27FC236}">
                <a16:creationId xmlns:a16="http://schemas.microsoft.com/office/drawing/2014/main" id="{3A2529EE-B5AB-BAA2-24A0-8090BEF279E2}"/>
              </a:ext>
            </a:extLst>
          </p:cNvPr>
          <p:cNvSpPr/>
          <p:nvPr userDrawn="1"/>
        </p:nvSpPr>
        <p:spPr>
          <a:xfrm>
            <a:off x="13814863" y="5240073"/>
            <a:ext cx="1398954" cy="726227"/>
          </a:xfrm>
          <a:custGeom>
            <a:avLst/>
            <a:gdLst>
              <a:gd name="connsiteX0" fmla="*/ 213 w 1198727"/>
              <a:gd name="connsiteY0" fmla="*/ 1222 h 622284"/>
              <a:gd name="connsiteX1" fmla="*/ 1198941 w 1198727"/>
              <a:gd name="connsiteY1" fmla="*/ 1222 h 622284"/>
              <a:gd name="connsiteX2" fmla="*/ 1198941 w 1198727"/>
              <a:gd name="connsiteY2" fmla="*/ 623506 h 622284"/>
              <a:gd name="connsiteX3" fmla="*/ 213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222"/>
                </a:moveTo>
                <a:lnTo>
                  <a:pt x="1198941" y="1222"/>
                </a:lnTo>
                <a:lnTo>
                  <a:pt x="1198941" y="623506"/>
                </a:lnTo>
                <a:lnTo>
                  <a:pt x="213" y="623506"/>
                </a:lnTo>
                <a:close/>
              </a:path>
            </a:pathLst>
          </a:custGeom>
          <a:solidFill>
            <a:srgbClr val="00967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6" name="Полилиния 985">
            <a:extLst>
              <a:ext uri="{FF2B5EF4-FFF2-40B4-BE49-F238E27FC236}">
                <a16:creationId xmlns:a16="http://schemas.microsoft.com/office/drawing/2014/main" id="{C37D36E2-254B-D74D-C621-A2723BBE223E}"/>
              </a:ext>
            </a:extLst>
          </p:cNvPr>
          <p:cNvSpPr/>
          <p:nvPr userDrawn="1"/>
        </p:nvSpPr>
        <p:spPr>
          <a:xfrm>
            <a:off x="13938073" y="5541820"/>
            <a:ext cx="706437" cy="128468"/>
          </a:xfrm>
          <a:custGeom>
            <a:avLst/>
            <a:gdLst>
              <a:gd name="connsiteX0" fmla="*/ 22111 w 605327"/>
              <a:gd name="connsiteY0" fmla="*/ 108588 h 110081"/>
              <a:gd name="connsiteX1" fmla="*/ 10159 w 605327"/>
              <a:gd name="connsiteY1" fmla="*/ 108588 h 110081"/>
              <a:gd name="connsiteX2" fmla="*/ 16434 w 605327"/>
              <a:gd name="connsiteY2" fmla="*/ 77661 h 110081"/>
              <a:gd name="connsiteX3" fmla="*/ 0 w 605327"/>
              <a:gd name="connsiteY3" fmla="*/ 77661 h 110081"/>
              <a:gd name="connsiteX4" fmla="*/ 0 w 605327"/>
              <a:gd name="connsiteY4" fmla="*/ 67206 h 110081"/>
              <a:gd name="connsiteX5" fmla="*/ 18675 w 605327"/>
              <a:gd name="connsiteY5" fmla="*/ 67206 h 110081"/>
              <a:gd name="connsiteX6" fmla="*/ 24202 w 605327"/>
              <a:gd name="connsiteY6" fmla="*/ 40012 h 110081"/>
              <a:gd name="connsiteX7" fmla="*/ 4034 w 605327"/>
              <a:gd name="connsiteY7" fmla="*/ 40012 h 110081"/>
              <a:gd name="connsiteX8" fmla="*/ 4034 w 605327"/>
              <a:gd name="connsiteY8" fmla="*/ 29559 h 110081"/>
              <a:gd name="connsiteX9" fmla="*/ 26294 w 605327"/>
              <a:gd name="connsiteY9" fmla="*/ 29559 h 110081"/>
              <a:gd name="connsiteX10" fmla="*/ 32120 w 605327"/>
              <a:gd name="connsiteY10" fmla="*/ 1493 h 110081"/>
              <a:gd name="connsiteX11" fmla="*/ 44072 w 605327"/>
              <a:gd name="connsiteY11" fmla="*/ 1493 h 110081"/>
              <a:gd name="connsiteX12" fmla="*/ 38246 w 605327"/>
              <a:gd name="connsiteY12" fmla="*/ 29559 h 110081"/>
              <a:gd name="connsiteX13" fmla="*/ 60655 w 605327"/>
              <a:gd name="connsiteY13" fmla="*/ 29559 h 110081"/>
              <a:gd name="connsiteX14" fmla="*/ 66482 w 605327"/>
              <a:gd name="connsiteY14" fmla="*/ 1493 h 110081"/>
              <a:gd name="connsiteX15" fmla="*/ 78434 w 605327"/>
              <a:gd name="connsiteY15" fmla="*/ 1493 h 110081"/>
              <a:gd name="connsiteX16" fmla="*/ 72607 w 605327"/>
              <a:gd name="connsiteY16" fmla="*/ 29559 h 110081"/>
              <a:gd name="connsiteX17" fmla="*/ 89340 w 605327"/>
              <a:gd name="connsiteY17" fmla="*/ 29559 h 110081"/>
              <a:gd name="connsiteX18" fmla="*/ 89340 w 605327"/>
              <a:gd name="connsiteY18" fmla="*/ 40012 h 110081"/>
              <a:gd name="connsiteX19" fmla="*/ 70516 w 605327"/>
              <a:gd name="connsiteY19" fmla="*/ 40012 h 110081"/>
              <a:gd name="connsiteX20" fmla="*/ 64988 w 605327"/>
              <a:gd name="connsiteY20" fmla="*/ 67206 h 110081"/>
              <a:gd name="connsiteX21" fmla="*/ 85306 w 605327"/>
              <a:gd name="connsiteY21" fmla="*/ 67206 h 110081"/>
              <a:gd name="connsiteX22" fmla="*/ 85306 w 605327"/>
              <a:gd name="connsiteY22" fmla="*/ 77661 h 110081"/>
              <a:gd name="connsiteX23" fmla="*/ 62747 w 605327"/>
              <a:gd name="connsiteY23" fmla="*/ 77661 h 110081"/>
              <a:gd name="connsiteX24" fmla="*/ 56472 w 605327"/>
              <a:gd name="connsiteY24" fmla="*/ 108588 h 110081"/>
              <a:gd name="connsiteX25" fmla="*/ 44520 w 605327"/>
              <a:gd name="connsiteY25" fmla="*/ 108588 h 110081"/>
              <a:gd name="connsiteX26" fmla="*/ 50795 w 605327"/>
              <a:gd name="connsiteY26" fmla="*/ 77661 h 110081"/>
              <a:gd name="connsiteX27" fmla="*/ 28386 w 605327"/>
              <a:gd name="connsiteY27" fmla="*/ 77661 h 110081"/>
              <a:gd name="connsiteX28" fmla="*/ 22111 w 605327"/>
              <a:gd name="connsiteY28" fmla="*/ 108588 h 110081"/>
              <a:gd name="connsiteX29" fmla="*/ 30626 w 605327"/>
              <a:gd name="connsiteY29" fmla="*/ 67206 h 110081"/>
              <a:gd name="connsiteX30" fmla="*/ 53036 w 605327"/>
              <a:gd name="connsiteY30" fmla="*/ 67206 h 110081"/>
              <a:gd name="connsiteX31" fmla="*/ 58564 w 605327"/>
              <a:gd name="connsiteY31" fmla="*/ 40012 h 110081"/>
              <a:gd name="connsiteX32" fmla="*/ 36154 w 605327"/>
              <a:gd name="connsiteY32" fmla="*/ 40012 h 110081"/>
              <a:gd name="connsiteX33" fmla="*/ 30626 w 605327"/>
              <a:gd name="connsiteY33" fmla="*/ 67206 h 110081"/>
              <a:gd name="connsiteX34" fmla="*/ 136661 w 605327"/>
              <a:gd name="connsiteY34" fmla="*/ 110082 h 110081"/>
              <a:gd name="connsiteX35" fmla="*/ 118435 w 605327"/>
              <a:gd name="connsiteY35" fmla="*/ 104233 h 110081"/>
              <a:gd name="connsiteX36" fmla="*/ 105736 w 605327"/>
              <a:gd name="connsiteY36" fmla="*/ 86311 h 110081"/>
              <a:gd name="connsiteX37" fmla="*/ 101254 w 605327"/>
              <a:gd name="connsiteY37" fmla="*/ 54947 h 110081"/>
              <a:gd name="connsiteX38" fmla="*/ 105736 w 605327"/>
              <a:gd name="connsiteY38" fmla="*/ 23584 h 110081"/>
              <a:gd name="connsiteX39" fmla="*/ 118435 w 605327"/>
              <a:gd name="connsiteY39" fmla="*/ 5849 h 110081"/>
              <a:gd name="connsiteX40" fmla="*/ 136661 w 605327"/>
              <a:gd name="connsiteY40" fmla="*/ 186 h 110081"/>
              <a:gd name="connsiteX41" fmla="*/ 154738 w 605327"/>
              <a:gd name="connsiteY41" fmla="*/ 5849 h 110081"/>
              <a:gd name="connsiteX42" fmla="*/ 167138 w 605327"/>
              <a:gd name="connsiteY42" fmla="*/ 23584 h 110081"/>
              <a:gd name="connsiteX43" fmla="*/ 171620 w 605327"/>
              <a:gd name="connsiteY43" fmla="*/ 54698 h 110081"/>
              <a:gd name="connsiteX44" fmla="*/ 167138 w 605327"/>
              <a:gd name="connsiteY44" fmla="*/ 86062 h 110081"/>
              <a:gd name="connsiteX45" fmla="*/ 154738 w 605327"/>
              <a:gd name="connsiteY45" fmla="*/ 104233 h 110081"/>
              <a:gd name="connsiteX46" fmla="*/ 136661 w 605327"/>
              <a:gd name="connsiteY46" fmla="*/ 110082 h 110081"/>
              <a:gd name="connsiteX47" fmla="*/ 136512 w 605327"/>
              <a:gd name="connsiteY47" fmla="*/ 98258 h 110081"/>
              <a:gd name="connsiteX48" fmla="*/ 147866 w 605327"/>
              <a:gd name="connsiteY48" fmla="*/ 94275 h 110081"/>
              <a:gd name="connsiteX49" fmla="*/ 155037 w 605327"/>
              <a:gd name="connsiteY49" fmla="*/ 80648 h 110081"/>
              <a:gd name="connsiteX50" fmla="*/ 157577 w 605327"/>
              <a:gd name="connsiteY50" fmla="*/ 55134 h 110081"/>
              <a:gd name="connsiteX51" fmla="*/ 155187 w 605327"/>
              <a:gd name="connsiteY51" fmla="*/ 29745 h 110081"/>
              <a:gd name="connsiteX52" fmla="*/ 148016 w 605327"/>
              <a:gd name="connsiteY52" fmla="*/ 16117 h 110081"/>
              <a:gd name="connsiteX53" fmla="*/ 136661 w 605327"/>
              <a:gd name="connsiteY53" fmla="*/ 11947 h 110081"/>
              <a:gd name="connsiteX54" fmla="*/ 125158 w 605327"/>
              <a:gd name="connsiteY54" fmla="*/ 16117 h 110081"/>
              <a:gd name="connsiteX55" fmla="*/ 117837 w 605327"/>
              <a:gd name="connsiteY55" fmla="*/ 29745 h 110081"/>
              <a:gd name="connsiteX56" fmla="*/ 115298 w 605327"/>
              <a:gd name="connsiteY56" fmla="*/ 55134 h 110081"/>
              <a:gd name="connsiteX57" fmla="*/ 117688 w 605327"/>
              <a:gd name="connsiteY57" fmla="*/ 80648 h 110081"/>
              <a:gd name="connsiteX58" fmla="*/ 125008 w 605327"/>
              <a:gd name="connsiteY58" fmla="*/ 94275 h 110081"/>
              <a:gd name="connsiteX59" fmla="*/ 136512 w 605327"/>
              <a:gd name="connsiteY59" fmla="*/ 98258 h 110081"/>
              <a:gd name="connsiteX60" fmla="*/ 218799 w 605327"/>
              <a:gd name="connsiteY60" fmla="*/ 110082 h 110081"/>
              <a:gd name="connsiteX61" fmla="*/ 200572 w 605327"/>
              <a:gd name="connsiteY61" fmla="*/ 104233 h 110081"/>
              <a:gd name="connsiteX62" fmla="*/ 187874 w 605327"/>
              <a:gd name="connsiteY62" fmla="*/ 86311 h 110081"/>
              <a:gd name="connsiteX63" fmla="*/ 183392 w 605327"/>
              <a:gd name="connsiteY63" fmla="*/ 54947 h 110081"/>
              <a:gd name="connsiteX64" fmla="*/ 187874 w 605327"/>
              <a:gd name="connsiteY64" fmla="*/ 23584 h 110081"/>
              <a:gd name="connsiteX65" fmla="*/ 200572 w 605327"/>
              <a:gd name="connsiteY65" fmla="*/ 5849 h 110081"/>
              <a:gd name="connsiteX66" fmla="*/ 218799 w 605327"/>
              <a:gd name="connsiteY66" fmla="*/ 186 h 110081"/>
              <a:gd name="connsiteX67" fmla="*/ 236876 w 605327"/>
              <a:gd name="connsiteY67" fmla="*/ 5849 h 110081"/>
              <a:gd name="connsiteX68" fmla="*/ 249276 w 605327"/>
              <a:gd name="connsiteY68" fmla="*/ 23584 h 110081"/>
              <a:gd name="connsiteX69" fmla="*/ 253758 w 605327"/>
              <a:gd name="connsiteY69" fmla="*/ 54698 h 110081"/>
              <a:gd name="connsiteX70" fmla="*/ 249276 w 605327"/>
              <a:gd name="connsiteY70" fmla="*/ 86062 h 110081"/>
              <a:gd name="connsiteX71" fmla="*/ 236876 w 605327"/>
              <a:gd name="connsiteY71" fmla="*/ 104233 h 110081"/>
              <a:gd name="connsiteX72" fmla="*/ 218799 w 605327"/>
              <a:gd name="connsiteY72" fmla="*/ 110082 h 110081"/>
              <a:gd name="connsiteX73" fmla="*/ 218649 w 605327"/>
              <a:gd name="connsiteY73" fmla="*/ 98258 h 110081"/>
              <a:gd name="connsiteX74" fmla="*/ 230004 w 605327"/>
              <a:gd name="connsiteY74" fmla="*/ 94275 h 110081"/>
              <a:gd name="connsiteX75" fmla="*/ 237175 w 605327"/>
              <a:gd name="connsiteY75" fmla="*/ 80648 h 110081"/>
              <a:gd name="connsiteX76" fmla="*/ 239714 w 605327"/>
              <a:gd name="connsiteY76" fmla="*/ 55134 h 110081"/>
              <a:gd name="connsiteX77" fmla="*/ 237324 w 605327"/>
              <a:gd name="connsiteY77" fmla="*/ 29745 h 110081"/>
              <a:gd name="connsiteX78" fmla="*/ 230153 w 605327"/>
              <a:gd name="connsiteY78" fmla="*/ 16117 h 110081"/>
              <a:gd name="connsiteX79" fmla="*/ 218799 w 605327"/>
              <a:gd name="connsiteY79" fmla="*/ 11947 h 110081"/>
              <a:gd name="connsiteX80" fmla="*/ 207295 w 605327"/>
              <a:gd name="connsiteY80" fmla="*/ 16117 h 110081"/>
              <a:gd name="connsiteX81" fmla="*/ 199975 w 605327"/>
              <a:gd name="connsiteY81" fmla="*/ 29745 h 110081"/>
              <a:gd name="connsiteX82" fmla="*/ 197435 w 605327"/>
              <a:gd name="connsiteY82" fmla="*/ 55134 h 110081"/>
              <a:gd name="connsiteX83" fmla="*/ 199825 w 605327"/>
              <a:gd name="connsiteY83" fmla="*/ 80648 h 110081"/>
              <a:gd name="connsiteX84" fmla="*/ 207146 w 605327"/>
              <a:gd name="connsiteY84" fmla="*/ 94275 h 110081"/>
              <a:gd name="connsiteX85" fmla="*/ 218649 w 605327"/>
              <a:gd name="connsiteY85" fmla="*/ 98258 h 110081"/>
              <a:gd name="connsiteX86" fmla="*/ 264490 w 605327"/>
              <a:gd name="connsiteY86" fmla="*/ 35844 h 110081"/>
              <a:gd name="connsiteX87" fmla="*/ 269121 w 605327"/>
              <a:gd name="connsiteY87" fmla="*/ 17051 h 110081"/>
              <a:gd name="connsiteX88" fmla="*/ 281969 w 605327"/>
              <a:gd name="connsiteY88" fmla="*/ 4480 h 110081"/>
              <a:gd name="connsiteX89" fmla="*/ 300046 w 605327"/>
              <a:gd name="connsiteY89" fmla="*/ 0 h 110081"/>
              <a:gd name="connsiteX90" fmla="*/ 321709 w 605327"/>
              <a:gd name="connsiteY90" fmla="*/ 5849 h 110081"/>
              <a:gd name="connsiteX91" fmla="*/ 333810 w 605327"/>
              <a:gd name="connsiteY91" fmla="*/ 21842 h 110081"/>
              <a:gd name="connsiteX92" fmla="*/ 337545 w 605327"/>
              <a:gd name="connsiteY92" fmla="*/ 45426 h 110081"/>
              <a:gd name="connsiteX93" fmla="*/ 332914 w 605327"/>
              <a:gd name="connsiteY93" fmla="*/ 80088 h 110081"/>
              <a:gd name="connsiteX94" fmla="*/ 318571 w 605327"/>
              <a:gd name="connsiteY94" fmla="*/ 102303 h 110081"/>
              <a:gd name="connsiteX95" fmla="*/ 294070 w 605327"/>
              <a:gd name="connsiteY95" fmla="*/ 110082 h 110081"/>
              <a:gd name="connsiteX96" fmla="*/ 271063 w 605327"/>
              <a:gd name="connsiteY96" fmla="*/ 104543 h 110081"/>
              <a:gd name="connsiteX97" fmla="*/ 271063 w 605327"/>
              <a:gd name="connsiteY97" fmla="*/ 91413 h 110081"/>
              <a:gd name="connsiteX98" fmla="*/ 294070 w 605327"/>
              <a:gd name="connsiteY98" fmla="*/ 98010 h 110081"/>
              <a:gd name="connsiteX99" fmla="*/ 309608 w 605327"/>
              <a:gd name="connsiteY99" fmla="*/ 92907 h 110081"/>
              <a:gd name="connsiteX100" fmla="*/ 319318 w 605327"/>
              <a:gd name="connsiteY100" fmla="*/ 79154 h 110081"/>
              <a:gd name="connsiteX101" fmla="*/ 323651 w 605327"/>
              <a:gd name="connsiteY101" fmla="*/ 59739 h 110081"/>
              <a:gd name="connsiteX102" fmla="*/ 312596 w 605327"/>
              <a:gd name="connsiteY102" fmla="*/ 68389 h 110081"/>
              <a:gd name="connsiteX103" fmla="*/ 298702 w 605327"/>
              <a:gd name="connsiteY103" fmla="*/ 71127 h 110081"/>
              <a:gd name="connsiteX104" fmla="*/ 281371 w 605327"/>
              <a:gd name="connsiteY104" fmla="*/ 67082 h 110081"/>
              <a:gd name="connsiteX105" fmla="*/ 268972 w 605327"/>
              <a:gd name="connsiteY105" fmla="*/ 55134 h 110081"/>
              <a:gd name="connsiteX106" fmla="*/ 264490 w 605327"/>
              <a:gd name="connsiteY106" fmla="*/ 35844 h 110081"/>
              <a:gd name="connsiteX107" fmla="*/ 300494 w 605327"/>
              <a:gd name="connsiteY107" fmla="*/ 12134 h 110081"/>
              <a:gd name="connsiteX108" fmla="*/ 289738 w 605327"/>
              <a:gd name="connsiteY108" fmla="*/ 14810 h 110081"/>
              <a:gd name="connsiteX109" fmla="*/ 281670 w 605327"/>
              <a:gd name="connsiteY109" fmla="*/ 22589 h 110081"/>
              <a:gd name="connsiteX110" fmla="*/ 278682 w 605327"/>
              <a:gd name="connsiteY110" fmla="*/ 35532 h 110081"/>
              <a:gd name="connsiteX111" fmla="*/ 281670 w 605327"/>
              <a:gd name="connsiteY111" fmla="*/ 48725 h 110081"/>
              <a:gd name="connsiteX112" fmla="*/ 289290 w 605327"/>
              <a:gd name="connsiteY112" fmla="*/ 56752 h 110081"/>
              <a:gd name="connsiteX113" fmla="*/ 299000 w 605327"/>
              <a:gd name="connsiteY113" fmla="*/ 59428 h 110081"/>
              <a:gd name="connsiteX114" fmla="*/ 315434 w 605327"/>
              <a:gd name="connsiteY114" fmla="*/ 53329 h 110081"/>
              <a:gd name="connsiteX115" fmla="*/ 322157 w 605327"/>
              <a:gd name="connsiteY115" fmla="*/ 35283 h 110081"/>
              <a:gd name="connsiteX116" fmla="*/ 316330 w 605327"/>
              <a:gd name="connsiteY116" fmla="*/ 18544 h 110081"/>
              <a:gd name="connsiteX117" fmla="*/ 300494 w 605327"/>
              <a:gd name="connsiteY117" fmla="*/ 12134 h 110081"/>
              <a:gd name="connsiteX118" fmla="*/ 419683 w 605327"/>
              <a:gd name="connsiteY118" fmla="*/ 73491 h 110081"/>
              <a:gd name="connsiteX119" fmla="*/ 414902 w 605327"/>
              <a:gd name="connsiteY119" fmla="*/ 92782 h 110081"/>
              <a:gd name="connsiteX120" fmla="*/ 402203 w 605327"/>
              <a:gd name="connsiteY120" fmla="*/ 105601 h 110081"/>
              <a:gd name="connsiteX121" fmla="*/ 384126 w 605327"/>
              <a:gd name="connsiteY121" fmla="*/ 110082 h 110081"/>
              <a:gd name="connsiteX122" fmla="*/ 362463 w 605327"/>
              <a:gd name="connsiteY122" fmla="*/ 104108 h 110081"/>
              <a:gd name="connsiteX123" fmla="*/ 350362 w 605327"/>
              <a:gd name="connsiteY123" fmla="*/ 87555 h 110081"/>
              <a:gd name="connsiteX124" fmla="*/ 346627 w 605327"/>
              <a:gd name="connsiteY124" fmla="*/ 63161 h 110081"/>
              <a:gd name="connsiteX125" fmla="*/ 351109 w 605327"/>
              <a:gd name="connsiteY125" fmla="*/ 30181 h 110081"/>
              <a:gd name="connsiteX126" fmla="*/ 365152 w 605327"/>
              <a:gd name="connsiteY126" fmla="*/ 8089 h 110081"/>
              <a:gd name="connsiteX127" fmla="*/ 389654 w 605327"/>
              <a:gd name="connsiteY127" fmla="*/ 0 h 110081"/>
              <a:gd name="connsiteX128" fmla="*/ 412213 w 605327"/>
              <a:gd name="connsiteY128" fmla="*/ 5538 h 110081"/>
              <a:gd name="connsiteX129" fmla="*/ 412213 w 605327"/>
              <a:gd name="connsiteY129" fmla="*/ 18855 h 110081"/>
              <a:gd name="connsiteX130" fmla="*/ 389654 w 605327"/>
              <a:gd name="connsiteY130" fmla="*/ 12259 h 110081"/>
              <a:gd name="connsiteX131" fmla="*/ 374116 w 605327"/>
              <a:gd name="connsiteY131" fmla="*/ 17361 h 110081"/>
              <a:gd name="connsiteX132" fmla="*/ 364256 w 605327"/>
              <a:gd name="connsiteY132" fmla="*/ 31238 h 110081"/>
              <a:gd name="connsiteX133" fmla="*/ 360073 w 605327"/>
              <a:gd name="connsiteY133" fmla="*/ 50778 h 110081"/>
              <a:gd name="connsiteX134" fmla="*/ 371427 w 605327"/>
              <a:gd name="connsiteY134" fmla="*/ 40759 h 110081"/>
              <a:gd name="connsiteX135" fmla="*/ 385470 w 605327"/>
              <a:gd name="connsiteY135" fmla="*/ 37523 h 110081"/>
              <a:gd name="connsiteX136" fmla="*/ 402801 w 605327"/>
              <a:gd name="connsiteY136" fmla="*/ 41693 h 110081"/>
              <a:gd name="connsiteX137" fmla="*/ 415051 w 605327"/>
              <a:gd name="connsiteY137" fmla="*/ 53952 h 110081"/>
              <a:gd name="connsiteX138" fmla="*/ 419683 w 605327"/>
              <a:gd name="connsiteY138" fmla="*/ 73491 h 110081"/>
              <a:gd name="connsiteX139" fmla="*/ 383678 w 605327"/>
              <a:gd name="connsiteY139" fmla="*/ 98134 h 110081"/>
              <a:gd name="connsiteX140" fmla="*/ 394434 w 605327"/>
              <a:gd name="connsiteY140" fmla="*/ 95458 h 110081"/>
              <a:gd name="connsiteX141" fmla="*/ 402352 w 605327"/>
              <a:gd name="connsiteY141" fmla="*/ 87244 h 110081"/>
              <a:gd name="connsiteX142" fmla="*/ 405490 w 605327"/>
              <a:gd name="connsiteY142" fmla="*/ 73803 h 110081"/>
              <a:gd name="connsiteX143" fmla="*/ 402502 w 605327"/>
              <a:gd name="connsiteY143" fmla="*/ 60174 h 110081"/>
              <a:gd name="connsiteX144" fmla="*/ 394882 w 605327"/>
              <a:gd name="connsiteY144" fmla="*/ 51961 h 110081"/>
              <a:gd name="connsiteX145" fmla="*/ 385172 w 605327"/>
              <a:gd name="connsiteY145" fmla="*/ 49160 h 110081"/>
              <a:gd name="connsiteX146" fmla="*/ 368589 w 605327"/>
              <a:gd name="connsiteY146" fmla="*/ 55570 h 110081"/>
              <a:gd name="connsiteX147" fmla="*/ 362015 w 605327"/>
              <a:gd name="connsiteY147" fmla="*/ 74114 h 110081"/>
              <a:gd name="connsiteX148" fmla="*/ 367842 w 605327"/>
              <a:gd name="connsiteY148" fmla="*/ 91538 h 110081"/>
              <a:gd name="connsiteX149" fmla="*/ 383678 w 605327"/>
              <a:gd name="connsiteY149" fmla="*/ 98134 h 110081"/>
              <a:gd name="connsiteX150" fmla="*/ 499429 w 605327"/>
              <a:gd name="connsiteY150" fmla="*/ 13628 h 110081"/>
              <a:gd name="connsiteX151" fmla="*/ 454013 w 605327"/>
              <a:gd name="connsiteY151" fmla="*/ 108588 h 110081"/>
              <a:gd name="connsiteX152" fmla="*/ 439372 w 605327"/>
              <a:gd name="connsiteY152" fmla="*/ 108588 h 110081"/>
              <a:gd name="connsiteX153" fmla="*/ 485087 w 605327"/>
              <a:gd name="connsiteY153" fmla="*/ 14374 h 110081"/>
              <a:gd name="connsiteX154" fmla="*/ 430557 w 605327"/>
              <a:gd name="connsiteY154" fmla="*/ 14374 h 110081"/>
              <a:gd name="connsiteX155" fmla="*/ 430557 w 605327"/>
              <a:gd name="connsiteY155" fmla="*/ 1493 h 110081"/>
              <a:gd name="connsiteX156" fmla="*/ 499429 w 605327"/>
              <a:gd name="connsiteY156" fmla="*/ 1493 h 110081"/>
              <a:gd name="connsiteX157" fmla="*/ 499429 w 605327"/>
              <a:gd name="connsiteY157" fmla="*/ 13628 h 110081"/>
              <a:gd name="connsiteX158" fmla="*/ 518528 w 605327"/>
              <a:gd name="connsiteY158" fmla="*/ 1493 h 110081"/>
              <a:gd name="connsiteX159" fmla="*/ 554532 w 605327"/>
              <a:gd name="connsiteY159" fmla="*/ 1493 h 110081"/>
              <a:gd name="connsiteX160" fmla="*/ 574552 w 605327"/>
              <a:gd name="connsiteY160" fmla="*/ 4044 h 110081"/>
              <a:gd name="connsiteX161" fmla="*/ 590686 w 605327"/>
              <a:gd name="connsiteY161" fmla="*/ 12383 h 110081"/>
              <a:gd name="connsiteX162" fmla="*/ 601443 w 605327"/>
              <a:gd name="connsiteY162" fmla="*/ 27629 h 110081"/>
              <a:gd name="connsiteX163" fmla="*/ 605328 w 605327"/>
              <a:gd name="connsiteY163" fmla="*/ 51401 h 110081"/>
              <a:gd name="connsiteX164" fmla="*/ 598455 w 605327"/>
              <a:gd name="connsiteY164" fmla="*/ 83075 h 110081"/>
              <a:gd name="connsiteX165" fmla="*/ 579930 w 605327"/>
              <a:gd name="connsiteY165" fmla="*/ 102179 h 110081"/>
              <a:gd name="connsiteX166" fmla="*/ 552889 w 605327"/>
              <a:gd name="connsiteY166" fmla="*/ 108588 h 110081"/>
              <a:gd name="connsiteX167" fmla="*/ 518528 w 605327"/>
              <a:gd name="connsiteY167" fmla="*/ 108588 h 110081"/>
              <a:gd name="connsiteX168" fmla="*/ 518528 w 605327"/>
              <a:gd name="connsiteY168" fmla="*/ 1493 h 110081"/>
              <a:gd name="connsiteX169" fmla="*/ 552889 w 605327"/>
              <a:gd name="connsiteY169" fmla="*/ 95893 h 110081"/>
              <a:gd name="connsiteX170" fmla="*/ 572311 w 605327"/>
              <a:gd name="connsiteY170" fmla="*/ 91413 h 110081"/>
              <a:gd name="connsiteX171" fmla="*/ 585308 w 605327"/>
              <a:gd name="connsiteY171" fmla="*/ 77225 h 110081"/>
              <a:gd name="connsiteX172" fmla="*/ 590089 w 605327"/>
              <a:gd name="connsiteY172" fmla="*/ 52458 h 110081"/>
              <a:gd name="connsiteX173" fmla="*/ 585458 w 605327"/>
              <a:gd name="connsiteY173" fmla="*/ 29122 h 110081"/>
              <a:gd name="connsiteX174" fmla="*/ 572759 w 605327"/>
              <a:gd name="connsiteY174" fmla="*/ 17610 h 110081"/>
              <a:gd name="connsiteX175" fmla="*/ 554532 w 605327"/>
              <a:gd name="connsiteY175" fmla="*/ 14374 h 110081"/>
              <a:gd name="connsiteX176" fmla="*/ 532571 w 605327"/>
              <a:gd name="connsiteY176" fmla="*/ 14374 h 110081"/>
              <a:gd name="connsiteX177" fmla="*/ 532571 w 605327"/>
              <a:gd name="connsiteY177" fmla="*/ 95893 h 110081"/>
              <a:gd name="connsiteX178" fmla="*/ 552889 w 605327"/>
              <a:gd name="connsiteY17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60532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264490" y="35844"/>
                </a:moveTo>
                <a:cubicBezTo>
                  <a:pt x="264490" y="28687"/>
                  <a:pt x="266033" y="22402"/>
                  <a:pt x="269121" y="17051"/>
                </a:cubicBezTo>
                <a:cubicBezTo>
                  <a:pt x="272308" y="11637"/>
                  <a:pt x="276591" y="7467"/>
                  <a:pt x="281969" y="4480"/>
                </a:cubicBezTo>
                <a:cubicBezTo>
                  <a:pt x="287347" y="1493"/>
                  <a:pt x="293373" y="0"/>
                  <a:pt x="300046" y="0"/>
                </a:cubicBezTo>
                <a:cubicBezTo>
                  <a:pt x="309010" y="0"/>
                  <a:pt x="316231" y="1929"/>
                  <a:pt x="321709" y="5849"/>
                </a:cubicBezTo>
                <a:cubicBezTo>
                  <a:pt x="327286" y="9645"/>
                  <a:pt x="331320" y="14934"/>
                  <a:pt x="333810" y="21842"/>
                </a:cubicBezTo>
                <a:cubicBezTo>
                  <a:pt x="336300" y="28563"/>
                  <a:pt x="337545" y="36466"/>
                  <a:pt x="337545" y="45426"/>
                </a:cubicBezTo>
                <a:cubicBezTo>
                  <a:pt x="337545" y="58868"/>
                  <a:pt x="336001" y="70380"/>
                  <a:pt x="332914" y="80088"/>
                </a:cubicBezTo>
                <a:cubicBezTo>
                  <a:pt x="329826" y="89733"/>
                  <a:pt x="325045" y="97138"/>
                  <a:pt x="318571" y="102303"/>
                </a:cubicBezTo>
                <a:cubicBezTo>
                  <a:pt x="312197" y="107468"/>
                  <a:pt x="304030" y="110082"/>
                  <a:pt x="294070" y="110082"/>
                </a:cubicBezTo>
                <a:cubicBezTo>
                  <a:pt x="285106" y="110082"/>
                  <a:pt x="277437" y="108215"/>
                  <a:pt x="271063" y="104543"/>
                </a:cubicBezTo>
                <a:lnTo>
                  <a:pt x="271063" y="91413"/>
                </a:lnTo>
                <a:cubicBezTo>
                  <a:pt x="277836" y="95769"/>
                  <a:pt x="285505" y="98010"/>
                  <a:pt x="294070" y="98010"/>
                </a:cubicBezTo>
                <a:cubicBezTo>
                  <a:pt x="300245" y="98010"/>
                  <a:pt x="305424" y="96267"/>
                  <a:pt x="309608" y="92907"/>
                </a:cubicBezTo>
                <a:cubicBezTo>
                  <a:pt x="313791" y="89546"/>
                  <a:pt x="317028" y="84941"/>
                  <a:pt x="319318" y="79154"/>
                </a:cubicBezTo>
                <a:cubicBezTo>
                  <a:pt x="321709" y="73367"/>
                  <a:pt x="323153" y="66896"/>
                  <a:pt x="323651" y="59739"/>
                </a:cubicBezTo>
                <a:cubicBezTo>
                  <a:pt x="320563" y="63660"/>
                  <a:pt x="316878" y="66522"/>
                  <a:pt x="312596" y="68389"/>
                </a:cubicBezTo>
                <a:cubicBezTo>
                  <a:pt x="308313" y="70193"/>
                  <a:pt x="303682" y="71127"/>
                  <a:pt x="298702" y="71127"/>
                </a:cubicBezTo>
                <a:cubicBezTo>
                  <a:pt x="292327" y="71127"/>
                  <a:pt x="286551" y="69758"/>
                  <a:pt x="281371" y="67082"/>
                </a:cubicBezTo>
                <a:cubicBezTo>
                  <a:pt x="276192" y="64406"/>
                  <a:pt x="272059" y="60424"/>
                  <a:pt x="268972" y="55134"/>
                </a:cubicBezTo>
                <a:cubicBezTo>
                  <a:pt x="265984" y="49845"/>
                  <a:pt x="264490" y="43435"/>
                  <a:pt x="264490" y="35844"/>
                </a:cubicBezTo>
                <a:close/>
                <a:moveTo>
                  <a:pt x="300494" y="12134"/>
                </a:moveTo>
                <a:cubicBezTo>
                  <a:pt x="296710" y="12134"/>
                  <a:pt x="293124" y="13006"/>
                  <a:pt x="289738" y="14810"/>
                </a:cubicBezTo>
                <a:cubicBezTo>
                  <a:pt x="286451" y="16490"/>
                  <a:pt x="283762" y="19104"/>
                  <a:pt x="281670" y="22589"/>
                </a:cubicBezTo>
                <a:cubicBezTo>
                  <a:pt x="279678" y="25949"/>
                  <a:pt x="278682" y="30305"/>
                  <a:pt x="278682" y="35532"/>
                </a:cubicBezTo>
                <a:cubicBezTo>
                  <a:pt x="278682" y="40759"/>
                  <a:pt x="279678" y="45116"/>
                  <a:pt x="281670" y="48725"/>
                </a:cubicBezTo>
                <a:cubicBezTo>
                  <a:pt x="283662" y="52271"/>
                  <a:pt x="286202" y="54947"/>
                  <a:pt x="289290" y="56752"/>
                </a:cubicBezTo>
                <a:cubicBezTo>
                  <a:pt x="292377" y="58556"/>
                  <a:pt x="295614" y="59428"/>
                  <a:pt x="299000" y="59428"/>
                </a:cubicBezTo>
                <a:cubicBezTo>
                  <a:pt x="305574" y="59428"/>
                  <a:pt x="311052" y="57437"/>
                  <a:pt x="315434" y="53329"/>
                </a:cubicBezTo>
                <a:cubicBezTo>
                  <a:pt x="319916" y="49160"/>
                  <a:pt x="322157" y="43124"/>
                  <a:pt x="322157" y="35283"/>
                </a:cubicBezTo>
                <a:cubicBezTo>
                  <a:pt x="322157" y="28313"/>
                  <a:pt x="320215" y="22713"/>
                  <a:pt x="316330" y="18544"/>
                </a:cubicBezTo>
                <a:cubicBezTo>
                  <a:pt x="312446" y="14250"/>
                  <a:pt x="307167" y="12134"/>
                  <a:pt x="300494" y="12134"/>
                </a:cubicBezTo>
                <a:close/>
                <a:moveTo>
                  <a:pt x="419683" y="73491"/>
                </a:moveTo>
                <a:cubicBezTo>
                  <a:pt x="419683" y="80772"/>
                  <a:pt x="418089" y="87182"/>
                  <a:pt x="414902" y="92782"/>
                </a:cubicBezTo>
                <a:cubicBezTo>
                  <a:pt x="411814" y="98258"/>
                  <a:pt x="407581" y="102490"/>
                  <a:pt x="402203" y="105601"/>
                </a:cubicBezTo>
                <a:cubicBezTo>
                  <a:pt x="396825" y="108588"/>
                  <a:pt x="390799" y="110082"/>
                  <a:pt x="384126" y="110082"/>
                </a:cubicBezTo>
                <a:cubicBezTo>
                  <a:pt x="375162" y="110082"/>
                  <a:pt x="367941" y="108091"/>
                  <a:pt x="362463" y="104108"/>
                </a:cubicBezTo>
                <a:cubicBezTo>
                  <a:pt x="356985" y="100125"/>
                  <a:pt x="352952" y="94587"/>
                  <a:pt x="350362" y="87555"/>
                </a:cubicBezTo>
                <a:cubicBezTo>
                  <a:pt x="347872" y="80461"/>
                  <a:pt x="346627" y="72372"/>
                  <a:pt x="346627" y="63161"/>
                </a:cubicBezTo>
                <a:cubicBezTo>
                  <a:pt x="346627" y="50653"/>
                  <a:pt x="348121" y="39639"/>
                  <a:pt x="351109" y="30181"/>
                </a:cubicBezTo>
                <a:cubicBezTo>
                  <a:pt x="354196" y="20722"/>
                  <a:pt x="358878" y="13379"/>
                  <a:pt x="365152" y="8089"/>
                </a:cubicBezTo>
                <a:cubicBezTo>
                  <a:pt x="371527" y="2675"/>
                  <a:pt x="379694" y="0"/>
                  <a:pt x="389654" y="0"/>
                </a:cubicBezTo>
                <a:cubicBezTo>
                  <a:pt x="398219" y="0"/>
                  <a:pt x="405739" y="1866"/>
                  <a:pt x="412213" y="5538"/>
                </a:cubicBezTo>
                <a:lnTo>
                  <a:pt x="412213" y="18855"/>
                </a:lnTo>
                <a:cubicBezTo>
                  <a:pt x="405739" y="14437"/>
                  <a:pt x="398219" y="12259"/>
                  <a:pt x="389654" y="12259"/>
                </a:cubicBezTo>
                <a:cubicBezTo>
                  <a:pt x="383478" y="12259"/>
                  <a:pt x="378299" y="13939"/>
                  <a:pt x="374116" y="17361"/>
                </a:cubicBezTo>
                <a:cubicBezTo>
                  <a:pt x="369933" y="20722"/>
                  <a:pt x="366646" y="25327"/>
                  <a:pt x="364256" y="31238"/>
                </a:cubicBezTo>
                <a:cubicBezTo>
                  <a:pt x="361965" y="37026"/>
                  <a:pt x="360571" y="43498"/>
                  <a:pt x="360073" y="50778"/>
                </a:cubicBezTo>
                <a:cubicBezTo>
                  <a:pt x="363360" y="46298"/>
                  <a:pt x="367144" y="42999"/>
                  <a:pt x="371427" y="40759"/>
                </a:cubicBezTo>
                <a:cubicBezTo>
                  <a:pt x="375710" y="38581"/>
                  <a:pt x="380391" y="37523"/>
                  <a:pt x="385470" y="37523"/>
                </a:cubicBezTo>
                <a:cubicBezTo>
                  <a:pt x="391944" y="37523"/>
                  <a:pt x="397721" y="38893"/>
                  <a:pt x="402801" y="41693"/>
                </a:cubicBezTo>
                <a:cubicBezTo>
                  <a:pt x="407980" y="44493"/>
                  <a:pt x="412063" y="48538"/>
                  <a:pt x="415051" y="53952"/>
                </a:cubicBezTo>
                <a:cubicBezTo>
                  <a:pt x="418139" y="59179"/>
                  <a:pt x="419683" y="65713"/>
                  <a:pt x="419683" y="73491"/>
                </a:cubicBezTo>
                <a:close/>
                <a:moveTo>
                  <a:pt x="383678" y="98134"/>
                </a:moveTo>
                <a:cubicBezTo>
                  <a:pt x="387562" y="98134"/>
                  <a:pt x="391147" y="97263"/>
                  <a:pt x="394434" y="95458"/>
                </a:cubicBezTo>
                <a:cubicBezTo>
                  <a:pt x="397721" y="93529"/>
                  <a:pt x="400360" y="90791"/>
                  <a:pt x="402352" y="87244"/>
                </a:cubicBezTo>
                <a:cubicBezTo>
                  <a:pt x="404444" y="83635"/>
                  <a:pt x="405490" y="79154"/>
                  <a:pt x="405490" y="73803"/>
                </a:cubicBezTo>
                <a:cubicBezTo>
                  <a:pt x="405490" y="68389"/>
                  <a:pt x="404494" y="63908"/>
                  <a:pt x="402502" y="60174"/>
                </a:cubicBezTo>
                <a:cubicBezTo>
                  <a:pt x="400510" y="56503"/>
                  <a:pt x="397970" y="53765"/>
                  <a:pt x="394882" y="51961"/>
                </a:cubicBezTo>
                <a:cubicBezTo>
                  <a:pt x="391795" y="50093"/>
                  <a:pt x="388558" y="49160"/>
                  <a:pt x="385172" y="49160"/>
                </a:cubicBezTo>
                <a:cubicBezTo>
                  <a:pt x="378598" y="49160"/>
                  <a:pt x="373070" y="51276"/>
                  <a:pt x="368589" y="55570"/>
                </a:cubicBezTo>
                <a:cubicBezTo>
                  <a:pt x="364206" y="59739"/>
                  <a:pt x="362015" y="65900"/>
                  <a:pt x="362015" y="74114"/>
                </a:cubicBezTo>
                <a:cubicBezTo>
                  <a:pt x="362015" y="81270"/>
                  <a:pt x="363957" y="87058"/>
                  <a:pt x="367842" y="91538"/>
                </a:cubicBezTo>
                <a:cubicBezTo>
                  <a:pt x="371726" y="95956"/>
                  <a:pt x="377005" y="98134"/>
                  <a:pt x="383678" y="98134"/>
                </a:cubicBezTo>
                <a:close/>
                <a:moveTo>
                  <a:pt x="499429" y="13628"/>
                </a:moveTo>
                <a:lnTo>
                  <a:pt x="454013" y="108588"/>
                </a:lnTo>
                <a:lnTo>
                  <a:pt x="439372" y="108588"/>
                </a:lnTo>
                <a:lnTo>
                  <a:pt x="485087" y="14374"/>
                </a:lnTo>
                <a:lnTo>
                  <a:pt x="430557" y="14374"/>
                </a:lnTo>
                <a:lnTo>
                  <a:pt x="430557" y="1493"/>
                </a:lnTo>
                <a:lnTo>
                  <a:pt x="499429" y="1493"/>
                </a:lnTo>
                <a:lnTo>
                  <a:pt x="499429" y="13628"/>
                </a:lnTo>
                <a:close/>
                <a:moveTo>
                  <a:pt x="518528" y="1493"/>
                </a:moveTo>
                <a:lnTo>
                  <a:pt x="554532" y="1493"/>
                </a:lnTo>
                <a:cubicBezTo>
                  <a:pt x="561704" y="1493"/>
                  <a:pt x="568377" y="2365"/>
                  <a:pt x="574552" y="4044"/>
                </a:cubicBezTo>
                <a:cubicBezTo>
                  <a:pt x="580727" y="5725"/>
                  <a:pt x="586105" y="8525"/>
                  <a:pt x="590686" y="12383"/>
                </a:cubicBezTo>
                <a:cubicBezTo>
                  <a:pt x="595268" y="16179"/>
                  <a:pt x="598854" y="21282"/>
                  <a:pt x="601443" y="27629"/>
                </a:cubicBezTo>
                <a:cubicBezTo>
                  <a:pt x="604033" y="34039"/>
                  <a:pt x="605328" y="41942"/>
                  <a:pt x="605328" y="51401"/>
                </a:cubicBezTo>
                <a:cubicBezTo>
                  <a:pt x="605328" y="63908"/>
                  <a:pt x="603037" y="74487"/>
                  <a:pt x="598455" y="83075"/>
                </a:cubicBezTo>
                <a:cubicBezTo>
                  <a:pt x="593973" y="91538"/>
                  <a:pt x="587798" y="97885"/>
                  <a:pt x="579930" y="102179"/>
                </a:cubicBezTo>
                <a:cubicBezTo>
                  <a:pt x="572062" y="106473"/>
                  <a:pt x="563048" y="108588"/>
                  <a:pt x="552889" y="108588"/>
                </a:cubicBezTo>
                <a:lnTo>
                  <a:pt x="518528" y="108588"/>
                </a:lnTo>
                <a:lnTo>
                  <a:pt x="518528" y="1493"/>
                </a:lnTo>
                <a:close/>
                <a:moveTo>
                  <a:pt x="552889" y="95893"/>
                </a:moveTo>
                <a:cubicBezTo>
                  <a:pt x="560259" y="95893"/>
                  <a:pt x="566733" y="94400"/>
                  <a:pt x="572311" y="91413"/>
                </a:cubicBezTo>
                <a:cubicBezTo>
                  <a:pt x="577888" y="88302"/>
                  <a:pt x="582221" y="83572"/>
                  <a:pt x="585308" y="77225"/>
                </a:cubicBezTo>
                <a:cubicBezTo>
                  <a:pt x="588495" y="70754"/>
                  <a:pt x="590089" y="62477"/>
                  <a:pt x="590089" y="52458"/>
                </a:cubicBezTo>
                <a:cubicBezTo>
                  <a:pt x="590089" y="42377"/>
                  <a:pt x="588545" y="34599"/>
                  <a:pt x="585458" y="29122"/>
                </a:cubicBezTo>
                <a:cubicBezTo>
                  <a:pt x="582370" y="23646"/>
                  <a:pt x="578137" y="19851"/>
                  <a:pt x="572759" y="17610"/>
                </a:cubicBezTo>
                <a:cubicBezTo>
                  <a:pt x="567480" y="15433"/>
                  <a:pt x="561405" y="14374"/>
                  <a:pt x="554532" y="14374"/>
                </a:cubicBezTo>
                <a:lnTo>
                  <a:pt x="532571" y="14374"/>
                </a:lnTo>
                <a:lnTo>
                  <a:pt x="532571" y="95893"/>
                </a:lnTo>
                <a:lnTo>
                  <a:pt x="552889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7" name="Полилиния 986">
            <a:extLst>
              <a:ext uri="{FF2B5EF4-FFF2-40B4-BE49-F238E27FC236}">
                <a16:creationId xmlns:a16="http://schemas.microsoft.com/office/drawing/2014/main" id="{CC095993-3AAA-4CA1-78C2-F62937ACCDF8}"/>
              </a:ext>
            </a:extLst>
          </p:cNvPr>
          <p:cNvSpPr/>
          <p:nvPr userDrawn="1"/>
        </p:nvSpPr>
        <p:spPr>
          <a:xfrm>
            <a:off x="13814863" y="5966300"/>
            <a:ext cx="1398954" cy="726227"/>
          </a:xfrm>
          <a:custGeom>
            <a:avLst/>
            <a:gdLst>
              <a:gd name="connsiteX0" fmla="*/ 213 w 1198727"/>
              <a:gd name="connsiteY0" fmla="*/ 1322 h 622284"/>
              <a:gd name="connsiteX1" fmla="*/ 1198941 w 1198727"/>
              <a:gd name="connsiteY1" fmla="*/ 1322 h 622284"/>
              <a:gd name="connsiteX2" fmla="*/ 1198941 w 1198727"/>
              <a:gd name="connsiteY2" fmla="*/ 623606 h 622284"/>
              <a:gd name="connsiteX3" fmla="*/ 213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322"/>
                </a:moveTo>
                <a:lnTo>
                  <a:pt x="1198941" y="1322"/>
                </a:lnTo>
                <a:lnTo>
                  <a:pt x="1198941" y="623606"/>
                </a:lnTo>
                <a:lnTo>
                  <a:pt x="213" y="623606"/>
                </a:lnTo>
                <a:close/>
              </a:path>
            </a:pathLst>
          </a:custGeom>
          <a:solidFill>
            <a:srgbClr val="00BEA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8" name="Полилиния 987">
            <a:extLst>
              <a:ext uri="{FF2B5EF4-FFF2-40B4-BE49-F238E27FC236}">
                <a16:creationId xmlns:a16="http://schemas.microsoft.com/office/drawing/2014/main" id="{CA3C2299-2B99-8F79-E5B2-3372EC81E889}"/>
              </a:ext>
            </a:extLst>
          </p:cNvPr>
          <p:cNvSpPr/>
          <p:nvPr userDrawn="1"/>
        </p:nvSpPr>
        <p:spPr>
          <a:xfrm>
            <a:off x="13938073" y="6268264"/>
            <a:ext cx="726335" cy="128252"/>
          </a:xfrm>
          <a:custGeom>
            <a:avLst/>
            <a:gdLst>
              <a:gd name="connsiteX0" fmla="*/ 22111 w 622377"/>
              <a:gd name="connsiteY0" fmla="*/ 108402 h 109895"/>
              <a:gd name="connsiteX1" fmla="*/ 10159 w 622377"/>
              <a:gd name="connsiteY1" fmla="*/ 108402 h 109895"/>
              <a:gd name="connsiteX2" fmla="*/ 16434 w 622377"/>
              <a:gd name="connsiteY2" fmla="*/ 77475 h 109895"/>
              <a:gd name="connsiteX3" fmla="*/ 0 w 622377"/>
              <a:gd name="connsiteY3" fmla="*/ 77475 h 109895"/>
              <a:gd name="connsiteX4" fmla="*/ 0 w 622377"/>
              <a:gd name="connsiteY4" fmla="*/ 67020 h 109895"/>
              <a:gd name="connsiteX5" fmla="*/ 18675 w 622377"/>
              <a:gd name="connsiteY5" fmla="*/ 67020 h 109895"/>
              <a:gd name="connsiteX6" fmla="*/ 24202 w 622377"/>
              <a:gd name="connsiteY6" fmla="*/ 39826 h 109895"/>
              <a:gd name="connsiteX7" fmla="*/ 4034 w 622377"/>
              <a:gd name="connsiteY7" fmla="*/ 39826 h 109895"/>
              <a:gd name="connsiteX8" fmla="*/ 4034 w 622377"/>
              <a:gd name="connsiteY8" fmla="*/ 29372 h 109895"/>
              <a:gd name="connsiteX9" fmla="*/ 26294 w 622377"/>
              <a:gd name="connsiteY9" fmla="*/ 29372 h 109895"/>
              <a:gd name="connsiteX10" fmla="*/ 32120 w 622377"/>
              <a:gd name="connsiteY10" fmla="*/ 1307 h 109895"/>
              <a:gd name="connsiteX11" fmla="*/ 44072 w 622377"/>
              <a:gd name="connsiteY11" fmla="*/ 1307 h 109895"/>
              <a:gd name="connsiteX12" fmla="*/ 38246 w 622377"/>
              <a:gd name="connsiteY12" fmla="*/ 29372 h 109895"/>
              <a:gd name="connsiteX13" fmla="*/ 60655 w 622377"/>
              <a:gd name="connsiteY13" fmla="*/ 29372 h 109895"/>
              <a:gd name="connsiteX14" fmla="*/ 66482 w 622377"/>
              <a:gd name="connsiteY14" fmla="*/ 1307 h 109895"/>
              <a:gd name="connsiteX15" fmla="*/ 78434 w 622377"/>
              <a:gd name="connsiteY15" fmla="*/ 1307 h 109895"/>
              <a:gd name="connsiteX16" fmla="*/ 72607 w 622377"/>
              <a:gd name="connsiteY16" fmla="*/ 29372 h 109895"/>
              <a:gd name="connsiteX17" fmla="*/ 89340 w 622377"/>
              <a:gd name="connsiteY17" fmla="*/ 29372 h 109895"/>
              <a:gd name="connsiteX18" fmla="*/ 89340 w 622377"/>
              <a:gd name="connsiteY18" fmla="*/ 39826 h 109895"/>
              <a:gd name="connsiteX19" fmla="*/ 70516 w 622377"/>
              <a:gd name="connsiteY19" fmla="*/ 39826 h 109895"/>
              <a:gd name="connsiteX20" fmla="*/ 64988 w 622377"/>
              <a:gd name="connsiteY20" fmla="*/ 67020 h 109895"/>
              <a:gd name="connsiteX21" fmla="*/ 85306 w 622377"/>
              <a:gd name="connsiteY21" fmla="*/ 67020 h 109895"/>
              <a:gd name="connsiteX22" fmla="*/ 85306 w 622377"/>
              <a:gd name="connsiteY22" fmla="*/ 77475 h 109895"/>
              <a:gd name="connsiteX23" fmla="*/ 62747 w 622377"/>
              <a:gd name="connsiteY23" fmla="*/ 77475 h 109895"/>
              <a:gd name="connsiteX24" fmla="*/ 56472 w 622377"/>
              <a:gd name="connsiteY24" fmla="*/ 108402 h 109895"/>
              <a:gd name="connsiteX25" fmla="*/ 44520 w 622377"/>
              <a:gd name="connsiteY25" fmla="*/ 108402 h 109895"/>
              <a:gd name="connsiteX26" fmla="*/ 50795 w 622377"/>
              <a:gd name="connsiteY26" fmla="*/ 77475 h 109895"/>
              <a:gd name="connsiteX27" fmla="*/ 28386 w 622377"/>
              <a:gd name="connsiteY27" fmla="*/ 77475 h 109895"/>
              <a:gd name="connsiteX28" fmla="*/ 22111 w 622377"/>
              <a:gd name="connsiteY28" fmla="*/ 108402 h 109895"/>
              <a:gd name="connsiteX29" fmla="*/ 30626 w 622377"/>
              <a:gd name="connsiteY29" fmla="*/ 67020 h 109895"/>
              <a:gd name="connsiteX30" fmla="*/ 53036 w 622377"/>
              <a:gd name="connsiteY30" fmla="*/ 67020 h 109895"/>
              <a:gd name="connsiteX31" fmla="*/ 58564 w 622377"/>
              <a:gd name="connsiteY31" fmla="*/ 39826 h 109895"/>
              <a:gd name="connsiteX32" fmla="*/ 36154 w 622377"/>
              <a:gd name="connsiteY32" fmla="*/ 39826 h 109895"/>
              <a:gd name="connsiteX33" fmla="*/ 30626 w 622377"/>
              <a:gd name="connsiteY33" fmla="*/ 67020 h 109895"/>
              <a:gd name="connsiteX34" fmla="*/ 136661 w 622377"/>
              <a:gd name="connsiteY34" fmla="*/ 109896 h 109895"/>
              <a:gd name="connsiteX35" fmla="*/ 118435 w 622377"/>
              <a:gd name="connsiteY35" fmla="*/ 104047 h 109895"/>
              <a:gd name="connsiteX36" fmla="*/ 105736 w 622377"/>
              <a:gd name="connsiteY36" fmla="*/ 86125 h 109895"/>
              <a:gd name="connsiteX37" fmla="*/ 101254 w 622377"/>
              <a:gd name="connsiteY37" fmla="*/ 54761 h 109895"/>
              <a:gd name="connsiteX38" fmla="*/ 105736 w 622377"/>
              <a:gd name="connsiteY38" fmla="*/ 23398 h 109895"/>
              <a:gd name="connsiteX39" fmla="*/ 118435 w 622377"/>
              <a:gd name="connsiteY39" fmla="*/ 5663 h 109895"/>
              <a:gd name="connsiteX40" fmla="*/ 136661 w 622377"/>
              <a:gd name="connsiteY40" fmla="*/ 0 h 109895"/>
              <a:gd name="connsiteX41" fmla="*/ 154738 w 622377"/>
              <a:gd name="connsiteY41" fmla="*/ 5663 h 109895"/>
              <a:gd name="connsiteX42" fmla="*/ 167138 w 622377"/>
              <a:gd name="connsiteY42" fmla="*/ 23398 h 109895"/>
              <a:gd name="connsiteX43" fmla="*/ 171620 w 622377"/>
              <a:gd name="connsiteY43" fmla="*/ 54512 h 109895"/>
              <a:gd name="connsiteX44" fmla="*/ 167138 w 622377"/>
              <a:gd name="connsiteY44" fmla="*/ 85876 h 109895"/>
              <a:gd name="connsiteX45" fmla="*/ 154738 w 622377"/>
              <a:gd name="connsiteY45" fmla="*/ 104047 h 109895"/>
              <a:gd name="connsiteX46" fmla="*/ 136661 w 622377"/>
              <a:gd name="connsiteY46" fmla="*/ 109896 h 109895"/>
              <a:gd name="connsiteX47" fmla="*/ 136512 w 622377"/>
              <a:gd name="connsiteY47" fmla="*/ 98072 h 109895"/>
              <a:gd name="connsiteX48" fmla="*/ 147866 w 622377"/>
              <a:gd name="connsiteY48" fmla="*/ 94089 h 109895"/>
              <a:gd name="connsiteX49" fmla="*/ 155037 w 622377"/>
              <a:gd name="connsiteY49" fmla="*/ 80462 h 109895"/>
              <a:gd name="connsiteX50" fmla="*/ 157577 w 622377"/>
              <a:gd name="connsiteY50" fmla="*/ 54948 h 109895"/>
              <a:gd name="connsiteX51" fmla="*/ 155187 w 622377"/>
              <a:gd name="connsiteY51" fmla="*/ 29559 h 109895"/>
              <a:gd name="connsiteX52" fmla="*/ 148016 w 622377"/>
              <a:gd name="connsiteY52" fmla="*/ 15931 h 109895"/>
              <a:gd name="connsiteX53" fmla="*/ 136661 w 622377"/>
              <a:gd name="connsiteY53" fmla="*/ 11761 h 109895"/>
              <a:gd name="connsiteX54" fmla="*/ 125158 w 622377"/>
              <a:gd name="connsiteY54" fmla="*/ 15931 h 109895"/>
              <a:gd name="connsiteX55" fmla="*/ 117837 w 622377"/>
              <a:gd name="connsiteY55" fmla="*/ 29559 h 109895"/>
              <a:gd name="connsiteX56" fmla="*/ 115298 w 622377"/>
              <a:gd name="connsiteY56" fmla="*/ 54948 h 109895"/>
              <a:gd name="connsiteX57" fmla="*/ 117688 w 622377"/>
              <a:gd name="connsiteY57" fmla="*/ 80462 h 109895"/>
              <a:gd name="connsiteX58" fmla="*/ 125008 w 622377"/>
              <a:gd name="connsiteY58" fmla="*/ 94089 h 109895"/>
              <a:gd name="connsiteX59" fmla="*/ 136512 w 622377"/>
              <a:gd name="connsiteY59" fmla="*/ 98072 h 109895"/>
              <a:gd name="connsiteX60" fmla="*/ 218799 w 622377"/>
              <a:gd name="connsiteY60" fmla="*/ 109896 h 109895"/>
              <a:gd name="connsiteX61" fmla="*/ 200572 w 622377"/>
              <a:gd name="connsiteY61" fmla="*/ 104047 h 109895"/>
              <a:gd name="connsiteX62" fmla="*/ 187874 w 622377"/>
              <a:gd name="connsiteY62" fmla="*/ 86125 h 109895"/>
              <a:gd name="connsiteX63" fmla="*/ 183392 w 622377"/>
              <a:gd name="connsiteY63" fmla="*/ 54761 h 109895"/>
              <a:gd name="connsiteX64" fmla="*/ 187874 w 622377"/>
              <a:gd name="connsiteY64" fmla="*/ 23398 h 109895"/>
              <a:gd name="connsiteX65" fmla="*/ 200572 w 622377"/>
              <a:gd name="connsiteY65" fmla="*/ 5663 h 109895"/>
              <a:gd name="connsiteX66" fmla="*/ 218799 w 622377"/>
              <a:gd name="connsiteY66" fmla="*/ 0 h 109895"/>
              <a:gd name="connsiteX67" fmla="*/ 236876 w 622377"/>
              <a:gd name="connsiteY67" fmla="*/ 5663 h 109895"/>
              <a:gd name="connsiteX68" fmla="*/ 249276 w 622377"/>
              <a:gd name="connsiteY68" fmla="*/ 23398 h 109895"/>
              <a:gd name="connsiteX69" fmla="*/ 253758 w 622377"/>
              <a:gd name="connsiteY69" fmla="*/ 54512 h 109895"/>
              <a:gd name="connsiteX70" fmla="*/ 249276 w 622377"/>
              <a:gd name="connsiteY70" fmla="*/ 85876 h 109895"/>
              <a:gd name="connsiteX71" fmla="*/ 236876 w 622377"/>
              <a:gd name="connsiteY71" fmla="*/ 104047 h 109895"/>
              <a:gd name="connsiteX72" fmla="*/ 218799 w 622377"/>
              <a:gd name="connsiteY72" fmla="*/ 109896 h 109895"/>
              <a:gd name="connsiteX73" fmla="*/ 218649 w 622377"/>
              <a:gd name="connsiteY73" fmla="*/ 98072 h 109895"/>
              <a:gd name="connsiteX74" fmla="*/ 230004 w 622377"/>
              <a:gd name="connsiteY74" fmla="*/ 94089 h 109895"/>
              <a:gd name="connsiteX75" fmla="*/ 237175 w 622377"/>
              <a:gd name="connsiteY75" fmla="*/ 80462 h 109895"/>
              <a:gd name="connsiteX76" fmla="*/ 239714 w 622377"/>
              <a:gd name="connsiteY76" fmla="*/ 54948 h 109895"/>
              <a:gd name="connsiteX77" fmla="*/ 237324 w 622377"/>
              <a:gd name="connsiteY77" fmla="*/ 29559 h 109895"/>
              <a:gd name="connsiteX78" fmla="*/ 230153 w 622377"/>
              <a:gd name="connsiteY78" fmla="*/ 15931 h 109895"/>
              <a:gd name="connsiteX79" fmla="*/ 218799 w 622377"/>
              <a:gd name="connsiteY79" fmla="*/ 11761 h 109895"/>
              <a:gd name="connsiteX80" fmla="*/ 207295 w 622377"/>
              <a:gd name="connsiteY80" fmla="*/ 15931 h 109895"/>
              <a:gd name="connsiteX81" fmla="*/ 199975 w 622377"/>
              <a:gd name="connsiteY81" fmla="*/ 29559 h 109895"/>
              <a:gd name="connsiteX82" fmla="*/ 197435 w 622377"/>
              <a:gd name="connsiteY82" fmla="*/ 54948 h 109895"/>
              <a:gd name="connsiteX83" fmla="*/ 199825 w 622377"/>
              <a:gd name="connsiteY83" fmla="*/ 80462 h 109895"/>
              <a:gd name="connsiteX84" fmla="*/ 207146 w 622377"/>
              <a:gd name="connsiteY84" fmla="*/ 94089 h 109895"/>
              <a:gd name="connsiteX85" fmla="*/ 218649 w 622377"/>
              <a:gd name="connsiteY85" fmla="*/ 98072 h 109895"/>
              <a:gd name="connsiteX86" fmla="*/ 272109 w 622377"/>
              <a:gd name="connsiteY86" fmla="*/ 1307 h 109895"/>
              <a:gd name="connsiteX87" fmla="*/ 308413 w 622377"/>
              <a:gd name="connsiteY87" fmla="*/ 1307 h 109895"/>
              <a:gd name="connsiteX88" fmla="*/ 335155 w 622377"/>
              <a:gd name="connsiteY88" fmla="*/ 7281 h 109895"/>
              <a:gd name="connsiteX89" fmla="*/ 344417 w 622377"/>
              <a:gd name="connsiteY89" fmla="*/ 27443 h 109895"/>
              <a:gd name="connsiteX90" fmla="*/ 338591 w 622377"/>
              <a:gd name="connsiteY90" fmla="*/ 44930 h 109895"/>
              <a:gd name="connsiteX91" fmla="*/ 323053 w 622377"/>
              <a:gd name="connsiteY91" fmla="*/ 52832 h 109895"/>
              <a:gd name="connsiteX92" fmla="*/ 341877 w 622377"/>
              <a:gd name="connsiteY92" fmla="*/ 60175 h 109895"/>
              <a:gd name="connsiteX93" fmla="*/ 348302 w 622377"/>
              <a:gd name="connsiteY93" fmla="*/ 77475 h 109895"/>
              <a:gd name="connsiteX94" fmla="*/ 343073 w 622377"/>
              <a:gd name="connsiteY94" fmla="*/ 95397 h 109895"/>
              <a:gd name="connsiteX95" fmla="*/ 328730 w 622377"/>
              <a:gd name="connsiteY95" fmla="*/ 105415 h 109895"/>
              <a:gd name="connsiteX96" fmla="*/ 308114 w 622377"/>
              <a:gd name="connsiteY96" fmla="*/ 108402 h 109895"/>
              <a:gd name="connsiteX97" fmla="*/ 272109 w 622377"/>
              <a:gd name="connsiteY97" fmla="*/ 108402 h 109895"/>
              <a:gd name="connsiteX98" fmla="*/ 272109 w 622377"/>
              <a:gd name="connsiteY98" fmla="*/ 1307 h 109895"/>
              <a:gd name="connsiteX99" fmla="*/ 307367 w 622377"/>
              <a:gd name="connsiteY99" fmla="*/ 47045 h 109895"/>
              <a:gd name="connsiteX100" fmla="*/ 323800 w 622377"/>
              <a:gd name="connsiteY100" fmla="*/ 42565 h 109895"/>
              <a:gd name="connsiteX101" fmla="*/ 330225 w 622377"/>
              <a:gd name="connsiteY101" fmla="*/ 28190 h 109895"/>
              <a:gd name="connsiteX102" fmla="*/ 324547 w 622377"/>
              <a:gd name="connsiteY102" fmla="*/ 17175 h 109895"/>
              <a:gd name="connsiteX103" fmla="*/ 308413 w 622377"/>
              <a:gd name="connsiteY103" fmla="*/ 14188 h 109895"/>
              <a:gd name="connsiteX104" fmla="*/ 286152 w 622377"/>
              <a:gd name="connsiteY104" fmla="*/ 14188 h 109895"/>
              <a:gd name="connsiteX105" fmla="*/ 286152 w 622377"/>
              <a:gd name="connsiteY105" fmla="*/ 47045 h 109895"/>
              <a:gd name="connsiteX106" fmla="*/ 307367 w 622377"/>
              <a:gd name="connsiteY106" fmla="*/ 47045 h 109895"/>
              <a:gd name="connsiteX107" fmla="*/ 308114 w 622377"/>
              <a:gd name="connsiteY107" fmla="*/ 95707 h 109895"/>
              <a:gd name="connsiteX108" fmla="*/ 326490 w 622377"/>
              <a:gd name="connsiteY108" fmla="*/ 91849 h 109895"/>
              <a:gd name="connsiteX109" fmla="*/ 333511 w 622377"/>
              <a:gd name="connsiteY109" fmla="*/ 77786 h 109895"/>
              <a:gd name="connsiteX110" fmla="*/ 326938 w 622377"/>
              <a:gd name="connsiteY110" fmla="*/ 63722 h 109895"/>
              <a:gd name="connsiteX111" fmla="*/ 306470 w 622377"/>
              <a:gd name="connsiteY111" fmla="*/ 59740 h 109895"/>
              <a:gd name="connsiteX112" fmla="*/ 286152 w 622377"/>
              <a:gd name="connsiteY112" fmla="*/ 59740 h 109895"/>
              <a:gd name="connsiteX113" fmla="*/ 286152 w 622377"/>
              <a:gd name="connsiteY113" fmla="*/ 95707 h 109895"/>
              <a:gd name="connsiteX114" fmla="*/ 308114 w 622377"/>
              <a:gd name="connsiteY114" fmla="*/ 95707 h 109895"/>
              <a:gd name="connsiteX115" fmla="*/ 368396 w 622377"/>
              <a:gd name="connsiteY115" fmla="*/ 1307 h 109895"/>
              <a:gd name="connsiteX116" fmla="*/ 434728 w 622377"/>
              <a:gd name="connsiteY116" fmla="*/ 1307 h 109895"/>
              <a:gd name="connsiteX117" fmla="*/ 434728 w 622377"/>
              <a:gd name="connsiteY117" fmla="*/ 14188 h 109895"/>
              <a:gd name="connsiteX118" fmla="*/ 382439 w 622377"/>
              <a:gd name="connsiteY118" fmla="*/ 14188 h 109895"/>
              <a:gd name="connsiteX119" fmla="*/ 382439 w 622377"/>
              <a:gd name="connsiteY119" fmla="*/ 46547 h 109895"/>
              <a:gd name="connsiteX120" fmla="*/ 426810 w 622377"/>
              <a:gd name="connsiteY120" fmla="*/ 46547 h 109895"/>
              <a:gd name="connsiteX121" fmla="*/ 426810 w 622377"/>
              <a:gd name="connsiteY121" fmla="*/ 59242 h 109895"/>
              <a:gd name="connsiteX122" fmla="*/ 382439 w 622377"/>
              <a:gd name="connsiteY122" fmla="*/ 59242 h 109895"/>
              <a:gd name="connsiteX123" fmla="*/ 382439 w 622377"/>
              <a:gd name="connsiteY123" fmla="*/ 95707 h 109895"/>
              <a:gd name="connsiteX124" fmla="*/ 435475 w 622377"/>
              <a:gd name="connsiteY124" fmla="*/ 95707 h 109895"/>
              <a:gd name="connsiteX125" fmla="*/ 435475 w 622377"/>
              <a:gd name="connsiteY125" fmla="*/ 108402 h 109895"/>
              <a:gd name="connsiteX126" fmla="*/ 368396 w 622377"/>
              <a:gd name="connsiteY126" fmla="*/ 108402 h 109895"/>
              <a:gd name="connsiteX127" fmla="*/ 368396 w 622377"/>
              <a:gd name="connsiteY127" fmla="*/ 1307 h 109895"/>
              <a:gd name="connsiteX128" fmla="*/ 545531 w 622377"/>
              <a:gd name="connsiteY128" fmla="*/ 108402 h 109895"/>
              <a:gd name="connsiteX129" fmla="*/ 530591 w 622377"/>
              <a:gd name="connsiteY129" fmla="*/ 108402 h 109895"/>
              <a:gd name="connsiteX130" fmla="*/ 519536 w 622377"/>
              <a:gd name="connsiteY130" fmla="*/ 77786 h 109895"/>
              <a:gd name="connsiteX131" fmla="*/ 472177 w 622377"/>
              <a:gd name="connsiteY131" fmla="*/ 77786 h 109895"/>
              <a:gd name="connsiteX132" fmla="*/ 461271 w 622377"/>
              <a:gd name="connsiteY132" fmla="*/ 108402 h 109895"/>
              <a:gd name="connsiteX133" fmla="*/ 448124 w 622377"/>
              <a:gd name="connsiteY133" fmla="*/ 108402 h 109895"/>
              <a:gd name="connsiteX134" fmla="*/ 486220 w 622377"/>
              <a:gd name="connsiteY134" fmla="*/ 1307 h 109895"/>
              <a:gd name="connsiteX135" fmla="*/ 507136 w 622377"/>
              <a:gd name="connsiteY135" fmla="*/ 1307 h 109895"/>
              <a:gd name="connsiteX136" fmla="*/ 545531 w 622377"/>
              <a:gd name="connsiteY136" fmla="*/ 108402 h 109895"/>
              <a:gd name="connsiteX137" fmla="*/ 476808 w 622377"/>
              <a:gd name="connsiteY137" fmla="*/ 65091 h 109895"/>
              <a:gd name="connsiteX138" fmla="*/ 515054 w 622377"/>
              <a:gd name="connsiteY138" fmla="*/ 65091 h 109895"/>
              <a:gd name="connsiteX139" fmla="*/ 495931 w 622377"/>
              <a:gd name="connsiteY139" fmla="*/ 11761 h 109895"/>
              <a:gd name="connsiteX140" fmla="*/ 476808 w 622377"/>
              <a:gd name="connsiteY140" fmla="*/ 65091 h 109895"/>
              <a:gd name="connsiteX141" fmla="*/ 585028 w 622377"/>
              <a:gd name="connsiteY141" fmla="*/ 109896 h 109895"/>
              <a:gd name="connsiteX142" fmla="*/ 556493 w 622377"/>
              <a:gd name="connsiteY142" fmla="*/ 102304 h 109895"/>
              <a:gd name="connsiteX143" fmla="*/ 556493 w 622377"/>
              <a:gd name="connsiteY143" fmla="*/ 87618 h 109895"/>
              <a:gd name="connsiteX144" fmla="*/ 569640 w 622377"/>
              <a:gd name="connsiteY144" fmla="*/ 95272 h 109895"/>
              <a:gd name="connsiteX145" fmla="*/ 585028 w 622377"/>
              <a:gd name="connsiteY145" fmla="*/ 97637 h 109895"/>
              <a:gd name="connsiteX146" fmla="*/ 602059 w 622377"/>
              <a:gd name="connsiteY146" fmla="*/ 90916 h 109895"/>
              <a:gd name="connsiteX147" fmla="*/ 608185 w 622377"/>
              <a:gd name="connsiteY147" fmla="*/ 73305 h 109895"/>
              <a:gd name="connsiteX148" fmla="*/ 602209 w 622377"/>
              <a:gd name="connsiteY148" fmla="*/ 56255 h 109895"/>
              <a:gd name="connsiteX149" fmla="*/ 587120 w 622377"/>
              <a:gd name="connsiteY149" fmla="*/ 50903 h 109895"/>
              <a:gd name="connsiteX150" fmla="*/ 576513 w 622377"/>
              <a:gd name="connsiteY150" fmla="*/ 53143 h 109895"/>
              <a:gd name="connsiteX151" fmla="*/ 570387 w 622377"/>
              <a:gd name="connsiteY151" fmla="*/ 57624 h 109895"/>
              <a:gd name="connsiteX152" fmla="*/ 559481 w 622377"/>
              <a:gd name="connsiteY152" fmla="*/ 57624 h 109895"/>
              <a:gd name="connsiteX153" fmla="*/ 559481 w 622377"/>
              <a:gd name="connsiteY153" fmla="*/ 1307 h 109895"/>
              <a:gd name="connsiteX154" fmla="*/ 617447 w 622377"/>
              <a:gd name="connsiteY154" fmla="*/ 1307 h 109895"/>
              <a:gd name="connsiteX155" fmla="*/ 617447 w 622377"/>
              <a:gd name="connsiteY155" fmla="*/ 14188 h 109895"/>
              <a:gd name="connsiteX156" fmla="*/ 571732 w 622377"/>
              <a:gd name="connsiteY156" fmla="*/ 14188 h 109895"/>
              <a:gd name="connsiteX157" fmla="*/ 571732 w 622377"/>
              <a:gd name="connsiteY157" fmla="*/ 44805 h 109895"/>
              <a:gd name="connsiteX158" fmla="*/ 579052 w 622377"/>
              <a:gd name="connsiteY158" fmla="*/ 40885 h 109895"/>
              <a:gd name="connsiteX159" fmla="*/ 589361 w 622377"/>
              <a:gd name="connsiteY159" fmla="*/ 39080 h 109895"/>
              <a:gd name="connsiteX160" fmla="*/ 606093 w 622377"/>
              <a:gd name="connsiteY160" fmla="*/ 43000 h 109895"/>
              <a:gd name="connsiteX161" fmla="*/ 617895 w 622377"/>
              <a:gd name="connsiteY161" fmla="*/ 54326 h 109895"/>
              <a:gd name="connsiteX162" fmla="*/ 622377 w 622377"/>
              <a:gd name="connsiteY162" fmla="*/ 72995 h 109895"/>
              <a:gd name="connsiteX163" fmla="*/ 617746 w 622377"/>
              <a:gd name="connsiteY163" fmla="*/ 92410 h 109895"/>
              <a:gd name="connsiteX164" fmla="*/ 604898 w 622377"/>
              <a:gd name="connsiteY164" fmla="*/ 105415 h 109895"/>
              <a:gd name="connsiteX165" fmla="*/ 585028 w 622377"/>
              <a:gd name="connsiteY165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622377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36661" y="109896"/>
                </a:moveTo>
                <a:cubicBezTo>
                  <a:pt x="129889" y="109896"/>
                  <a:pt x="123813" y="107967"/>
                  <a:pt x="118435" y="104047"/>
                </a:cubicBezTo>
                <a:cubicBezTo>
                  <a:pt x="113057" y="100188"/>
                  <a:pt x="108824" y="94214"/>
                  <a:pt x="105736" y="86125"/>
                </a:cubicBezTo>
                <a:cubicBezTo>
                  <a:pt x="102748" y="77972"/>
                  <a:pt x="101254" y="67518"/>
                  <a:pt x="101254" y="54761"/>
                </a:cubicBezTo>
                <a:cubicBezTo>
                  <a:pt x="101254" y="41942"/>
                  <a:pt x="102748" y="31488"/>
                  <a:pt x="105736" y="23398"/>
                </a:cubicBezTo>
                <a:cubicBezTo>
                  <a:pt x="108824" y="15371"/>
                  <a:pt x="113057" y="9459"/>
                  <a:pt x="118435" y="5663"/>
                </a:cubicBezTo>
                <a:cubicBezTo>
                  <a:pt x="123813" y="1867"/>
                  <a:pt x="129889" y="0"/>
                  <a:pt x="136661" y="0"/>
                </a:cubicBezTo>
                <a:cubicBezTo>
                  <a:pt x="143434" y="0"/>
                  <a:pt x="149460" y="1867"/>
                  <a:pt x="154738" y="5663"/>
                </a:cubicBezTo>
                <a:cubicBezTo>
                  <a:pt x="160017" y="9459"/>
                  <a:pt x="164150" y="15371"/>
                  <a:pt x="167138" y="23398"/>
                </a:cubicBezTo>
                <a:cubicBezTo>
                  <a:pt x="170126" y="31363"/>
                  <a:pt x="171620" y="41756"/>
                  <a:pt x="171620" y="54512"/>
                </a:cubicBezTo>
                <a:cubicBezTo>
                  <a:pt x="171620" y="67145"/>
                  <a:pt x="170126" y="77599"/>
                  <a:pt x="167138" y="85876"/>
                </a:cubicBezTo>
                <a:cubicBezTo>
                  <a:pt x="164150" y="94027"/>
                  <a:pt x="160017" y="100064"/>
                  <a:pt x="154738" y="104047"/>
                </a:cubicBezTo>
                <a:cubicBezTo>
                  <a:pt x="149460" y="107967"/>
                  <a:pt x="143434" y="109896"/>
                  <a:pt x="136661" y="109896"/>
                </a:cubicBezTo>
                <a:close/>
                <a:moveTo>
                  <a:pt x="136512" y="98072"/>
                </a:moveTo>
                <a:cubicBezTo>
                  <a:pt x="140994" y="98072"/>
                  <a:pt x="144779" y="96766"/>
                  <a:pt x="147866" y="94089"/>
                </a:cubicBezTo>
                <a:cubicBezTo>
                  <a:pt x="151053" y="91289"/>
                  <a:pt x="153444" y="86747"/>
                  <a:pt x="155037" y="80462"/>
                </a:cubicBezTo>
                <a:cubicBezTo>
                  <a:pt x="156730" y="74114"/>
                  <a:pt x="157577" y="65589"/>
                  <a:pt x="157577" y="54948"/>
                </a:cubicBezTo>
                <a:cubicBezTo>
                  <a:pt x="157577" y="44307"/>
                  <a:pt x="156780" y="35844"/>
                  <a:pt x="155187" y="29559"/>
                </a:cubicBezTo>
                <a:cubicBezTo>
                  <a:pt x="153593" y="23150"/>
                  <a:pt x="151203" y="18669"/>
                  <a:pt x="148016" y="15931"/>
                </a:cubicBezTo>
                <a:cubicBezTo>
                  <a:pt x="144928" y="13192"/>
                  <a:pt x="141143" y="11761"/>
                  <a:pt x="136661" y="11761"/>
                </a:cubicBezTo>
                <a:cubicBezTo>
                  <a:pt x="132179" y="11761"/>
                  <a:pt x="128345" y="13192"/>
                  <a:pt x="125158" y="15931"/>
                </a:cubicBezTo>
                <a:cubicBezTo>
                  <a:pt x="121971" y="18669"/>
                  <a:pt x="119530" y="23150"/>
                  <a:pt x="117837" y="29559"/>
                </a:cubicBezTo>
                <a:cubicBezTo>
                  <a:pt x="116144" y="35844"/>
                  <a:pt x="115298" y="44307"/>
                  <a:pt x="115298" y="54948"/>
                </a:cubicBezTo>
                <a:cubicBezTo>
                  <a:pt x="115298" y="65589"/>
                  <a:pt x="116094" y="74114"/>
                  <a:pt x="117688" y="80462"/>
                </a:cubicBezTo>
                <a:cubicBezTo>
                  <a:pt x="119381" y="86747"/>
                  <a:pt x="121821" y="91289"/>
                  <a:pt x="125008" y="94089"/>
                </a:cubicBezTo>
                <a:cubicBezTo>
                  <a:pt x="128195" y="96766"/>
                  <a:pt x="132030" y="98072"/>
                  <a:pt x="136512" y="98072"/>
                </a:cubicBezTo>
                <a:close/>
                <a:moveTo>
                  <a:pt x="218799" y="109896"/>
                </a:moveTo>
                <a:cubicBezTo>
                  <a:pt x="212026" y="109896"/>
                  <a:pt x="205951" y="107967"/>
                  <a:pt x="200572" y="104047"/>
                </a:cubicBezTo>
                <a:cubicBezTo>
                  <a:pt x="195194" y="100188"/>
                  <a:pt x="190961" y="94214"/>
                  <a:pt x="187874" y="86125"/>
                </a:cubicBezTo>
                <a:cubicBezTo>
                  <a:pt x="184886" y="77972"/>
                  <a:pt x="183392" y="67518"/>
                  <a:pt x="183392" y="54761"/>
                </a:cubicBezTo>
                <a:cubicBezTo>
                  <a:pt x="183392" y="41942"/>
                  <a:pt x="184886" y="31488"/>
                  <a:pt x="187874" y="23398"/>
                </a:cubicBezTo>
                <a:cubicBezTo>
                  <a:pt x="190961" y="15371"/>
                  <a:pt x="195194" y="9459"/>
                  <a:pt x="200572" y="5663"/>
                </a:cubicBezTo>
                <a:cubicBezTo>
                  <a:pt x="205951" y="1867"/>
                  <a:pt x="212026" y="0"/>
                  <a:pt x="218799" y="0"/>
                </a:cubicBezTo>
                <a:cubicBezTo>
                  <a:pt x="225572" y="0"/>
                  <a:pt x="231597" y="1867"/>
                  <a:pt x="236876" y="5663"/>
                </a:cubicBezTo>
                <a:cubicBezTo>
                  <a:pt x="242155" y="9459"/>
                  <a:pt x="246288" y="15371"/>
                  <a:pt x="249276" y="23398"/>
                </a:cubicBezTo>
                <a:cubicBezTo>
                  <a:pt x="252264" y="31363"/>
                  <a:pt x="253758" y="41756"/>
                  <a:pt x="253758" y="54512"/>
                </a:cubicBezTo>
                <a:cubicBezTo>
                  <a:pt x="253758" y="67145"/>
                  <a:pt x="252264" y="77599"/>
                  <a:pt x="249276" y="85876"/>
                </a:cubicBezTo>
                <a:cubicBezTo>
                  <a:pt x="246288" y="94027"/>
                  <a:pt x="242155" y="100064"/>
                  <a:pt x="236876" y="104047"/>
                </a:cubicBezTo>
                <a:cubicBezTo>
                  <a:pt x="231597" y="107967"/>
                  <a:pt x="225572" y="109896"/>
                  <a:pt x="218799" y="109896"/>
                </a:cubicBezTo>
                <a:close/>
                <a:moveTo>
                  <a:pt x="218649" y="98072"/>
                </a:moveTo>
                <a:cubicBezTo>
                  <a:pt x="223131" y="98072"/>
                  <a:pt x="226916" y="96766"/>
                  <a:pt x="230004" y="94089"/>
                </a:cubicBezTo>
                <a:cubicBezTo>
                  <a:pt x="233191" y="91289"/>
                  <a:pt x="235581" y="86747"/>
                  <a:pt x="237175" y="80462"/>
                </a:cubicBezTo>
                <a:cubicBezTo>
                  <a:pt x="238868" y="74114"/>
                  <a:pt x="239714" y="65589"/>
                  <a:pt x="239714" y="54948"/>
                </a:cubicBezTo>
                <a:cubicBezTo>
                  <a:pt x="239714" y="44307"/>
                  <a:pt x="238918" y="35844"/>
                  <a:pt x="237324" y="29559"/>
                </a:cubicBezTo>
                <a:cubicBezTo>
                  <a:pt x="235730" y="23150"/>
                  <a:pt x="233340" y="18669"/>
                  <a:pt x="230153" y="15931"/>
                </a:cubicBezTo>
                <a:cubicBezTo>
                  <a:pt x="227065" y="13192"/>
                  <a:pt x="223281" y="11761"/>
                  <a:pt x="218799" y="11761"/>
                </a:cubicBezTo>
                <a:cubicBezTo>
                  <a:pt x="214317" y="11761"/>
                  <a:pt x="210482" y="13192"/>
                  <a:pt x="207295" y="15931"/>
                </a:cubicBezTo>
                <a:cubicBezTo>
                  <a:pt x="204108" y="18669"/>
                  <a:pt x="201668" y="23150"/>
                  <a:pt x="199975" y="29559"/>
                </a:cubicBezTo>
                <a:cubicBezTo>
                  <a:pt x="198282" y="35844"/>
                  <a:pt x="197435" y="44307"/>
                  <a:pt x="197435" y="54948"/>
                </a:cubicBezTo>
                <a:cubicBezTo>
                  <a:pt x="197435" y="65589"/>
                  <a:pt x="198232" y="74114"/>
                  <a:pt x="199825" y="80462"/>
                </a:cubicBezTo>
                <a:cubicBezTo>
                  <a:pt x="201519" y="86747"/>
                  <a:pt x="203959" y="91289"/>
                  <a:pt x="207146" y="94089"/>
                </a:cubicBezTo>
                <a:cubicBezTo>
                  <a:pt x="210333" y="96766"/>
                  <a:pt x="214168" y="98072"/>
                  <a:pt x="218649" y="98072"/>
                </a:cubicBezTo>
                <a:close/>
                <a:moveTo>
                  <a:pt x="272109" y="1307"/>
                </a:moveTo>
                <a:lnTo>
                  <a:pt x="308413" y="1307"/>
                </a:lnTo>
                <a:cubicBezTo>
                  <a:pt x="320165" y="1307"/>
                  <a:pt x="329079" y="3298"/>
                  <a:pt x="335155" y="7281"/>
                </a:cubicBezTo>
                <a:cubicBezTo>
                  <a:pt x="341330" y="11264"/>
                  <a:pt x="344417" y="17984"/>
                  <a:pt x="344417" y="27443"/>
                </a:cubicBezTo>
                <a:cubicBezTo>
                  <a:pt x="344417" y="35097"/>
                  <a:pt x="342475" y="40947"/>
                  <a:pt x="338591" y="44930"/>
                </a:cubicBezTo>
                <a:cubicBezTo>
                  <a:pt x="334706" y="48788"/>
                  <a:pt x="329527" y="51463"/>
                  <a:pt x="323053" y="52832"/>
                </a:cubicBezTo>
                <a:cubicBezTo>
                  <a:pt x="331320" y="53828"/>
                  <a:pt x="337595" y="56255"/>
                  <a:pt x="341877" y="60175"/>
                </a:cubicBezTo>
                <a:cubicBezTo>
                  <a:pt x="346160" y="63971"/>
                  <a:pt x="348302" y="69696"/>
                  <a:pt x="348302" y="77475"/>
                </a:cubicBezTo>
                <a:cubicBezTo>
                  <a:pt x="348302" y="84880"/>
                  <a:pt x="346559" y="90854"/>
                  <a:pt x="343073" y="95397"/>
                </a:cubicBezTo>
                <a:cubicBezTo>
                  <a:pt x="339587" y="100002"/>
                  <a:pt x="334806" y="103300"/>
                  <a:pt x="328730" y="105415"/>
                </a:cubicBezTo>
                <a:cubicBezTo>
                  <a:pt x="322655" y="107406"/>
                  <a:pt x="315783" y="108402"/>
                  <a:pt x="308114" y="108402"/>
                </a:cubicBezTo>
                <a:lnTo>
                  <a:pt x="272109" y="108402"/>
                </a:lnTo>
                <a:lnTo>
                  <a:pt x="272109" y="1307"/>
                </a:lnTo>
                <a:close/>
                <a:moveTo>
                  <a:pt x="307367" y="47045"/>
                </a:moveTo>
                <a:cubicBezTo>
                  <a:pt x="314139" y="47045"/>
                  <a:pt x="319617" y="45552"/>
                  <a:pt x="323800" y="42565"/>
                </a:cubicBezTo>
                <a:cubicBezTo>
                  <a:pt x="328083" y="39453"/>
                  <a:pt x="330225" y="34662"/>
                  <a:pt x="330225" y="28190"/>
                </a:cubicBezTo>
                <a:cubicBezTo>
                  <a:pt x="330225" y="22714"/>
                  <a:pt x="328332" y="19042"/>
                  <a:pt x="324547" y="17175"/>
                </a:cubicBezTo>
                <a:cubicBezTo>
                  <a:pt x="320763" y="15184"/>
                  <a:pt x="315384" y="14188"/>
                  <a:pt x="308413" y="14188"/>
                </a:cubicBezTo>
                <a:lnTo>
                  <a:pt x="286152" y="14188"/>
                </a:lnTo>
                <a:lnTo>
                  <a:pt x="286152" y="47045"/>
                </a:lnTo>
                <a:lnTo>
                  <a:pt x="307367" y="47045"/>
                </a:lnTo>
                <a:close/>
                <a:moveTo>
                  <a:pt x="308114" y="95707"/>
                </a:moveTo>
                <a:cubicBezTo>
                  <a:pt x="315683" y="95707"/>
                  <a:pt x="321808" y="94401"/>
                  <a:pt x="326490" y="91849"/>
                </a:cubicBezTo>
                <a:cubicBezTo>
                  <a:pt x="331171" y="89236"/>
                  <a:pt x="333511" y="84569"/>
                  <a:pt x="333511" y="77786"/>
                </a:cubicBezTo>
                <a:cubicBezTo>
                  <a:pt x="333511" y="71003"/>
                  <a:pt x="331320" y="66336"/>
                  <a:pt x="326938" y="63722"/>
                </a:cubicBezTo>
                <a:cubicBezTo>
                  <a:pt x="322655" y="61046"/>
                  <a:pt x="315832" y="59740"/>
                  <a:pt x="306470" y="59740"/>
                </a:cubicBezTo>
                <a:lnTo>
                  <a:pt x="286152" y="59740"/>
                </a:lnTo>
                <a:lnTo>
                  <a:pt x="286152" y="95707"/>
                </a:lnTo>
                <a:lnTo>
                  <a:pt x="308114" y="95707"/>
                </a:lnTo>
                <a:close/>
                <a:moveTo>
                  <a:pt x="368396" y="1307"/>
                </a:moveTo>
                <a:lnTo>
                  <a:pt x="434728" y="1307"/>
                </a:lnTo>
                <a:lnTo>
                  <a:pt x="434728" y="14188"/>
                </a:lnTo>
                <a:lnTo>
                  <a:pt x="382439" y="14188"/>
                </a:lnTo>
                <a:lnTo>
                  <a:pt x="382439" y="46547"/>
                </a:lnTo>
                <a:lnTo>
                  <a:pt x="426810" y="46547"/>
                </a:lnTo>
                <a:lnTo>
                  <a:pt x="426810" y="59242"/>
                </a:lnTo>
                <a:lnTo>
                  <a:pt x="382439" y="59242"/>
                </a:lnTo>
                <a:lnTo>
                  <a:pt x="382439" y="95707"/>
                </a:lnTo>
                <a:lnTo>
                  <a:pt x="435475" y="95707"/>
                </a:lnTo>
                <a:lnTo>
                  <a:pt x="435475" y="108402"/>
                </a:lnTo>
                <a:lnTo>
                  <a:pt x="368396" y="108402"/>
                </a:lnTo>
                <a:lnTo>
                  <a:pt x="368396" y="1307"/>
                </a:lnTo>
                <a:close/>
                <a:moveTo>
                  <a:pt x="545531" y="108402"/>
                </a:moveTo>
                <a:lnTo>
                  <a:pt x="530591" y="108402"/>
                </a:lnTo>
                <a:lnTo>
                  <a:pt x="519536" y="77786"/>
                </a:lnTo>
                <a:lnTo>
                  <a:pt x="472177" y="77786"/>
                </a:lnTo>
                <a:lnTo>
                  <a:pt x="461271" y="108402"/>
                </a:lnTo>
                <a:lnTo>
                  <a:pt x="448124" y="108402"/>
                </a:lnTo>
                <a:lnTo>
                  <a:pt x="486220" y="1307"/>
                </a:lnTo>
                <a:lnTo>
                  <a:pt x="507136" y="1307"/>
                </a:lnTo>
                <a:lnTo>
                  <a:pt x="545531" y="108402"/>
                </a:lnTo>
                <a:close/>
                <a:moveTo>
                  <a:pt x="476808" y="65091"/>
                </a:moveTo>
                <a:lnTo>
                  <a:pt x="515054" y="65091"/>
                </a:lnTo>
                <a:lnTo>
                  <a:pt x="495931" y="11761"/>
                </a:lnTo>
                <a:lnTo>
                  <a:pt x="476808" y="65091"/>
                </a:lnTo>
                <a:close/>
                <a:moveTo>
                  <a:pt x="585028" y="109896"/>
                </a:moveTo>
                <a:cubicBezTo>
                  <a:pt x="573076" y="109896"/>
                  <a:pt x="563565" y="107344"/>
                  <a:pt x="556493" y="102304"/>
                </a:cubicBezTo>
                <a:lnTo>
                  <a:pt x="556493" y="87618"/>
                </a:lnTo>
                <a:cubicBezTo>
                  <a:pt x="560676" y="91040"/>
                  <a:pt x="565059" y="93592"/>
                  <a:pt x="569640" y="95272"/>
                </a:cubicBezTo>
                <a:cubicBezTo>
                  <a:pt x="574222" y="96828"/>
                  <a:pt x="579351" y="97637"/>
                  <a:pt x="585028" y="97637"/>
                </a:cubicBezTo>
                <a:cubicBezTo>
                  <a:pt x="592398" y="97637"/>
                  <a:pt x="598075" y="95397"/>
                  <a:pt x="602059" y="90916"/>
                </a:cubicBezTo>
                <a:cubicBezTo>
                  <a:pt x="606143" y="86435"/>
                  <a:pt x="608185" y="80586"/>
                  <a:pt x="608185" y="73305"/>
                </a:cubicBezTo>
                <a:cubicBezTo>
                  <a:pt x="608185" y="65527"/>
                  <a:pt x="606193" y="59864"/>
                  <a:pt x="602209" y="56255"/>
                </a:cubicBezTo>
                <a:cubicBezTo>
                  <a:pt x="598225" y="52708"/>
                  <a:pt x="593195" y="50903"/>
                  <a:pt x="587120" y="50903"/>
                </a:cubicBezTo>
                <a:cubicBezTo>
                  <a:pt x="582737" y="50903"/>
                  <a:pt x="579202" y="51650"/>
                  <a:pt x="576513" y="53143"/>
                </a:cubicBezTo>
                <a:cubicBezTo>
                  <a:pt x="573823" y="54512"/>
                  <a:pt x="571782" y="56006"/>
                  <a:pt x="570387" y="57624"/>
                </a:cubicBezTo>
                <a:lnTo>
                  <a:pt x="559481" y="57624"/>
                </a:lnTo>
                <a:lnTo>
                  <a:pt x="559481" y="1307"/>
                </a:lnTo>
                <a:lnTo>
                  <a:pt x="617447" y="1307"/>
                </a:lnTo>
                <a:lnTo>
                  <a:pt x="617447" y="14188"/>
                </a:lnTo>
                <a:lnTo>
                  <a:pt x="571732" y="14188"/>
                </a:lnTo>
                <a:lnTo>
                  <a:pt x="571732" y="44805"/>
                </a:lnTo>
                <a:cubicBezTo>
                  <a:pt x="573724" y="43312"/>
                  <a:pt x="576164" y="42004"/>
                  <a:pt x="579052" y="40885"/>
                </a:cubicBezTo>
                <a:cubicBezTo>
                  <a:pt x="581940" y="39702"/>
                  <a:pt x="585377" y="39080"/>
                  <a:pt x="589361" y="39080"/>
                </a:cubicBezTo>
                <a:cubicBezTo>
                  <a:pt x="595536" y="39080"/>
                  <a:pt x="601113" y="40386"/>
                  <a:pt x="606093" y="43000"/>
                </a:cubicBezTo>
                <a:cubicBezTo>
                  <a:pt x="611073" y="45489"/>
                  <a:pt x="615007" y="49285"/>
                  <a:pt x="617895" y="54326"/>
                </a:cubicBezTo>
                <a:cubicBezTo>
                  <a:pt x="620884" y="59304"/>
                  <a:pt x="622377" y="65527"/>
                  <a:pt x="622377" y="72995"/>
                </a:cubicBezTo>
                <a:cubicBezTo>
                  <a:pt x="622377" y="80399"/>
                  <a:pt x="620834" y="86871"/>
                  <a:pt x="617746" y="92410"/>
                </a:cubicBezTo>
                <a:cubicBezTo>
                  <a:pt x="614758" y="98010"/>
                  <a:pt x="610476" y="102304"/>
                  <a:pt x="604898" y="105415"/>
                </a:cubicBezTo>
                <a:cubicBezTo>
                  <a:pt x="599321" y="108402"/>
                  <a:pt x="592697" y="109896"/>
                  <a:pt x="585028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9" name="Полилиния 988">
            <a:extLst>
              <a:ext uri="{FF2B5EF4-FFF2-40B4-BE49-F238E27FC236}">
                <a16:creationId xmlns:a16="http://schemas.microsoft.com/office/drawing/2014/main" id="{F578016B-F0A0-14B1-BAF8-905A6BAA49DD}"/>
              </a:ext>
            </a:extLst>
          </p:cNvPr>
          <p:cNvSpPr/>
          <p:nvPr userDrawn="1"/>
        </p:nvSpPr>
        <p:spPr>
          <a:xfrm>
            <a:off x="13814863" y="6692525"/>
            <a:ext cx="1398954" cy="726227"/>
          </a:xfrm>
          <a:custGeom>
            <a:avLst/>
            <a:gdLst>
              <a:gd name="connsiteX0" fmla="*/ 213 w 1198727"/>
              <a:gd name="connsiteY0" fmla="*/ 1422 h 622284"/>
              <a:gd name="connsiteX1" fmla="*/ 1198941 w 1198727"/>
              <a:gd name="connsiteY1" fmla="*/ 1422 h 622284"/>
              <a:gd name="connsiteX2" fmla="*/ 1198941 w 1198727"/>
              <a:gd name="connsiteY2" fmla="*/ 623706 h 622284"/>
              <a:gd name="connsiteX3" fmla="*/ 213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422"/>
                </a:moveTo>
                <a:lnTo>
                  <a:pt x="1198941" y="1422"/>
                </a:lnTo>
                <a:lnTo>
                  <a:pt x="1198941" y="623706"/>
                </a:lnTo>
                <a:lnTo>
                  <a:pt x="213" y="623706"/>
                </a:lnTo>
                <a:close/>
              </a:path>
            </a:pathLst>
          </a:custGeom>
          <a:solidFill>
            <a:srgbClr val="00EBC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0" name="Полилиния 989">
            <a:extLst>
              <a:ext uri="{FF2B5EF4-FFF2-40B4-BE49-F238E27FC236}">
                <a16:creationId xmlns:a16="http://schemas.microsoft.com/office/drawing/2014/main" id="{FE0A1736-0FFF-704A-29A7-187C5C4AFA5A}"/>
              </a:ext>
            </a:extLst>
          </p:cNvPr>
          <p:cNvSpPr/>
          <p:nvPr userDrawn="1"/>
        </p:nvSpPr>
        <p:spPr>
          <a:xfrm>
            <a:off x="13938073" y="6994273"/>
            <a:ext cx="724874" cy="128468"/>
          </a:xfrm>
          <a:custGeom>
            <a:avLst/>
            <a:gdLst>
              <a:gd name="connsiteX0" fmla="*/ 22111 w 621126"/>
              <a:gd name="connsiteY0" fmla="*/ 108588 h 110081"/>
              <a:gd name="connsiteX1" fmla="*/ 10159 w 621126"/>
              <a:gd name="connsiteY1" fmla="*/ 108588 h 110081"/>
              <a:gd name="connsiteX2" fmla="*/ 16434 w 621126"/>
              <a:gd name="connsiteY2" fmla="*/ 77661 h 110081"/>
              <a:gd name="connsiteX3" fmla="*/ 0 w 621126"/>
              <a:gd name="connsiteY3" fmla="*/ 77661 h 110081"/>
              <a:gd name="connsiteX4" fmla="*/ 0 w 621126"/>
              <a:gd name="connsiteY4" fmla="*/ 67206 h 110081"/>
              <a:gd name="connsiteX5" fmla="*/ 18675 w 621126"/>
              <a:gd name="connsiteY5" fmla="*/ 67206 h 110081"/>
              <a:gd name="connsiteX6" fmla="*/ 24202 w 621126"/>
              <a:gd name="connsiteY6" fmla="*/ 40012 h 110081"/>
              <a:gd name="connsiteX7" fmla="*/ 4034 w 621126"/>
              <a:gd name="connsiteY7" fmla="*/ 40012 h 110081"/>
              <a:gd name="connsiteX8" fmla="*/ 4034 w 621126"/>
              <a:gd name="connsiteY8" fmla="*/ 29559 h 110081"/>
              <a:gd name="connsiteX9" fmla="*/ 26294 w 621126"/>
              <a:gd name="connsiteY9" fmla="*/ 29559 h 110081"/>
              <a:gd name="connsiteX10" fmla="*/ 32120 w 621126"/>
              <a:gd name="connsiteY10" fmla="*/ 1493 h 110081"/>
              <a:gd name="connsiteX11" fmla="*/ 44072 w 621126"/>
              <a:gd name="connsiteY11" fmla="*/ 1493 h 110081"/>
              <a:gd name="connsiteX12" fmla="*/ 38246 w 621126"/>
              <a:gd name="connsiteY12" fmla="*/ 29559 h 110081"/>
              <a:gd name="connsiteX13" fmla="*/ 60655 w 621126"/>
              <a:gd name="connsiteY13" fmla="*/ 29559 h 110081"/>
              <a:gd name="connsiteX14" fmla="*/ 66482 w 621126"/>
              <a:gd name="connsiteY14" fmla="*/ 1493 h 110081"/>
              <a:gd name="connsiteX15" fmla="*/ 78434 w 621126"/>
              <a:gd name="connsiteY15" fmla="*/ 1493 h 110081"/>
              <a:gd name="connsiteX16" fmla="*/ 72607 w 621126"/>
              <a:gd name="connsiteY16" fmla="*/ 29559 h 110081"/>
              <a:gd name="connsiteX17" fmla="*/ 89340 w 621126"/>
              <a:gd name="connsiteY17" fmla="*/ 29559 h 110081"/>
              <a:gd name="connsiteX18" fmla="*/ 89340 w 621126"/>
              <a:gd name="connsiteY18" fmla="*/ 40012 h 110081"/>
              <a:gd name="connsiteX19" fmla="*/ 70516 w 621126"/>
              <a:gd name="connsiteY19" fmla="*/ 40012 h 110081"/>
              <a:gd name="connsiteX20" fmla="*/ 64988 w 621126"/>
              <a:gd name="connsiteY20" fmla="*/ 67206 h 110081"/>
              <a:gd name="connsiteX21" fmla="*/ 85306 w 621126"/>
              <a:gd name="connsiteY21" fmla="*/ 67206 h 110081"/>
              <a:gd name="connsiteX22" fmla="*/ 85306 w 621126"/>
              <a:gd name="connsiteY22" fmla="*/ 77661 h 110081"/>
              <a:gd name="connsiteX23" fmla="*/ 62747 w 621126"/>
              <a:gd name="connsiteY23" fmla="*/ 77661 h 110081"/>
              <a:gd name="connsiteX24" fmla="*/ 56472 w 621126"/>
              <a:gd name="connsiteY24" fmla="*/ 108588 h 110081"/>
              <a:gd name="connsiteX25" fmla="*/ 44520 w 621126"/>
              <a:gd name="connsiteY25" fmla="*/ 108588 h 110081"/>
              <a:gd name="connsiteX26" fmla="*/ 50795 w 621126"/>
              <a:gd name="connsiteY26" fmla="*/ 77661 h 110081"/>
              <a:gd name="connsiteX27" fmla="*/ 28386 w 621126"/>
              <a:gd name="connsiteY27" fmla="*/ 77661 h 110081"/>
              <a:gd name="connsiteX28" fmla="*/ 22111 w 621126"/>
              <a:gd name="connsiteY28" fmla="*/ 108588 h 110081"/>
              <a:gd name="connsiteX29" fmla="*/ 30626 w 621126"/>
              <a:gd name="connsiteY29" fmla="*/ 67206 h 110081"/>
              <a:gd name="connsiteX30" fmla="*/ 53036 w 621126"/>
              <a:gd name="connsiteY30" fmla="*/ 67206 h 110081"/>
              <a:gd name="connsiteX31" fmla="*/ 58564 w 621126"/>
              <a:gd name="connsiteY31" fmla="*/ 40012 h 110081"/>
              <a:gd name="connsiteX32" fmla="*/ 36154 w 621126"/>
              <a:gd name="connsiteY32" fmla="*/ 40012 h 110081"/>
              <a:gd name="connsiteX33" fmla="*/ 30626 w 621126"/>
              <a:gd name="connsiteY33" fmla="*/ 67206 h 110081"/>
              <a:gd name="connsiteX34" fmla="*/ 136661 w 621126"/>
              <a:gd name="connsiteY34" fmla="*/ 110082 h 110081"/>
              <a:gd name="connsiteX35" fmla="*/ 118435 w 621126"/>
              <a:gd name="connsiteY35" fmla="*/ 104233 h 110081"/>
              <a:gd name="connsiteX36" fmla="*/ 105736 w 621126"/>
              <a:gd name="connsiteY36" fmla="*/ 86311 h 110081"/>
              <a:gd name="connsiteX37" fmla="*/ 101254 w 621126"/>
              <a:gd name="connsiteY37" fmla="*/ 54947 h 110081"/>
              <a:gd name="connsiteX38" fmla="*/ 105736 w 621126"/>
              <a:gd name="connsiteY38" fmla="*/ 23584 h 110081"/>
              <a:gd name="connsiteX39" fmla="*/ 118435 w 621126"/>
              <a:gd name="connsiteY39" fmla="*/ 5849 h 110081"/>
              <a:gd name="connsiteX40" fmla="*/ 136661 w 621126"/>
              <a:gd name="connsiteY40" fmla="*/ 186 h 110081"/>
              <a:gd name="connsiteX41" fmla="*/ 154738 w 621126"/>
              <a:gd name="connsiteY41" fmla="*/ 5849 h 110081"/>
              <a:gd name="connsiteX42" fmla="*/ 167138 w 621126"/>
              <a:gd name="connsiteY42" fmla="*/ 23584 h 110081"/>
              <a:gd name="connsiteX43" fmla="*/ 171620 w 621126"/>
              <a:gd name="connsiteY43" fmla="*/ 54698 h 110081"/>
              <a:gd name="connsiteX44" fmla="*/ 167138 w 621126"/>
              <a:gd name="connsiteY44" fmla="*/ 86062 h 110081"/>
              <a:gd name="connsiteX45" fmla="*/ 154738 w 621126"/>
              <a:gd name="connsiteY45" fmla="*/ 104233 h 110081"/>
              <a:gd name="connsiteX46" fmla="*/ 136661 w 621126"/>
              <a:gd name="connsiteY46" fmla="*/ 110082 h 110081"/>
              <a:gd name="connsiteX47" fmla="*/ 136512 w 621126"/>
              <a:gd name="connsiteY47" fmla="*/ 98258 h 110081"/>
              <a:gd name="connsiteX48" fmla="*/ 147866 w 621126"/>
              <a:gd name="connsiteY48" fmla="*/ 94275 h 110081"/>
              <a:gd name="connsiteX49" fmla="*/ 155037 w 621126"/>
              <a:gd name="connsiteY49" fmla="*/ 80648 h 110081"/>
              <a:gd name="connsiteX50" fmla="*/ 157577 w 621126"/>
              <a:gd name="connsiteY50" fmla="*/ 55134 h 110081"/>
              <a:gd name="connsiteX51" fmla="*/ 155187 w 621126"/>
              <a:gd name="connsiteY51" fmla="*/ 29745 h 110081"/>
              <a:gd name="connsiteX52" fmla="*/ 148016 w 621126"/>
              <a:gd name="connsiteY52" fmla="*/ 16117 h 110081"/>
              <a:gd name="connsiteX53" fmla="*/ 136661 w 621126"/>
              <a:gd name="connsiteY53" fmla="*/ 11947 h 110081"/>
              <a:gd name="connsiteX54" fmla="*/ 125158 w 621126"/>
              <a:gd name="connsiteY54" fmla="*/ 16117 h 110081"/>
              <a:gd name="connsiteX55" fmla="*/ 117837 w 621126"/>
              <a:gd name="connsiteY55" fmla="*/ 29745 h 110081"/>
              <a:gd name="connsiteX56" fmla="*/ 115298 w 621126"/>
              <a:gd name="connsiteY56" fmla="*/ 55134 h 110081"/>
              <a:gd name="connsiteX57" fmla="*/ 117688 w 621126"/>
              <a:gd name="connsiteY57" fmla="*/ 80648 h 110081"/>
              <a:gd name="connsiteX58" fmla="*/ 125008 w 621126"/>
              <a:gd name="connsiteY58" fmla="*/ 94275 h 110081"/>
              <a:gd name="connsiteX59" fmla="*/ 136512 w 621126"/>
              <a:gd name="connsiteY59" fmla="*/ 98258 h 110081"/>
              <a:gd name="connsiteX60" fmla="*/ 218799 w 621126"/>
              <a:gd name="connsiteY60" fmla="*/ 110082 h 110081"/>
              <a:gd name="connsiteX61" fmla="*/ 200572 w 621126"/>
              <a:gd name="connsiteY61" fmla="*/ 104233 h 110081"/>
              <a:gd name="connsiteX62" fmla="*/ 187874 w 621126"/>
              <a:gd name="connsiteY62" fmla="*/ 86311 h 110081"/>
              <a:gd name="connsiteX63" fmla="*/ 183392 w 621126"/>
              <a:gd name="connsiteY63" fmla="*/ 54947 h 110081"/>
              <a:gd name="connsiteX64" fmla="*/ 187874 w 621126"/>
              <a:gd name="connsiteY64" fmla="*/ 23584 h 110081"/>
              <a:gd name="connsiteX65" fmla="*/ 200572 w 621126"/>
              <a:gd name="connsiteY65" fmla="*/ 5849 h 110081"/>
              <a:gd name="connsiteX66" fmla="*/ 218799 w 621126"/>
              <a:gd name="connsiteY66" fmla="*/ 186 h 110081"/>
              <a:gd name="connsiteX67" fmla="*/ 236876 w 621126"/>
              <a:gd name="connsiteY67" fmla="*/ 5849 h 110081"/>
              <a:gd name="connsiteX68" fmla="*/ 249276 w 621126"/>
              <a:gd name="connsiteY68" fmla="*/ 23584 h 110081"/>
              <a:gd name="connsiteX69" fmla="*/ 253758 w 621126"/>
              <a:gd name="connsiteY69" fmla="*/ 54698 h 110081"/>
              <a:gd name="connsiteX70" fmla="*/ 249276 w 621126"/>
              <a:gd name="connsiteY70" fmla="*/ 86062 h 110081"/>
              <a:gd name="connsiteX71" fmla="*/ 236876 w 621126"/>
              <a:gd name="connsiteY71" fmla="*/ 104233 h 110081"/>
              <a:gd name="connsiteX72" fmla="*/ 218799 w 621126"/>
              <a:gd name="connsiteY72" fmla="*/ 110082 h 110081"/>
              <a:gd name="connsiteX73" fmla="*/ 218649 w 621126"/>
              <a:gd name="connsiteY73" fmla="*/ 98258 h 110081"/>
              <a:gd name="connsiteX74" fmla="*/ 230004 w 621126"/>
              <a:gd name="connsiteY74" fmla="*/ 94275 h 110081"/>
              <a:gd name="connsiteX75" fmla="*/ 237175 w 621126"/>
              <a:gd name="connsiteY75" fmla="*/ 80648 h 110081"/>
              <a:gd name="connsiteX76" fmla="*/ 239714 w 621126"/>
              <a:gd name="connsiteY76" fmla="*/ 55134 h 110081"/>
              <a:gd name="connsiteX77" fmla="*/ 237324 w 621126"/>
              <a:gd name="connsiteY77" fmla="*/ 29745 h 110081"/>
              <a:gd name="connsiteX78" fmla="*/ 230153 w 621126"/>
              <a:gd name="connsiteY78" fmla="*/ 16117 h 110081"/>
              <a:gd name="connsiteX79" fmla="*/ 218799 w 621126"/>
              <a:gd name="connsiteY79" fmla="*/ 11947 h 110081"/>
              <a:gd name="connsiteX80" fmla="*/ 207295 w 621126"/>
              <a:gd name="connsiteY80" fmla="*/ 16117 h 110081"/>
              <a:gd name="connsiteX81" fmla="*/ 199975 w 621126"/>
              <a:gd name="connsiteY81" fmla="*/ 29745 h 110081"/>
              <a:gd name="connsiteX82" fmla="*/ 197435 w 621126"/>
              <a:gd name="connsiteY82" fmla="*/ 55134 h 110081"/>
              <a:gd name="connsiteX83" fmla="*/ 199825 w 621126"/>
              <a:gd name="connsiteY83" fmla="*/ 80648 h 110081"/>
              <a:gd name="connsiteX84" fmla="*/ 207146 w 621126"/>
              <a:gd name="connsiteY84" fmla="*/ 94275 h 110081"/>
              <a:gd name="connsiteX85" fmla="*/ 218649 w 621126"/>
              <a:gd name="connsiteY85" fmla="*/ 98258 h 110081"/>
              <a:gd name="connsiteX86" fmla="*/ 272109 w 621126"/>
              <a:gd name="connsiteY86" fmla="*/ 1493 h 110081"/>
              <a:gd name="connsiteX87" fmla="*/ 338441 w 621126"/>
              <a:gd name="connsiteY87" fmla="*/ 1493 h 110081"/>
              <a:gd name="connsiteX88" fmla="*/ 338441 w 621126"/>
              <a:gd name="connsiteY88" fmla="*/ 14374 h 110081"/>
              <a:gd name="connsiteX89" fmla="*/ 286152 w 621126"/>
              <a:gd name="connsiteY89" fmla="*/ 14374 h 110081"/>
              <a:gd name="connsiteX90" fmla="*/ 286152 w 621126"/>
              <a:gd name="connsiteY90" fmla="*/ 46734 h 110081"/>
              <a:gd name="connsiteX91" fmla="*/ 330523 w 621126"/>
              <a:gd name="connsiteY91" fmla="*/ 46734 h 110081"/>
              <a:gd name="connsiteX92" fmla="*/ 330523 w 621126"/>
              <a:gd name="connsiteY92" fmla="*/ 59428 h 110081"/>
              <a:gd name="connsiteX93" fmla="*/ 286152 w 621126"/>
              <a:gd name="connsiteY93" fmla="*/ 59428 h 110081"/>
              <a:gd name="connsiteX94" fmla="*/ 286152 w 621126"/>
              <a:gd name="connsiteY94" fmla="*/ 95893 h 110081"/>
              <a:gd name="connsiteX95" fmla="*/ 339188 w 621126"/>
              <a:gd name="connsiteY95" fmla="*/ 95893 h 110081"/>
              <a:gd name="connsiteX96" fmla="*/ 339188 w 621126"/>
              <a:gd name="connsiteY96" fmla="*/ 108588 h 110081"/>
              <a:gd name="connsiteX97" fmla="*/ 272109 w 621126"/>
              <a:gd name="connsiteY97" fmla="*/ 108588 h 110081"/>
              <a:gd name="connsiteX98" fmla="*/ 272109 w 621126"/>
              <a:gd name="connsiteY98" fmla="*/ 1493 h 110081"/>
              <a:gd name="connsiteX99" fmla="*/ 361393 w 621126"/>
              <a:gd name="connsiteY99" fmla="*/ 1493 h 110081"/>
              <a:gd name="connsiteX100" fmla="*/ 397696 w 621126"/>
              <a:gd name="connsiteY100" fmla="*/ 1493 h 110081"/>
              <a:gd name="connsiteX101" fmla="*/ 424438 w 621126"/>
              <a:gd name="connsiteY101" fmla="*/ 7467 h 110081"/>
              <a:gd name="connsiteX102" fmla="*/ 433701 w 621126"/>
              <a:gd name="connsiteY102" fmla="*/ 27629 h 110081"/>
              <a:gd name="connsiteX103" fmla="*/ 427874 w 621126"/>
              <a:gd name="connsiteY103" fmla="*/ 45116 h 110081"/>
              <a:gd name="connsiteX104" fmla="*/ 412337 w 621126"/>
              <a:gd name="connsiteY104" fmla="*/ 53018 h 110081"/>
              <a:gd name="connsiteX105" fmla="*/ 431161 w 621126"/>
              <a:gd name="connsiteY105" fmla="*/ 60361 h 110081"/>
              <a:gd name="connsiteX106" fmla="*/ 437585 w 621126"/>
              <a:gd name="connsiteY106" fmla="*/ 77661 h 110081"/>
              <a:gd name="connsiteX107" fmla="*/ 432356 w 621126"/>
              <a:gd name="connsiteY107" fmla="*/ 95583 h 110081"/>
              <a:gd name="connsiteX108" fmla="*/ 418014 w 621126"/>
              <a:gd name="connsiteY108" fmla="*/ 105601 h 110081"/>
              <a:gd name="connsiteX109" fmla="*/ 397397 w 621126"/>
              <a:gd name="connsiteY109" fmla="*/ 108588 h 110081"/>
              <a:gd name="connsiteX110" fmla="*/ 361393 w 621126"/>
              <a:gd name="connsiteY110" fmla="*/ 108588 h 110081"/>
              <a:gd name="connsiteX111" fmla="*/ 361393 w 621126"/>
              <a:gd name="connsiteY111" fmla="*/ 1493 h 110081"/>
              <a:gd name="connsiteX112" fmla="*/ 396650 w 621126"/>
              <a:gd name="connsiteY112" fmla="*/ 47231 h 110081"/>
              <a:gd name="connsiteX113" fmla="*/ 413084 w 621126"/>
              <a:gd name="connsiteY113" fmla="*/ 42751 h 110081"/>
              <a:gd name="connsiteX114" fmla="*/ 419508 w 621126"/>
              <a:gd name="connsiteY114" fmla="*/ 28376 h 110081"/>
              <a:gd name="connsiteX115" fmla="*/ 413831 w 621126"/>
              <a:gd name="connsiteY115" fmla="*/ 17361 h 110081"/>
              <a:gd name="connsiteX116" fmla="*/ 397696 w 621126"/>
              <a:gd name="connsiteY116" fmla="*/ 14374 h 110081"/>
              <a:gd name="connsiteX117" fmla="*/ 375436 w 621126"/>
              <a:gd name="connsiteY117" fmla="*/ 14374 h 110081"/>
              <a:gd name="connsiteX118" fmla="*/ 375436 w 621126"/>
              <a:gd name="connsiteY118" fmla="*/ 47231 h 110081"/>
              <a:gd name="connsiteX119" fmla="*/ 396650 w 621126"/>
              <a:gd name="connsiteY119" fmla="*/ 47231 h 110081"/>
              <a:gd name="connsiteX120" fmla="*/ 397397 w 621126"/>
              <a:gd name="connsiteY120" fmla="*/ 95893 h 110081"/>
              <a:gd name="connsiteX121" fmla="*/ 415773 w 621126"/>
              <a:gd name="connsiteY121" fmla="*/ 92035 h 110081"/>
              <a:gd name="connsiteX122" fmla="*/ 422795 w 621126"/>
              <a:gd name="connsiteY122" fmla="*/ 77972 h 110081"/>
              <a:gd name="connsiteX123" fmla="*/ 416221 w 621126"/>
              <a:gd name="connsiteY123" fmla="*/ 63908 h 110081"/>
              <a:gd name="connsiteX124" fmla="*/ 395754 w 621126"/>
              <a:gd name="connsiteY124" fmla="*/ 59926 h 110081"/>
              <a:gd name="connsiteX125" fmla="*/ 375436 w 621126"/>
              <a:gd name="connsiteY125" fmla="*/ 59926 h 110081"/>
              <a:gd name="connsiteX126" fmla="*/ 375436 w 621126"/>
              <a:gd name="connsiteY126" fmla="*/ 95893 h 110081"/>
              <a:gd name="connsiteX127" fmla="*/ 397397 w 621126"/>
              <a:gd name="connsiteY127" fmla="*/ 95893 h 110081"/>
              <a:gd name="connsiteX128" fmla="*/ 503420 w 621126"/>
              <a:gd name="connsiteY128" fmla="*/ 110082 h 110081"/>
              <a:gd name="connsiteX129" fmla="*/ 475632 w 621126"/>
              <a:gd name="connsiteY129" fmla="*/ 103486 h 110081"/>
              <a:gd name="connsiteX130" fmla="*/ 457256 w 621126"/>
              <a:gd name="connsiteY130" fmla="*/ 84693 h 110081"/>
              <a:gd name="connsiteX131" fmla="*/ 450682 w 621126"/>
              <a:gd name="connsiteY131" fmla="*/ 55134 h 110081"/>
              <a:gd name="connsiteX132" fmla="*/ 464278 w 621126"/>
              <a:gd name="connsiteY132" fmla="*/ 14810 h 110081"/>
              <a:gd name="connsiteX133" fmla="*/ 503121 w 621126"/>
              <a:gd name="connsiteY133" fmla="*/ 186 h 110081"/>
              <a:gd name="connsiteX134" fmla="*/ 521049 w 621126"/>
              <a:gd name="connsiteY134" fmla="*/ 2240 h 110081"/>
              <a:gd name="connsiteX135" fmla="*/ 535690 w 621126"/>
              <a:gd name="connsiteY135" fmla="*/ 7902 h 110081"/>
              <a:gd name="connsiteX136" fmla="*/ 535690 w 621126"/>
              <a:gd name="connsiteY136" fmla="*/ 21344 h 110081"/>
              <a:gd name="connsiteX137" fmla="*/ 520600 w 621126"/>
              <a:gd name="connsiteY137" fmla="*/ 15121 h 110081"/>
              <a:gd name="connsiteX138" fmla="*/ 502971 w 621126"/>
              <a:gd name="connsiteY138" fmla="*/ 12881 h 110081"/>
              <a:gd name="connsiteX139" fmla="*/ 475034 w 621126"/>
              <a:gd name="connsiteY139" fmla="*/ 23459 h 110081"/>
              <a:gd name="connsiteX140" fmla="*/ 465921 w 621126"/>
              <a:gd name="connsiteY140" fmla="*/ 55134 h 110081"/>
              <a:gd name="connsiteX141" fmla="*/ 475781 w 621126"/>
              <a:gd name="connsiteY141" fmla="*/ 86933 h 110081"/>
              <a:gd name="connsiteX142" fmla="*/ 504615 w 621126"/>
              <a:gd name="connsiteY142" fmla="*/ 97387 h 110081"/>
              <a:gd name="connsiteX143" fmla="*/ 535690 w 621126"/>
              <a:gd name="connsiteY143" fmla="*/ 87555 h 110081"/>
              <a:gd name="connsiteX144" fmla="*/ 535690 w 621126"/>
              <a:gd name="connsiteY144" fmla="*/ 100997 h 110081"/>
              <a:gd name="connsiteX145" fmla="*/ 521796 w 621126"/>
              <a:gd name="connsiteY145" fmla="*/ 107717 h 110081"/>
              <a:gd name="connsiteX146" fmla="*/ 503420 w 621126"/>
              <a:gd name="connsiteY146" fmla="*/ 110082 h 110081"/>
              <a:gd name="connsiteX147" fmla="*/ 569435 w 621126"/>
              <a:gd name="connsiteY147" fmla="*/ 58992 h 110081"/>
              <a:gd name="connsiteX148" fmla="*/ 569435 w 621126"/>
              <a:gd name="connsiteY148" fmla="*/ 46298 h 110081"/>
              <a:gd name="connsiteX149" fmla="*/ 583777 w 621126"/>
              <a:gd name="connsiteY149" fmla="*/ 46298 h 110081"/>
              <a:gd name="connsiteX150" fmla="*/ 597372 w 621126"/>
              <a:gd name="connsiteY150" fmla="*/ 41817 h 110081"/>
              <a:gd name="connsiteX151" fmla="*/ 602750 w 621126"/>
              <a:gd name="connsiteY151" fmla="*/ 28812 h 110081"/>
              <a:gd name="connsiteX152" fmla="*/ 597820 w 621126"/>
              <a:gd name="connsiteY152" fmla="*/ 16864 h 110081"/>
              <a:gd name="connsiteX153" fmla="*/ 583627 w 621126"/>
              <a:gd name="connsiteY153" fmla="*/ 12383 h 110081"/>
              <a:gd name="connsiteX154" fmla="*/ 568987 w 621126"/>
              <a:gd name="connsiteY154" fmla="*/ 15246 h 110081"/>
              <a:gd name="connsiteX155" fmla="*/ 554943 w 621126"/>
              <a:gd name="connsiteY155" fmla="*/ 24331 h 110081"/>
              <a:gd name="connsiteX156" fmla="*/ 554943 w 621126"/>
              <a:gd name="connsiteY156" fmla="*/ 9707 h 110081"/>
              <a:gd name="connsiteX157" fmla="*/ 583777 w 621126"/>
              <a:gd name="connsiteY157" fmla="*/ 0 h 110081"/>
              <a:gd name="connsiteX158" fmla="*/ 607830 w 621126"/>
              <a:gd name="connsiteY158" fmla="*/ 7779 h 110081"/>
              <a:gd name="connsiteX159" fmla="*/ 616644 w 621126"/>
              <a:gd name="connsiteY159" fmla="*/ 28065 h 110081"/>
              <a:gd name="connsiteX160" fmla="*/ 610967 w 621126"/>
              <a:gd name="connsiteY160" fmla="*/ 44244 h 110081"/>
              <a:gd name="connsiteX161" fmla="*/ 597671 w 621126"/>
              <a:gd name="connsiteY161" fmla="*/ 52147 h 110081"/>
              <a:gd name="connsiteX162" fmla="*/ 609174 w 621126"/>
              <a:gd name="connsiteY162" fmla="*/ 56441 h 110081"/>
              <a:gd name="connsiteX163" fmla="*/ 617839 w 621126"/>
              <a:gd name="connsiteY163" fmla="*/ 65153 h 110081"/>
              <a:gd name="connsiteX164" fmla="*/ 621126 w 621126"/>
              <a:gd name="connsiteY164" fmla="*/ 77661 h 110081"/>
              <a:gd name="connsiteX165" fmla="*/ 616196 w 621126"/>
              <a:gd name="connsiteY165" fmla="*/ 94836 h 110081"/>
              <a:gd name="connsiteX166" fmla="*/ 602601 w 621126"/>
              <a:gd name="connsiteY166" fmla="*/ 106224 h 110081"/>
              <a:gd name="connsiteX167" fmla="*/ 582731 w 621126"/>
              <a:gd name="connsiteY167" fmla="*/ 110082 h 110081"/>
              <a:gd name="connsiteX168" fmla="*/ 552254 w 621126"/>
              <a:gd name="connsiteY168" fmla="*/ 100997 h 110081"/>
              <a:gd name="connsiteX169" fmla="*/ 552254 w 621126"/>
              <a:gd name="connsiteY169" fmla="*/ 86062 h 110081"/>
              <a:gd name="connsiteX170" fmla="*/ 565999 w 621126"/>
              <a:gd name="connsiteY170" fmla="*/ 94711 h 110081"/>
              <a:gd name="connsiteX171" fmla="*/ 582880 w 621126"/>
              <a:gd name="connsiteY171" fmla="*/ 97823 h 110081"/>
              <a:gd name="connsiteX172" fmla="*/ 600211 w 621126"/>
              <a:gd name="connsiteY172" fmla="*/ 92596 h 110081"/>
              <a:gd name="connsiteX173" fmla="*/ 606635 w 621126"/>
              <a:gd name="connsiteY173" fmla="*/ 77972 h 110081"/>
              <a:gd name="connsiteX174" fmla="*/ 600808 w 621126"/>
              <a:gd name="connsiteY174" fmla="*/ 64095 h 110081"/>
              <a:gd name="connsiteX175" fmla="*/ 583179 w 621126"/>
              <a:gd name="connsiteY175" fmla="*/ 58992 h 110081"/>
              <a:gd name="connsiteX176" fmla="*/ 569435 w 621126"/>
              <a:gd name="connsiteY176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62112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272109" y="1493"/>
                </a:moveTo>
                <a:lnTo>
                  <a:pt x="338441" y="1493"/>
                </a:lnTo>
                <a:lnTo>
                  <a:pt x="338441" y="14374"/>
                </a:lnTo>
                <a:lnTo>
                  <a:pt x="286152" y="14374"/>
                </a:lnTo>
                <a:lnTo>
                  <a:pt x="286152" y="46734"/>
                </a:lnTo>
                <a:lnTo>
                  <a:pt x="330523" y="46734"/>
                </a:lnTo>
                <a:lnTo>
                  <a:pt x="330523" y="59428"/>
                </a:lnTo>
                <a:lnTo>
                  <a:pt x="286152" y="59428"/>
                </a:lnTo>
                <a:lnTo>
                  <a:pt x="286152" y="95893"/>
                </a:lnTo>
                <a:lnTo>
                  <a:pt x="339188" y="95893"/>
                </a:lnTo>
                <a:lnTo>
                  <a:pt x="339188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61393" y="1493"/>
                </a:moveTo>
                <a:lnTo>
                  <a:pt x="397696" y="1493"/>
                </a:lnTo>
                <a:cubicBezTo>
                  <a:pt x="409449" y="1493"/>
                  <a:pt x="418363" y="3484"/>
                  <a:pt x="424438" y="7467"/>
                </a:cubicBezTo>
                <a:cubicBezTo>
                  <a:pt x="430613" y="11450"/>
                  <a:pt x="433701" y="18170"/>
                  <a:pt x="433701" y="27629"/>
                </a:cubicBezTo>
                <a:cubicBezTo>
                  <a:pt x="433701" y="35283"/>
                  <a:pt x="431759" y="41133"/>
                  <a:pt x="427874" y="45116"/>
                </a:cubicBezTo>
                <a:cubicBezTo>
                  <a:pt x="423990" y="48974"/>
                  <a:pt x="418811" y="51649"/>
                  <a:pt x="412337" y="53018"/>
                </a:cubicBezTo>
                <a:cubicBezTo>
                  <a:pt x="420604" y="54014"/>
                  <a:pt x="426878" y="56441"/>
                  <a:pt x="431161" y="60361"/>
                </a:cubicBezTo>
                <a:cubicBezTo>
                  <a:pt x="435444" y="64157"/>
                  <a:pt x="437585" y="69882"/>
                  <a:pt x="437585" y="77661"/>
                </a:cubicBezTo>
                <a:cubicBezTo>
                  <a:pt x="437585" y="85066"/>
                  <a:pt x="435842" y="91040"/>
                  <a:pt x="432356" y="95583"/>
                </a:cubicBezTo>
                <a:cubicBezTo>
                  <a:pt x="428870" y="100188"/>
                  <a:pt x="424090" y="103486"/>
                  <a:pt x="418014" y="105601"/>
                </a:cubicBezTo>
                <a:cubicBezTo>
                  <a:pt x="411939" y="107592"/>
                  <a:pt x="405066" y="108588"/>
                  <a:pt x="397397" y="108588"/>
                </a:cubicBezTo>
                <a:lnTo>
                  <a:pt x="361393" y="108588"/>
                </a:lnTo>
                <a:lnTo>
                  <a:pt x="361393" y="1493"/>
                </a:lnTo>
                <a:close/>
                <a:moveTo>
                  <a:pt x="396650" y="47231"/>
                </a:moveTo>
                <a:cubicBezTo>
                  <a:pt x="403423" y="47231"/>
                  <a:pt x="408901" y="45738"/>
                  <a:pt x="413084" y="42751"/>
                </a:cubicBezTo>
                <a:cubicBezTo>
                  <a:pt x="417367" y="39639"/>
                  <a:pt x="419508" y="34848"/>
                  <a:pt x="419508" y="28376"/>
                </a:cubicBezTo>
                <a:cubicBezTo>
                  <a:pt x="419508" y="22900"/>
                  <a:pt x="417616" y="19228"/>
                  <a:pt x="413831" y="17361"/>
                </a:cubicBezTo>
                <a:cubicBezTo>
                  <a:pt x="410046" y="15370"/>
                  <a:pt x="404668" y="14374"/>
                  <a:pt x="397696" y="14374"/>
                </a:cubicBezTo>
                <a:lnTo>
                  <a:pt x="375436" y="14374"/>
                </a:lnTo>
                <a:lnTo>
                  <a:pt x="375436" y="47231"/>
                </a:lnTo>
                <a:lnTo>
                  <a:pt x="396650" y="47231"/>
                </a:lnTo>
                <a:close/>
                <a:moveTo>
                  <a:pt x="397397" y="95893"/>
                </a:moveTo>
                <a:cubicBezTo>
                  <a:pt x="404967" y="95893"/>
                  <a:pt x="411092" y="94587"/>
                  <a:pt x="415773" y="92035"/>
                </a:cubicBezTo>
                <a:cubicBezTo>
                  <a:pt x="420454" y="89422"/>
                  <a:pt x="422795" y="84755"/>
                  <a:pt x="422795" y="77972"/>
                </a:cubicBezTo>
                <a:cubicBezTo>
                  <a:pt x="422795" y="71189"/>
                  <a:pt x="420604" y="66522"/>
                  <a:pt x="416221" y="63908"/>
                </a:cubicBezTo>
                <a:cubicBezTo>
                  <a:pt x="411939" y="61233"/>
                  <a:pt x="405116" y="59926"/>
                  <a:pt x="395754" y="59926"/>
                </a:cubicBezTo>
                <a:lnTo>
                  <a:pt x="375436" y="59926"/>
                </a:lnTo>
                <a:lnTo>
                  <a:pt x="375436" y="95893"/>
                </a:lnTo>
                <a:lnTo>
                  <a:pt x="397397" y="95893"/>
                </a:lnTo>
                <a:close/>
                <a:moveTo>
                  <a:pt x="503420" y="110082"/>
                </a:moveTo>
                <a:cubicBezTo>
                  <a:pt x="492862" y="110082"/>
                  <a:pt x="483600" y="107904"/>
                  <a:pt x="475632" y="103486"/>
                </a:cubicBezTo>
                <a:cubicBezTo>
                  <a:pt x="467764" y="99129"/>
                  <a:pt x="461638" y="92844"/>
                  <a:pt x="457256" y="84693"/>
                </a:cubicBezTo>
                <a:cubicBezTo>
                  <a:pt x="452874" y="76416"/>
                  <a:pt x="450682" y="66584"/>
                  <a:pt x="450682" y="55134"/>
                </a:cubicBezTo>
                <a:cubicBezTo>
                  <a:pt x="450682" y="37897"/>
                  <a:pt x="455214" y="24455"/>
                  <a:pt x="464278" y="14810"/>
                </a:cubicBezTo>
                <a:cubicBezTo>
                  <a:pt x="473341" y="5040"/>
                  <a:pt x="486289" y="186"/>
                  <a:pt x="503121" y="186"/>
                </a:cubicBezTo>
                <a:cubicBezTo>
                  <a:pt x="509396" y="186"/>
                  <a:pt x="515371" y="871"/>
                  <a:pt x="521049" y="2240"/>
                </a:cubicBezTo>
                <a:cubicBezTo>
                  <a:pt x="526825" y="3547"/>
                  <a:pt x="531706" y="5414"/>
                  <a:pt x="535690" y="7902"/>
                </a:cubicBezTo>
                <a:lnTo>
                  <a:pt x="535690" y="21344"/>
                </a:lnTo>
                <a:cubicBezTo>
                  <a:pt x="531407" y="18669"/>
                  <a:pt x="526377" y="16615"/>
                  <a:pt x="520600" y="15121"/>
                </a:cubicBezTo>
                <a:cubicBezTo>
                  <a:pt x="514923" y="13628"/>
                  <a:pt x="509047" y="12881"/>
                  <a:pt x="502971" y="12881"/>
                </a:cubicBezTo>
                <a:cubicBezTo>
                  <a:pt x="490422" y="12881"/>
                  <a:pt x="481110" y="16366"/>
                  <a:pt x="475034" y="23459"/>
                </a:cubicBezTo>
                <a:cubicBezTo>
                  <a:pt x="468959" y="30554"/>
                  <a:pt x="465921" y="41071"/>
                  <a:pt x="465921" y="55134"/>
                </a:cubicBezTo>
                <a:cubicBezTo>
                  <a:pt x="465921" y="69260"/>
                  <a:pt x="469208" y="79839"/>
                  <a:pt x="475781" y="86933"/>
                </a:cubicBezTo>
                <a:cubicBezTo>
                  <a:pt x="482355" y="93902"/>
                  <a:pt x="491966" y="97387"/>
                  <a:pt x="504615" y="97387"/>
                </a:cubicBezTo>
                <a:cubicBezTo>
                  <a:pt x="516567" y="97387"/>
                  <a:pt x="526925" y="94089"/>
                  <a:pt x="535690" y="87555"/>
                </a:cubicBezTo>
                <a:lnTo>
                  <a:pt x="535690" y="100997"/>
                </a:lnTo>
                <a:cubicBezTo>
                  <a:pt x="532204" y="103734"/>
                  <a:pt x="527572" y="105974"/>
                  <a:pt x="521796" y="107717"/>
                </a:cubicBezTo>
                <a:cubicBezTo>
                  <a:pt x="516019" y="109273"/>
                  <a:pt x="509894" y="110082"/>
                  <a:pt x="503420" y="110082"/>
                </a:cubicBezTo>
                <a:close/>
                <a:moveTo>
                  <a:pt x="569435" y="58992"/>
                </a:moveTo>
                <a:lnTo>
                  <a:pt x="569435" y="46298"/>
                </a:lnTo>
                <a:lnTo>
                  <a:pt x="583777" y="46298"/>
                </a:lnTo>
                <a:cubicBezTo>
                  <a:pt x="589354" y="46298"/>
                  <a:pt x="593886" y="44804"/>
                  <a:pt x="597372" y="41817"/>
                </a:cubicBezTo>
                <a:cubicBezTo>
                  <a:pt x="600958" y="38768"/>
                  <a:pt x="602750" y="34412"/>
                  <a:pt x="602750" y="28812"/>
                </a:cubicBezTo>
                <a:cubicBezTo>
                  <a:pt x="602750" y="23771"/>
                  <a:pt x="601107" y="19788"/>
                  <a:pt x="597820" y="16864"/>
                </a:cubicBezTo>
                <a:cubicBezTo>
                  <a:pt x="594534" y="13877"/>
                  <a:pt x="589803" y="12383"/>
                  <a:pt x="583627" y="12383"/>
                </a:cubicBezTo>
                <a:cubicBezTo>
                  <a:pt x="578448" y="12383"/>
                  <a:pt x="573568" y="13379"/>
                  <a:pt x="568987" y="15246"/>
                </a:cubicBezTo>
                <a:cubicBezTo>
                  <a:pt x="564505" y="17113"/>
                  <a:pt x="559824" y="20162"/>
                  <a:pt x="554943" y="24331"/>
                </a:cubicBezTo>
                <a:lnTo>
                  <a:pt x="554943" y="9707"/>
                </a:lnTo>
                <a:cubicBezTo>
                  <a:pt x="562911" y="3235"/>
                  <a:pt x="572522" y="0"/>
                  <a:pt x="583777" y="0"/>
                </a:cubicBezTo>
                <a:cubicBezTo>
                  <a:pt x="594036" y="0"/>
                  <a:pt x="602053" y="2613"/>
                  <a:pt x="607830" y="7779"/>
                </a:cubicBezTo>
                <a:cubicBezTo>
                  <a:pt x="613706" y="12943"/>
                  <a:pt x="616644" y="19726"/>
                  <a:pt x="616644" y="28065"/>
                </a:cubicBezTo>
                <a:cubicBezTo>
                  <a:pt x="616644" y="34848"/>
                  <a:pt x="614752" y="40262"/>
                  <a:pt x="610967" y="44244"/>
                </a:cubicBezTo>
                <a:cubicBezTo>
                  <a:pt x="607282" y="48227"/>
                  <a:pt x="602850" y="50840"/>
                  <a:pt x="597671" y="52147"/>
                </a:cubicBezTo>
                <a:cubicBezTo>
                  <a:pt x="601854" y="52707"/>
                  <a:pt x="605688" y="54201"/>
                  <a:pt x="609174" y="56441"/>
                </a:cubicBezTo>
                <a:cubicBezTo>
                  <a:pt x="612760" y="58681"/>
                  <a:pt x="615648" y="61543"/>
                  <a:pt x="617839" y="65153"/>
                </a:cubicBezTo>
                <a:cubicBezTo>
                  <a:pt x="620031" y="68700"/>
                  <a:pt x="621126" y="72869"/>
                  <a:pt x="621126" y="77661"/>
                </a:cubicBezTo>
                <a:cubicBezTo>
                  <a:pt x="621126" y="84257"/>
                  <a:pt x="619483" y="89982"/>
                  <a:pt x="616196" y="94836"/>
                </a:cubicBezTo>
                <a:cubicBezTo>
                  <a:pt x="612909" y="99752"/>
                  <a:pt x="608378" y="103486"/>
                  <a:pt x="602601" y="106224"/>
                </a:cubicBezTo>
                <a:cubicBezTo>
                  <a:pt x="596924" y="108775"/>
                  <a:pt x="590301" y="110082"/>
                  <a:pt x="582731" y="110082"/>
                </a:cubicBezTo>
                <a:cubicBezTo>
                  <a:pt x="569584" y="110082"/>
                  <a:pt x="559425" y="107033"/>
                  <a:pt x="552254" y="100997"/>
                </a:cubicBezTo>
                <a:lnTo>
                  <a:pt x="552254" y="86062"/>
                </a:lnTo>
                <a:cubicBezTo>
                  <a:pt x="556039" y="89733"/>
                  <a:pt x="560620" y="92596"/>
                  <a:pt x="565999" y="94711"/>
                </a:cubicBezTo>
                <a:cubicBezTo>
                  <a:pt x="571377" y="96765"/>
                  <a:pt x="577004" y="97823"/>
                  <a:pt x="582880" y="97823"/>
                </a:cubicBezTo>
                <a:cubicBezTo>
                  <a:pt x="590251" y="97823"/>
                  <a:pt x="596027" y="96080"/>
                  <a:pt x="600211" y="92596"/>
                </a:cubicBezTo>
                <a:cubicBezTo>
                  <a:pt x="604493" y="89048"/>
                  <a:pt x="606635" y="84132"/>
                  <a:pt x="606635" y="77972"/>
                </a:cubicBezTo>
                <a:cubicBezTo>
                  <a:pt x="606635" y="71998"/>
                  <a:pt x="604692" y="67393"/>
                  <a:pt x="600808" y="64095"/>
                </a:cubicBezTo>
                <a:cubicBezTo>
                  <a:pt x="597023" y="60673"/>
                  <a:pt x="591147" y="58992"/>
                  <a:pt x="583179" y="58992"/>
                </a:cubicBezTo>
                <a:lnTo>
                  <a:pt x="569435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1" name="Полилиния 990">
            <a:extLst>
              <a:ext uri="{FF2B5EF4-FFF2-40B4-BE49-F238E27FC236}">
                <a16:creationId xmlns:a16="http://schemas.microsoft.com/office/drawing/2014/main" id="{1120ADFF-265D-1F53-9754-B06D38C29B79}"/>
              </a:ext>
            </a:extLst>
          </p:cNvPr>
          <p:cNvSpPr/>
          <p:nvPr userDrawn="1"/>
        </p:nvSpPr>
        <p:spPr>
          <a:xfrm>
            <a:off x="13814863" y="7418752"/>
            <a:ext cx="1398954" cy="726227"/>
          </a:xfrm>
          <a:custGeom>
            <a:avLst/>
            <a:gdLst>
              <a:gd name="connsiteX0" fmla="*/ 213 w 1198727"/>
              <a:gd name="connsiteY0" fmla="*/ 1522 h 622284"/>
              <a:gd name="connsiteX1" fmla="*/ 1198941 w 1198727"/>
              <a:gd name="connsiteY1" fmla="*/ 1522 h 622284"/>
              <a:gd name="connsiteX2" fmla="*/ 1198941 w 1198727"/>
              <a:gd name="connsiteY2" fmla="*/ 623806 h 622284"/>
              <a:gd name="connsiteX3" fmla="*/ 213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522"/>
                </a:moveTo>
                <a:lnTo>
                  <a:pt x="1198941" y="1522"/>
                </a:lnTo>
                <a:lnTo>
                  <a:pt x="1198941" y="623806"/>
                </a:lnTo>
                <a:lnTo>
                  <a:pt x="213" y="623806"/>
                </a:lnTo>
                <a:close/>
              </a:path>
            </a:pathLst>
          </a:custGeom>
          <a:solidFill>
            <a:srgbClr val="32FFD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2" name="Полилиния 991">
            <a:extLst>
              <a:ext uri="{FF2B5EF4-FFF2-40B4-BE49-F238E27FC236}">
                <a16:creationId xmlns:a16="http://schemas.microsoft.com/office/drawing/2014/main" id="{68C92190-4C2C-B81C-968E-175C330EA288}"/>
              </a:ext>
            </a:extLst>
          </p:cNvPr>
          <p:cNvSpPr/>
          <p:nvPr userDrawn="1"/>
        </p:nvSpPr>
        <p:spPr>
          <a:xfrm>
            <a:off x="13938073" y="7720500"/>
            <a:ext cx="730730" cy="128468"/>
          </a:xfrm>
          <a:custGeom>
            <a:avLst/>
            <a:gdLst>
              <a:gd name="connsiteX0" fmla="*/ 22111 w 626143"/>
              <a:gd name="connsiteY0" fmla="*/ 108588 h 110081"/>
              <a:gd name="connsiteX1" fmla="*/ 10159 w 626143"/>
              <a:gd name="connsiteY1" fmla="*/ 108588 h 110081"/>
              <a:gd name="connsiteX2" fmla="*/ 16434 w 626143"/>
              <a:gd name="connsiteY2" fmla="*/ 77661 h 110081"/>
              <a:gd name="connsiteX3" fmla="*/ 0 w 626143"/>
              <a:gd name="connsiteY3" fmla="*/ 77661 h 110081"/>
              <a:gd name="connsiteX4" fmla="*/ 0 w 626143"/>
              <a:gd name="connsiteY4" fmla="*/ 67206 h 110081"/>
              <a:gd name="connsiteX5" fmla="*/ 18675 w 626143"/>
              <a:gd name="connsiteY5" fmla="*/ 67206 h 110081"/>
              <a:gd name="connsiteX6" fmla="*/ 24202 w 626143"/>
              <a:gd name="connsiteY6" fmla="*/ 40012 h 110081"/>
              <a:gd name="connsiteX7" fmla="*/ 4034 w 626143"/>
              <a:gd name="connsiteY7" fmla="*/ 40012 h 110081"/>
              <a:gd name="connsiteX8" fmla="*/ 4034 w 626143"/>
              <a:gd name="connsiteY8" fmla="*/ 29559 h 110081"/>
              <a:gd name="connsiteX9" fmla="*/ 26294 w 626143"/>
              <a:gd name="connsiteY9" fmla="*/ 29559 h 110081"/>
              <a:gd name="connsiteX10" fmla="*/ 32120 w 626143"/>
              <a:gd name="connsiteY10" fmla="*/ 1493 h 110081"/>
              <a:gd name="connsiteX11" fmla="*/ 44072 w 626143"/>
              <a:gd name="connsiteY11" fmla="*/ 1493 h 110081"/>
              <a:gd name="connsiteX12" fmla="*/ 38246 w 626143"/>
              <a:gd name="connsiteY12" fmla="*/ 29559 h 110081"/>
              <a:gd name="connsiteX13" fmla="*/ 60655 w 626143"/>
              <a:gd name="connsiteY13" fmla="*/ 29559 h 110081"/>
              <a:gd name="connsiteX14" fmla="*/ 66482 w 626143"/>
              <a:gd name="connsiteY14" fmla="*/ 1493 h 110081"/>
              <a:gd name="connsiteX15" fmla="*/ 78434 w 626143"/>
              <a:gd name="connsiteY15" fmla="*/ 1493 h 110081"/>
              <a:gd name="connsiteX16" fmla="*/ 72607 w 626143"/>
              <a:gd name="connsiteY16" fmla="*/ 29559 h 110081"/>
              <a:gd name="connsiteX17" fmla="*/ 89340 w 626143"/>
              <a:gd name="connsiteY17" fmla="*/ 29559 h 110081"/>
              <a:gd name="connsiteX18" fmla="*/ 89340 w 626143"/>
              <a:gd name="connsiteY18" fmla="*/ 40012 h 110081"/>
              <a:gd name="connsiteX19" fmla="*/ 70516 w 626143"/>
              <a:gd name="connsiteY19" fmla="*/ 40012 h 110081"/>
              <a:gd name="connsiteX20" fmla="*/ 64988 w 626143"/>
              <a:gd name="connsiteY20" fmla="*/ 67206 h 110081"/>
              <a:gd name="connsiteX21" fmla="*/ 85306 w 626143"/>
              <a:gd name="connsiteY21" fmla="*/ 67206 h 110081"/>
              <a:gd name="connsiteX22" fmla="*/ 85306 w 626143"/>
              <a:gd name="connsiteY22" fmla="*/ 77661 h 110081"/>
              <a:gd name="connsiteX23" fmla="*/ 62747 w 626143"/>
              <a:gd name="connsiteY23" fmla="*/ 77661 h 110081"/>
              <a:gd name="connsiteX24" fmla="*/ 56472 w 626143"/>
              <a:gd name="connsiteY24" fmla="*/ 108588 h 110081"/>
              <a:gd name="connsiteX25" fmla="*/ 44520 w 626143"/>
              <a:gd name="connsiteY25" fmla="*/ 108588 h 110081"/>
              <a:gd name="connsiteX26" fmla="*/ 50795 w 626143"/>
              <a:gd name="connsiteY26" fmla="*/ 77661 h 110081"/>
              <a:gd name="connsiteX27" fmla="*/ 28386 w 626143"/>
              <a:gd name="connsiteY27" fmla="*/ 77661 h 110081"/>
              <a:gd name="connsiteX28" fmla="*/ 22111 w 626143"/>
              <a:gd name="connsiteY28" fmla="*/ 108588 h 110081"/>
              <a:gd name="connsiteX29" fmla="*/ 30626 w 626143"/>
              <a:gd name="connsiteY29" fmla="*/ 67206 h 110081"/>
              <a:gd name="connsiteX30" fmla="*/ 53036 w 626143"/>
              <a:gd name="connsiteY30" fmla="*/ 67206 h 110081"/>
              <a:gd name="connsiteX31" fmla="*/ 58564 w 626143"/>
              <a:gd name="connsiteY31" fmla="*/ 40012 h 110081"/>
              <a:gd name="connsiteX32" fmla="*/ 36154 w 626143"/>
              <a:gd name="connsiteY32" fmla="*/ 40012 h 110081"/>
              <a:gd name="connsiteX33" fmla="*/ 30626 w 626143"/>
              <a:gd name="connsiteY33" fmla="*/ 67206 h 110081"/>
              <a:gd name="connsiteX34" fmla="*/ 120078 w 626143"/>
              <a:gd name="connsiteY34" fmla="*/ 58992 h 110081"/>
              <a:gd name="connsiteX35" fmla="*/ 120078 w 626143"/>
              <a:gd name="connsiteY35" fmla="*/ 46298 h 110081"/>
              <a:gd name="connsiteX36" fmla="*/ 134420 w 626143"/>
              <a:gd name="connsiteY36" fmla="*/ 46298 h 110081"/>
              <a:gd name="connsiteX37" fmla="*/ 148016 w 626143"/>
              <a:gd name="connsiteY37" fmla="*/ 41817 h 110081"/>
              <a:gd name="connsiteX38" fmla="*/ 153394 w 626143"/>
              <a:gd name="connsiteY38" fmla="*/ 28812 h 110081"/>
              <a:gd name="connsiteX39" fmla="*/ 148464 w 626143"/>
              <a:gd name="connsiteY39" fmla="*/ 16864 h 110081"/>
              <a:gd name="connsiteX40" fmla="*/ 134271 w 626143"/>
              <a:gd name="connsiteY40" fmla="*/ 12383 h 110081"/>
              <a:gd name="connsiteX41" fmla="*/ 119630 w 626143"/>
              <a:gd name="connsiteY41" fmla="*/ 15246 h 110081"/>
              <a:gd name="connsiteX42" fmla="*/ 105587 w 626143"/>
              <a:gd name="connsiteY42" fmla="*/ 24331 h 110081"/>
              <a:gd name="connsiteX43" fmla="*/ 105587 w 626143"/>
              <a:gd name="connsiteY43" fmla="*/ 9707 h 110081"/>
              <a:gd name="connsiteX44" fmla="*/ 134420 w 626143"/>
              <a:gd name="connsiteY44" fmla="*/ 0 h 110081"/>
              <a:gd name="connsiteX45" fmla="*/ 158473 w 626143"/>
              <a:gd name="connsiteY45" fmla="*/ 7779 h 110081"/>
              <a:gd name="connsiteX46" fmla="*/ 167288 w 626143"/>
              <a:gd name="connsiteY46" fmla="*/ 28065 h 110081"/>
              <a:gd name="connsiteX47" fmla="*/ 161611 w 626143"/>
              <a:gd name="connsiteY47" fmla="*/ 44244 h 110081"/>
              <a:gd name="connsiteX48" fmla="*/ 148314 w 626143"/>
              <a:gd name="connsiteY48" fmla="*/ 52147 h 110081"/>
              <a:gd name="connsiteX49" fmla="*/ 159818 w 626143"/>
              <a:gd name="connsiteY49" fmla="*/ 56441 h 110081"/>
              <a:gd name="connsiteX50" fmla="*/ 168483 w 626143"/>
              <a:gd name="connsiteY50" fmla="*/ 65153 h 110081"/>
              <a:gd name="connsiteX51" fmla="*/ 171770 w 626143"/>
              <a:gd name="connsiteY51" fmla="*/ 77661 h 110081"/>
              <a:gd name="connsiteX52" fmla="*/ 166840 w 626143"/>
              <a:gd name="connsiteY52" fmla="*/ 94836 h 110081"/>
              <a:gd name="connsiteX53" fmla="*/ 153244 w 626143"/>
              <a:gd name="connsiteY53" fmla="*/ 106224 h 110081"/>
              <a:gd name="connsiteX54" fmla="*/ 133375 w 626143"/>
              <a:gd name="connsiteY54" fmla="*/ 110082 h 110081"/>
              <a:gd name="connsiteX55" fmla="*/ 102898 w 626143"/>
              <a:gd name="connsiteY55" fmla="*/ 100997 h 110081"/>
              <a:gd name="connsiteX56" fmla="*/ 102898 w 626143"/>
              <a:gd name="connsiteY56" fmla="*/ 86062 h 110081"/>
              <a:gd name="connsiteX57" fmla="*/ 116642 w 626143"/>
              <a:gd name="connsiteY57" fmla="*/ 94711 h 110081"/>
              <a:gd name="connsiteX58" fmla="*/ 133524 w 626143"/>
              <a:gd name="connsiteY58" fmla="*/ 97823 h 110081"/>
              <a:gd name="connsiteX59" fmla="*/ 150854 w 626143"/>
              <a:gd name="connsiteY59" fmla="*/ 92596 h 110081"/>
              <a:gd name="connsiteX60" fmla="*/ 157278 w 626143"/>
              <a:gd name="connsiteY60" fmla="*/ 77972 h 110081"/>
              <a:gd name="connsiteX61" fmla="*/ 151452 w 626143"/>
              <a:gd name="connsiteY61" fmla="*/ 64095 h 110081"/>
              <a:gd name="connsiteX62" fmla="*/ 133823 w 626143"/>
              <a:gd name="connsiteY62" fmla="*/ 58992 h 110081"/>
              <a:gd name="connsiteX63" fmla="*/ 120078 w 626143"/>
              <a:gd name="connsiteY63" fmla="*/ 58992 h 110081"/>
              <a:gd name="connsiteX64" fmla="*/ 253011 w 626143"/>
              <a:gd name="connsiteY64" fmla="*/ 108588 h 110081"/>
              <a:gd name="connsiteX65" fmla="*/ 184736 w 626143"/>
              <a:gd name="connsiteY65" fmla="*/ 108588 h 110081"/>
              <a:gd name="connsiteX66" fmla="*/ 184736 w 626143"/>
              <a:gd name="connsiteY66" fmla="*/ 94400 h 110081"/>
              <a:gd name="connsiteX67" fmla="*/ 210881 w 626143"/>
              <a:gd name="connsiteY67" fmla="*/ 72433 h 110081"/>
              <a:gd name="connsiteX68" fmla="*/ 226866 w 626143"/>
              <a:gd name="connsiteY68" fmla="*/ 56628 h 110081"/>
              <a:gd name="connsiteX69" fmla="*/ 234934 w 626143"/>
              <a:gd name="connsiteY69" fmla="*/ 43933 h 110081"/>
              <a:gd name="connsiteX70" fmla="*/ 237324 w 626143"/>
              <a:gd name="connsiteY70" fmla="*/ 32109 h 110081"/>
              <a:gd name="connsiteX71" fmla="*/ 231796 w 626143"/>
              <a:gd name="connsiteY71" fmla="*/ 17610 h 110081"/>
              <a:gd name="connsiteX72" fmla="*/ 216558 w 626143"/>
              <a:gd name="connsiteY72" fmla="*/ 12383 h 110081"/>
              <a:gd name="connsiteX73" fmla="*/ 187575 w 626143"/>
              <a:gd name="connsiteY73" fmla="*/ 27194 h 110081"/>
              <a:gd name="connsiteX74" fmla="*/ 187575 w 626143"/>
              <a:gd name="connsiteY74" fmla="*/ 12134 h 110081"/>
              <a:gd name="connsiteX75" fmla="*/ 217006 w 626143"/>
              <a:gd name="connsiteY75" fmla="*/ 0 h 110081"/>
              <a:gd name="connsiteX76" fmla="*/ 242404 w 626143"/>
              <a:gd name="connsiteY76" fmla="*/ 8401 h 110081"/>
              <a:gd name="connsiteX77" fmla="*/ 251816 w 626143"/>
              <a:gd name="connsiteY77" fmla="*/ 30803 h 110081"/>
              <a:gd name="connsiteX78" fmla="*/ 249425 w 626143"/>
              <a:gd name="connsiteY78" fmla="*/ 44804 h 110081"/>
              <a:gd name="connsiteX79" fmla="*/ 241358 w 626143"/>
              <a:gd name="connsiteY79" fmla="*/ 58681 h 110081"/>
              <a:gd name="connsiteX80" fmla="*/ 225671 w 626143"/>
              <a:gd name="connsiteY80" fmla="*/ 74860 h 110081"/>
              <a:gd name="connsiteX81" fmla="*/ 200274 w 626143"/>
              <a:gd name="connsiteY81" fmla="*/ 95769 h 110081"/>
              <a:gd name="connsiteX82" fmla="*/ 253011 w 626143"/>
              <a:gd name="connsiteY82" fmla="*/ 95769 h 110081"/>
              <a:gd name="connsiteX83" fmla="*/ 253011 w 626143"/>
              <a:gd name="connsiteY83" fmla="*/ 108588 h 110081"/>
              <a:gd name="connsiteX84" fmla="*/ 272109 w 626143"/>
              <a:gd name="connsiteY84" fmla="*/ 1493 h 110081"/>
              <a:gd name="connsiteX85" fmla="*/ 337545 w 626143"/>
              <a:gd name="connsiteY85" fmla="*/ 1493 h 110081"/>
              <a:gd name="connsiteX86" fmla="*/ 337545 w 626143"/>
              <a:gd name="connsiteY86" fmla="*/ 14374 h 110081"/>
              <a:gd name="connsiteX87" fmla="*/ 286152 w 626143"/>
              <a:gd name="connsiteY87" fmla="*/ 14374 h 110081"/>
              <a:gd name="connsiteX88" fmla="*/ 286152 w 626143"/>
              <a:gd name="connsiteY88" fmla="*/ 49907 h 110081"/>
              <a:gd name="connsiteX89" fmla="*/ 329776 w 626143"/>
              <a:gd name="connsiteY89" fmla="*/ 49907 h 110081"/>
              <a:gd name="connsiteX90" fmla="*/ 329776 w 626143"/>
              <a:gd name="connsiteY90" fmla="*/ 62601 h 110081"/>
              <a:gd name="connsiteX91" fmla="*/ 286152 w 626143"/>
              <a:gd name="connsiteY91" fmla="*/ 62601 h 110081"/>
              <a:gd name="connsiteX92" fmla="*/ 286152 w 626143"/>
              <a:gd name="connsiteY92" fmla="*/ 108588 h 110081"/>
              <a:gd name="connsiteX93" fmla="*/ 272109 w 626143"/>
              <a:gd name="connsiteY93" fmla="*/ 108588 h 110081"/>
              <a:gd name="connsiteX94" fmla="*/ 272109 w 626143"/>
              <a:gd name="connsiteY94" fmla="*/ 1493 h 110081"/>
              <a:gd name="connsiteX95" fmla="*/ 357016 w 626143"/>
              <a:gd name="connsiteY95" fmla="*/ 1493 h 110081"/>
              <a:gd name="connsiteX96" fmla="*/ 422452 w 626143"/>
              <a:gd name="connsiteY96" fmla="*/ 1493 h 110081"/>
              <a:gd name="connsiteX97" fmla="*/ 422452 w 626143"/>
              <a:gd name="connsiteY97" fmla="*/ 14374 h 110081"/>
              <a:gd name="connsiteX98" fmla="*/ 371060 w 626143"/>
              <a:gd name="connsiteY98" fmla="*/ 14374 h 110081"/>
              <a:gd name="connsiteX99" fmla="*/ 371060 w 626143"/>
              <a:gd name="connsiteY99" fmla="*/ 49907 h 110081"/>
              <a:gd name="connsiteX100" fmla="*/ 414684 w 626143"/>
              <a:gd name="connsiteY100" fmla="*/ 49907 h 110081"/>
              <a:gd name="connsiteX101" fmla="*/ 414684 w 626143"/>
              <a:gd name="connsiteY101" fmla="*/ 62601 h 110081"/>
              <a:gd name="connsiteX102" fmla="*/ 371060 w 626143"/>
              <a:gd name="connsiteY102" fmla="*/ 62601 h 110081"/>
              <a:gd name="connsiteX103" fmla="*/ 371060 w 626143"/>
              <a:gd name="connsiteY103" fmla="*/ 108588 h 110081"/>
              <a:gd name="connsiteX104" fmla="*/ 357016 w 626143"/>
              <a:gd name="connsiteY104" fmla="*/ 108588 h 110081"/>
              <a:gd name="connsiteX105" fmla="*/ 357016 w 626143"/>
              <a:gd name="connsiteY105" fmla="*/ 1493 h 110081"/>
              <a:gd name="connsiteX106" fmla="*/ 441930 w 626143"/>
              <a:gd name="connsiteY106" fmla="*/ 1493 h 110081"/>
              <a:gd name="connsiteX107" fmla="*/ 477935 w 626143"/>
              <a:gd name="connsiteY107" fmla="*/ 1493 h 110081"/>
              <a:gd name="connsiteX108" fmla="*/ 497954 w 626143"/>
              <a:gd name="connsiteY108" fmla="*/ 4044 h 110081"/>
              <a:gd name="connsiteX109" fmla="*/ 514089 w 626143"/>
              <a:gd name="connsiteY109" fmla="*/ 12383 h 110081"/>
              <a:gd name="connsiteX110" fmla="*/ 524846 w 626143"/>
              <a:gd name="connsiteY110" fmla="*/ 27629 h 110081"/>
              <a:gd name="connsiteX111" fmla="*/ 528730 w 626143"/>
              <a:gd name="connsiteY111" fmla="*/ 51401 h 110081"/>
              <a:gd name="connsiteX112" fmla="*/ 521858 w 626143"/>
              <a:gd name="connsiteY112" fmla="*/ 83075 h 110081"/>
              <a:gd name="connsiteX113" fmla="*/ 503333 w 626143"/>
              <a:gd name="connsiteY113" fmla="*/ 102179 h 110081"/>
              <a:gd name="connsiteX114" fmla="*/ 476292 w 626143"/>
              <a:gd name="connsiteY114" fmla="*/ 108588 h 110081"/>
              <a:gd name="connsiteX115" fmla="*/ 441930 w 626143"/>
              <a:gd name="connsiteY115" fmla="*/ 108588 h 110081"/>
              <a:gd name="connsiteX116" fmla="*/ 441930 w 626143"/>
              <a:gd name="connsiteY116" fmla="*/ 1493 h 110081"/>
              <a:gd name="connsiteX117" fmla="*/ 476292 w 626143"/>
              <a:gd name="connsiteY117" fmla="*/ 95893 h 110081"/>
              <a:gd name="connsiteX118" fmla="*/ 495713 w 626143"/>
              <a:gd name="connsiteY118" fmla="*/ 91413 h 110081"/>
              <a:gd name="connsiteX119" fmla="*/ 508711 w 626143"/>
              <a:gd name="connsiteY119" fmla="*/ 77225 h 110081"/>
              <a:gd name="connsiteX120" fmla="*/ 513492 w 626143"/>
              <a:gd name="connsiteY120" fmla="*/ 52458 h 110081"/>
              <a:gd name="connsiteX121" fmla="*/ 508860 w 626143"/>
              <a:gd name="connsiteY121" fmla="*/ 29122 h 110081"/>
              <a:gd name="connsiteX122" fmla="*/ 496161 w 626143"/>
              <a:gd name="connsiteY122" fmla="*/ 17610 h 110081"/>
              <a:gd name="connsiteX123" fmla="*/ 477935 w 626143"/>
              <a:gd name="connsiteY123" fmla="*/ 14374 h 110081"/>
              <a:gd name="connsiteX124" fmla="*/ 455974 w 626143"/>
              <a:gd name="connsiteY124" fmla="*/ 14374 h 110081"/>
              <a:gd name="connsiteX125" fmla="*/ 455974 w 626143"/>
              <a:gd name="connsiteY125" fmla="*/ 95893 h 110081"/>
              <a:gd name="connsiteX126" fmla="*/ 476292 w 626143"/>
              <a:gd name="connsiteY126" fmla="*/ 95893 h 110081"/>
              <a:gd name="connsiteX127" fmla="*/ 593874 w 626143"/>
              <a:gd name="connsiteY127" fmla="*/ 110082 h 110081"/>
              <a:gd name="connsiteX128" fmla="*/ 566086 w 626143"/>
              <a:gd name="connsiteY128" fmla="*/ 103486 h 110081"/>
              <a:gd name="connsiteX129" fmla="*/ 547710 w 626143"/>
              <a:gd name="connsiteY129" fmla="*/ 84693 h 110081"/>
              <a:gd name="connsiteX130" fmla="*/ 541136 w 626143"/>
              <a:gd name="connsiteY130" fmla="*/ 55134 h 110081"/>
              <a:gd name="connsiteX131" fmla="*/ 554731 w 626143"/>
              <a:gd name="connsiteY131" fmla="*/ 14810 h 110081"/>
              <a:gd name="connsiteX132" fmla="*/ 593575 w 626143"/>
              <a:gd name="connsiteY132" fmla="*/ 186 h 110081"/>
              <a:gd name="connsiteX133" fmla="*/ 611503 w 626143"/>
              <a:gd name="connsiteY133" fmla="*/ 2240 h 110081"/>
              <a:gd name="connsiteX134" fmla="*/ 626144 w 626143"/>
              <a:gd name="connsiteY134" fmla="*/ 7902 h 110081"/>
              <a:gd name="connsiteX135" fmla="*/ 626144 w 626143"/>
              <a:gd name="connsiteY135" fmla="*/ 21344 h 110081"/>
              <a:gd name="connsiteX136" fmla="*/ 611054 w 626143"/>
              <a:gd name="connsiteY136" fmla="*/ 15121 h 110081"/>
              <a:gd name="connsiteX137" fmla="*/ 593425 w 626143"/>
              <a:gd name="connsiteY137" fmla="*/ 12881 h 110081"/>
              <a:gd name="connsiteX138" fmla="*/ 565488 w 626143"/>
              <a:gd name="connsiteY138" fmla="*/ 23459 h 110081"/>
              <a:gd name="connsiteX139" fmla="*/ 556375 w 626143"/>
              <a:gd name="connsiteY139" fmla="*/ 55134 h 110081"/>
              <a:gd name="connsiteX140" fmla="*/ 566235 w 626143"/>
              <a:gd name="connsiteY140" fmla="*/ 86933 h 110081"/>
              <a:gd name="connsiteX141" fmla="*/ 595069 w 626143"/>
              <a:gd name="connsiteY141" fmla="*/ 97387 h 110081"/>
              <a:gd name="connsiteX142" fmla="*/ 626144 w 626143"/>
              <a:gd name="connsiteY142" fmla="*/ 87555 h 110081"/>
              <a:gd name="connsiteX143" fmla="*/ 626144 w 626143"/>
              <a:gd name="connsiteY143" fmla="*/ 100997 h 110081"/>
              <a:gd name="connsiteX144" fmla="*/ 612250 w 626143"/>
              <a:gd name="connsiteY144" fmla="*/ 107717 h 110081"/>
              <a:gd name="connsiteX145" fmla="*/ 593874 w 626143"/>
              <a:gd name="connsiteY14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626143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420" y="46298"/>
                </a:lnTo>
                <a:cubicBezTo>
                  <a:pt x="139998" y="46298"/>
                  <a:pt x="144530" y="44804"/>
                  <a:pt x="148016" y="41817"/>
                </a:cubicBezTo>
                <a:cubicBezTo>
                  <a:pt x="151601" y="38768"/>
                  <a:pt x="153394" y="34412"/>
                  <a:pt x="153394" y="28812"/>
                </a:cubicBezTo>
                <a:cubicBezTo>
                  <a:pt x="153394" y="23771"/>
                  <a:pt x="151751" y="19788"/>
                  <a:pt x="148464" y="16864"/>
                </a:cubicBezTo>
                <a:cubicBezTo>
                  <a:pt x="145177" y="13877"/>
                  <a:pt x="140446" y="12383"/>
                  <a:pt x="134271" y="12383"/>
                </a:cubicBezTo>
                <a:cubicBezTo>
                  <a:pt x="129092" y="12383"/>
                  <a:pt x="124212" y="13379"/>
                  <a:pt x="119630" y="15246"/>
                </a:cubicBezTo>
                <a:cubicBezTo>
                  <a:pt x="115148" y="17113"/>
                  <a:pt x="110467" y="20162"/>
                  <a:pt x="105587" y="24331"/>
                </a:cubicBezTo>
                <a:lnTo>
                  <a:pt x="105587" y="9707"/>
                </a:lnTo>
                <a:cubicBezTo>
                  <a:pt x="113555" y="3235"/>
                  <a:pt x="123166" y="0"/>
                  <a:pt x="134420" y="0"/>
                </a:cubicBezTo>
                <a:cubicBezTo>
                  <a:pt x="144679" y="0"/>
                  <a:pt x="152697" y="2613"/>
                  <a:pt x="158473" y="7779"/>
                </a:cubicBezTo>
                <a:cubicBezTo>
                  <a:pt x="164350" y="12943"/>
                  <a:pt x="167288" y="19726"/>
                  <a:pt x="167288" y="28065"/>
                </a:cubicBezTo>
                <a:cubicBezTo>
                  <a:pt x="167288" y="34848"/>
                  <a:pt x="165396" y="40262"/>
                  <a:pt x="161611" y="44244"/>
                </a:cubicBezTo>
                <a:cubicBezTo>
                  <a:pt x="157926" y="48227"/>
                  <a:pt x="153493" y="50840"/>
                  <a:pt x="148314" y="52147"/>
                </a:cubicBezTo>
                <a:cubicBezTo>
                  <a:pt x="152497" y="52707"/>
                  <a:pt x="156332" y="54201"/>
                  <a:pt x="159818" y="56441"/>
                </a:cubicBezTo>
                <a:cubicBezTo>
                  <a:pt x="163403" y="58681"/>
                  <a:pt x="166292" y="61543"/>
                  <a:pt x="168483" y="65153"/>
                </a:cubicBezTo>
                <a:cubicBezTo>
                  <a:pt x="170674" y="68700"/>
                  <a:pt x="171770" y="72869"/>
                  <a:pt x="171770" y="77661"/>
                </a:cubicBezTo>
                <a:cubicBezTo>
                  <a:pt x="171770" y="84257"/>
                  <a:pt x="170126" y="89982"/>
                  <a:pt x="166840" y="94836"/>
                </a:cubicBezTo>
                <a:cubicBezTo>
                  <a:pt x="163553" y="99752"/>
                  <a:pt x="159021" y="103486"/>
                  <a:pt x="153244" y="106224"/>
                </a:cubicBezTo>
                <a:cubicBezTo>
                  <a:pt x="147567" y="108775"/>
                  <a:pt x="140944" y="110082"/>
                  <a:pt x="133375" y="110082"/>
                </a:cubicBezTo>
                <a:cubicBezTo>
                  <a:pt x="120228" y="110082"/>
                  <a:pt x="110069" y="107033"/>
                  <a:pt x="102898" y="100997"/>
                </a:cubicBezTo>
                <a:lnTo>
                  <a:pt x="102898" y="86062"/>
                </a:lnTo>
                <a:cubicBezTo>
                  <a:pt x="106682" y="89733"/>
                  <a:pt x="111264" y="92596"/>
                  <a:pt x="116642" y="94711"/>
                </a:cubicBezTo>
                <a:cubicBezTo>
                  <a:pt x="122020" y="96765"/>
                  <a:pt x="127648" y="97823"/>
                  <a:pt x="133524" y="97823"/>
                </a:cubicBezTo>
                <a:cubicBezTo>
                  <a:pt x="140894" y="97823"/>
                  <a:pt x="146671" y="96080"/>
                  <a:pt x="150854" y="92596"/>
                </a:cubicBezTo>
                <a:cubicBezTo>
                  <a:pt x="155137" y="89048"/>
                  <a:pt x="157278" y="84132"/>
                  <a:pt x="157278" y="77972"/>
                </a:cubicBezTo>
                <a:cubicBezTo>
                  <a:pt x="157278" y="71998"/>
                  <a:pt x="155336" y="67393"/>
                  <a:pt x="151452" y="64095"/>
                </a:cubicBezTo>
                <a:cubicBezTo>
                  <a:pt x="147667" y="60673"/>
                  <a:pt x="141791" y="58992"/>
                  <a:pt x="133823" y="58992"/>
                </a:cubicBezTo>
                <a:lnTo>
                  <a:pt x="120078" y="58992"/>
                </a:ln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1" y="72433"/>
                </a:cubicBezTo>
                <a:cubicBezTo>
                  <a:pt x="217753" y="66397"/>
                  <a:pt x="223082" y="61108"/>
                  <a:pt x="226866" y="56628"/>
                </a:cubicBezTo>
                <a:cubicBezTo>
                  <a:pt x="230751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2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9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4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477935" y="1493"/>
                </a:lnTo>
                <a:cubicBezTo>
                  <a:pt x="485106" y="1493"/>
                  <a:pt x="491779" y="2365"/>
                  <a:pt x="497954" y="4044"/>
                </a:cubicBezTo>
                <a:cubicBezTo>
                  <a:pt x="504129" y="5725"/>
                  <a:pt x="509508" y="8525"/>
                  <a:pt x="514089" y="12383"/>
                </a:cubicBezTo>
                <a:cubicBezTo>
                  <a:pt x="518671" y="16179"/>
                  <a:pt x="522256" y="21282"/>
                  <a:pt x="524846" y="27629"/>
                </a:cubicBezTo>
                <a:cubicBezTo>
                  <a:pt x="527435" y="34039"/>
                  <a:pt x="528730" y="41942"/>
                  <a:pt x="528730" y="51401"/>
                </a:cubicBezTo>
                <a:cubicBezTo>
                  <a:pt x="528730" y="63908"/>
                  <a:pt x="526439" y="74487"/>
                  <a:pt x="521858" y="83075"/>
                </a:cubicBezTo>
                <a:cubicBezTo>
                  <a:pt x="517376" y="91538"/>
                  <a:pt x="511201" y="97885"/>
                  <a:pt x="503333" y="102179"/>
                </a:cubicBezTo>
                <a:cubicBezTo>
                  <a:pt x="495464" y="106473"/>
                  <a:pt x="486451" y="108588"/>
                  <a:pt x="476292" y="108588"/>
                </a:cubicBez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476292" y="95893"/>
                </a:moveTo>
                <a:cubicBezTo>
                  <a:pt x="483662" y="95893"/>
                  <a:pt x="490136" y="94400"/>
                  <a:pt x="495713" y="91413"/>
                </a:cubicBezTo>
                <a:cubicBezTo>
                  <a:pt x="501291" y="88302"/>
                  <a:pt x="505623" y="83572"/>
                  <a:pt x="508711" y="77225"/>
                </a:cubicBezTo>
                <a:cubicBezTo>
                  <a:pt x="511898" y="70754"/>
                  <a:pt x="513492" y="62477"/>
                  <a:pt x="513492" y="52458"/>
                </a:cubicBezTo>
                <a:cubicBezTo>
                  <a:pt x="513492" y="42377"/>
                  <a:pt x="511948" y="34599"/>
                  <a:pt x="508860" y="29122"/>
                </a:cubicBezTo>
                <a:cubicBezTo>
                  <a:pt x="505773" y="23646"/>
                  <a:pt x="501540" y="19851"/>
                  <a:pt x="496161" y="17610"/>
                </a:cubicBezTo>
                <a:cubicBezTo>
                  <a:pt x="490883" y="15433"/>
                  <a:pt x="484807" y="14374"/>
                  <a:pt x="477935" y="14374"/>
                </a:cubicBezTo>
                <a:lnTo>
                  <a:pt x="455974" y="14374"/>
                </a:lnTo>
                <a:lnTo>
                  <a:pt x="455974" y="95893"/>
                </a:lnTo>
                <a:lnTo>
                  <a:pt x="476292" y="95893"/>
                </a:lnTo>
                <a:close/>
                <a:moveTo>
                  <a:pt x="593874" y="110082"/>
                </a:moveTo>
                <a:cubicBezTo>
                  <a:pt x="583316" y="110082"/>
                  <a:pt x="574054" y="107904"/>
                  <a:pt x="566086" y="103486"/>
                </a:cubicBezTo>
                <a:cubicBezTo>
                  <a:pt x="558217" y="99129"/>
                  <a:pt x="552092" y="92844"/>
                  <a:pt x="547710" y="84693"/>
                </a:cubicBezTo>
                <a:cubicBezTo>
                  <a:pt x="543327" y="76416"/>
                  <a:pt x="541136" y="66584"/>
                  <a:pt x="541136" y="55134"/>
                </a:cubicBezTo>
                <a:cubicBezTo>
                  <a:pt x="541136" y="37897"/>
                  <a:pt x="545668" y="24455"/>
                  <a:pt x="554731" y="14810"/>
                </a:cubicBezTo>
                <a:cubicBezTo>
                  <a:pt x="563795" y="5040"/>
                  <a:pt x="576743" y="186"/>
                  <a:pt x="593575" y="186"/>
                </a:cubicBezTo>
                <a:cubicBezTo>
                  <a:pt x="599850" y="186"/>
                  <a:pt x="605825" y="871"/>
                  <a:pt x="611503" y="2240"/>
                </a:cubicBezTo>
                <a:cubicBezTo>
                  <a:pt x="617279" y="3547"/>
                  <a:pt x="622160" y="5414"/>
                  <a:pt x="626144" y="7902"/>
                </a:cubicBezTo>
                <a:lnTo>
                  <a:pt x="626144" y="21344"/>
                </a:lnTo>
                <a:cubicBezTo>
                  <a:pt x="621861" y="18669"/>
                  <a:pt x="616831" y="16615"/>
                  <a:pt x="611054" y="15121"/>
                </a:cubicBezTo>
                <a:cubicBezTo>
                  <a:pt x="605377" y="13628"/>
                  <a:pt x="599501" y="12881"/>
                  <a:pt x="593425" y="12881"/>
                </a:cubicBezTo>
                <a:cubicBezTo>
                  <a:pt x="580876" y="12881"/>
                  <a:pt x="571564" y="16366"/>
                  <a:pt x="565488" y="23459"/>
                </a:cubicBezTo>
                <a:cubicBezTo>
                  <a:pt x="559413" y="30554"/>
                  <a:pt x="556375" y="41071"/>
                  <a:pt x="556375" y="55134"/>
                </a:cubicBezTo>
                <a:cubicBezTo>
                  <a:pt x="556375" y="69260"/>
                  <a:pt x="559662" y="79839"/>
                  <a:pt x="566235" y="86933"/>
                </a:cubicBezTo>
                <a:cubicBezTo>
                  <a:pt x="572809" y="93902"/>
                  <a:pt x="582420" y="97387"/>
                  <a:pt x="595069" y="97387"/>
                </a:cubicBezTo>
                <a:cubicBezTo>
                  <a:pt x="607021" y="97387"/>
                  <a:pt x="617379" y="94089"/>
                  <a:pt x="626144" y="87555"/>
                </a:cubicBezTo>
                <a:lnTo>
                  <a:pt x="626144" y="100997"/>
                </a:lnTo>
                <a:cubicBezTo>
                  <a:pt x="622658" y="103734"/>
                  <a:pt x="618026" y="105974"/>
                  <a:pt x="612250" y="107717"/>
                </a:cubicBezTo>
                <a:cubicBezTo>
                  <a:pt x="606473" y="109273"/>
                  <a:pt x="600348" y="110082"/>
                  <a:pt x="593874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3" name="Полилиния 992">
            <a:extLst>
              <a:ext uri="{FF2B5EF4-FFF2-40B4-BE49-F238E27FC236}">
                <a16:creationId xmlns:a16="http://schemas.microsoft.com/office/drawing/2014/main" id="{43258787-8E86-9310-1BD1-A3D32E0019F4}"/>
              </a:ext>
            </a:extLst>
          </p:cNvPr>
          <p:cNvSpPr/>
          <p:nvPr userDrawn="1"/>
        </p:nvSpPr>
        <p:spPr>
          <a:xfrm>
            <a:off x="13814863" y="8144980"/>
            <a:ext cx="1398954" cy="726227"/>
          </a:xfrm>
          <a:custGeom>
            <a:avLst/>
            <a:gdLst>
              <a:gd name="connsiteX0" fmla="*/ 213 w 1198727"/>
              <a:gd name="connsiteY0" fmla="*/ 1622 h 622284"/>
              <a:gd name="connsiteX1" fmla="*/ 1198941 w 1198727"/>
              <a:gd name="connsiteY1" fmla="*/ 1622 h 622284"/>
              <a:gd name="connsiteX2" fmla="*/ 1198941 w 1198727"/>
              <a:gd name="connsiteY2" fmla="*/ 623906 h 622284"/>
              <a:gd name="connsiteX3" fmla="*/ 213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622"/>
                </a:moveTo>
                <a:lnTo>
                  <a:pt x="1198941" y="1622"/>
                </a:lnTo>
                <a:lnTo>
                  <a:pt x="1198941" y="623906"/>
                </a:lnTo>
                <a:lnTo>
                  <a:pt x="213" y="623906"/>
                </a:lnTo>
                <a:close/>
              </a:path>
            </a:pathLst>
          </a:custGeom>
          <a:solidFill>
            <a:srgbClr val="69FFE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4" name="Полилиния 993">
            <a:extLst>
              <a:ext uri="{FF2B5EF4-FFF2-40B4-BE49-F238E27FC236}">
                <a16:creationId xmlns:a16="http://schemas.microsoft.com/office/drawing/2014/main" id="{6BAA6E7F-DFA3-F89C-99D0-206527C19896}"/>
              </a:ext>
            </a:extLst>
          </p:cNvPr>
          <p:cNvSpPr/>
          <p:nvPr userDrawn="1"/>
        </p:nvSpPr>
        <p:spPr>
          <a:xfrm>
            <a:off x="13938073" y="8446726"/>
            <a:ext cx="696318" cy="128468"/>
          </a:xfrm>
          <a:custGeom>
            <a:avLst/>
            <a:gdLst>
              <a:gd name="connsiteX0" fmla="*/ 22111 w 596656"/>
              <a:gd name="connsiteY0" fmla="*/ 108588 h 110081"/>
              <a:gd name="connsiteX1" fmla="*/ 10159 w 596656"/>
              <a:gd name="connsiteY1" fmla="*/ 108588 h 110081"/>
              <a:gd name="connsiteX2" fmla="*/ 16434 w 596656"/>
              <a:gd name="connsiteY2" fmla="*/ 77661 h 110081"/>
              <a:gd name="connsiteX3" fmla="*/ 0 w 596656"/>
              <a:gd name="connsiteY3" fmla="*/ 77661 h 110081"/>
              <a:gd name="connsiteX4" fmla="*/ 0 w 596656"/>
              <a:gd name="connsiteY4" fmla="*/ 67206 h 110081"/>
              <a:gd name="connsiteX5" fmla="*/ 18675 w 596656"/>
              <a:gd name="connsiteY5" fmla="*/ 67206 h 110081"/>
              <a:gd name="connsiteX6" fmla="*/ 24202 w 596656"/>
              <a:gd name="connsiteY6" fmla="*/ 40012 h 110081"/>
              <a:gd name="connsiteX7" fmla="*/ 4034 w 596656"/>
              <a:gd name="connsiteY7" fmla="*/ 40012 h 110081"/>
              <a:gd name="connsiteX8" fmla="*/ 4034 w 596656"/>
              <a:gd name="connsiteY8" fmla="*/ 29559 h 110081"/>
              <a:gd name="connsiteX9" fmla="*/ 26294 w 596656"/>
              <a:gd name="connsiteY9" fmla="*/ 29559 h 110081"/>
              <a:gd name="connsiteX10" fmla="*/ 32120 w 596656"/>
              <a:gd name="connsiteY10" fmla="*/ 1493 h 110081"/>
              <a:gd name="connsiteX11" fmla="*/ 44072 w 596656"/>
              <a:gd name="connsiteY11" fmla="*/ 1493 h 110081"/>
              <a:gd name="connsiteX12" fmla="*/ 38246 w 596656"/>
              <a:gd name="connsiteY12" fmla="*/ 29559 h 110081"/>
              <a:gd name="connsiteX13" fmla="*/ 60655 w 596656"/>
              <a:gd name="connsiteY13" fmla="*/ 29559 h 110081"/>
              <a:gd name="connsiteX14" fmla="*/ 66482 w 596656"/>
              <a:gd name="connsiteY14" fmla="*/ 1493 h 110081"/>
              <a:gd name="connsiteX15" fmla="*/ 78434 w 596656"/>
              <a:gd name="connsiteY15" fmla="*/ 1493 h 110081"/>
              <a:gd name="connsiteX16" fmla="*/ 72607 w 596656"/>
              <a:gd name="connsiteY16" fmla="*/ 29559 h 110081"/>
              <a:gd name="connsiteX17" fmla="*/ 89340 w 596656"/>
              <a:gd name="connsiteY17" fmla="*/ 29559 h 110081"/>
              <a:gd name="connsiteX18" fmla="*/ 89340 w 596656"/>
              <a:gd name="connsiteY18" fmla="*/ 40012 h 110081"/>
              <a:gd name="connsiteX19" fmla="*/ 70516 w 596656"/>
              <a:gd name="connsiteY19" fmla="*/ 40012 h 110081"/>
              <a:gd name="connsiteX20" fmla="*/ 64988 w 596656"/>
              <a:gd name="connsiteY20" fmla="*/ 67206 h 110081"/>
              <a:gd name="connsiteX21" fmla="*/ 85306 w 596656"/>
              <a:gd name="connsiteY21" fmla="*/ 67206 h 110081"/>
              <a:gd name="connsiteX22" fmla="*/ 85306 w 596656"/>
              <a:gd name="connsiteY22" fmla="*/ 77661 h 110081"/>
              <a:gd name="connsiteX23" fmla="*/ 62747 w 596656"/>
              <a:gd name="connsiteY23" fmla="*/ 77661 h 110081"/>
              <a:gd name="connsiteX24" fmla="*/ 56472 w 596656"/>
              <a:gd name="connsiteY24" fmla="*/ 108588 h 110081"/>
              <a:gd name="connsiteX25" fmla="*/ 44520 w 596656"/>
              <a:gd name="connsiteY25" fmla="*/ 108588 h 110081"/>
              <a:gd name="connsiteX26" fmla="*/ 50795 w 596656"/>
              <a:gd name="connsiteY26" fmla="*/ 77661 h 110081"/>
              <a:gd name="connsiteX27" fmla="*/ 28386 w 596656"/>
              <a:gd name="connsiteY27" fmla="*/ 77661 h 110081"/>
              <a:gd name="connsiteX28" fmla="*/ 22111 w 596656"/>
              <a:gd name="connsiteY28" fmla="*/ 108588 h 110081"/>
              <a:gd name="connsiteX29" fmla="*/ 30626 w 596656"/>
              <a:gd name="connsiteY29" fmla="*/ 67206 h 110081"/>
              <a:gd name="connsiteX30" fmla="*/ 53036 w 596656"/>
              <a:gd name="connsiteY30" fmla="*/ 67206 h 110081"/>
              <a:gd name="connsiteX31" fmla="*/ 58564 w 596656"/>
              <a:gd name="connsiteY31" fmla="*/ 40012 h 110081"/>
              <a:gd name="connsiteX32" fmla="*/ 36154 w 596656"/>
              <a:gd name="connsiteY32" fmla="*/ 40012 h 110081"/>
              <a:gd name="connsiteX33" fmla="*/ 30626 w 596656"/>
              <a:gd name="connsiteY33" fmla="*/ 67206 h 110081"/>
              <a:gd name="connsiteX34" fmla="*/ 173264 w 596656"/>
              <a:gd name="connsiteY34" fmla="*/ 73491 h 110081"/>
              <a:gd name="connsiteX35" fmla="*/ 168483 w 596656"/>
              <a:gd name="connsiteY35" fmla="*/ 92782 h 110081"/>
              <a:gd name="connsiteX36" fmla="*/ 155784 w 596656"/>
              <a:gd name="connsiteY36" fmla="*/ 105601 h 110081"/>
              <a:gd name="connsiteX37" fmla="*/ 137707 w 596656"/>
              <a:gd name="connsiteY37" fmla="*/ 110082 h 110081"/>
              <a:gd name="connsiteX38" fmla="*/ 116044 w 596656"/>
              <a:gd name="connsiteY38" fmla="*/ 104108 h 110081"/>
              <a:gd name="connsiteX39" fmla="*/ 103943 w 596656"/>
              <a:gd name="connsiteY39" fmla="*/ 87555 h 110081"/>
              <a:gd name="connsiteX40" fmla="*/ 100208 w 596656"/>
              <a:gd name="connsiteY40" fmla="*/ 63161 h 110081"/>
              <a:gd name="connsiteX41" fmla="*/ 104690 w 596656"/>
              <a:gd name="connsiteY41" fmla="*/ 30181 h 110081"/>
              <a:gd name="connsiteX42" fmla="*/ 118734 w 596656"/>
              <a:gd name="connsiteY42" fmla="*/ 8089 h 110081"/>
              <a:gd name="connsiteX43" fmla="*/ 143235 w 596656"/>
              <a:gd name="connsiteY43" fmla="*/ 0 h 110081"/>
              <a:gd name="connsiteX44" fmla="*/ 165794 w 596656"/>
              <a:gd name="connsiteY44" fmla="*/ 5538 h 110081"/>
              <a:gd name="connsiteX45" fmla="*/ 165794 w 596656"/>
              <a:gd name="connsiteY45" fmla="*/ 18855 h 110081"/>
              <a:gd name="connsiteX46" fmla="*/ 143235 w 596656"/>
              <a:gd name="connsiteY46" fmla="*/ 12259 h 110081"/>
              <a:gd name="connsiteX47" fmla="*/ 127698 w 596656"/>
              <a:gd name="connsiteY47" fmla="*/ 17361 h 110081"/>
              <a:gd name="connsiteX48" fmla="*/ 117837 w 596656"/>
              <a:gd name="connsiteY48" fmla="*/ 31238 h 110081"/>
              <a:gd name="connsiteX49" fmla="*/ 113654 w 596656"/>
              <a:gd name="connsiteY49" fmla="*/ 50778 h 110081"/>
              <a:gd name="connsiteX50" fmla="*/ 125008 w 596656"/>
              <a:gd name="connsiteY50" fmla="*/ 40759 h 110081"/>
              <a:gd name="connsiteX51" fmla="*/ 139052 w 596656"/>
              <a:gd name="connsiteY51" fmla="*/ 37523 h 110081"/>
              <a:gd name="connsiteX52" fmla="*/ 156382 w 596656"/>
              <a:gd name="connsiteY52" fmla="*/ 41693 h 110081"/>
              <a:gd name="connsiteX53" fmla="*/ 168632 w 596656"/>
              <a:gd name="connsiteY53" fmla="*/ 53952 h 110081"/>
              <a:gd name="connsiteX54" fmla="*/ 173264 w 596656"/>
              <a:gd name="connsiteY54" fmla="*/ 73491 h 110081"/>
              <a:gd name="connsiteX55" fmla="*/ 137259 w 596656"/>
              <a:gd name="connsiteY55" fmla="*/ 98134 h 110081"/>
              <a:gd name="connsiteX56" fmla="*/ 148016 w 596656"/>
              <a:gd name="connsiteY56" fmla="*/ 95458 h 110081"/>
              <a:gd name="connsiteX57" fmla="*/ 155934 w 596656"/>
              <a:gd name="connsiteY57" fmla="*/ 87244 h 110081"/>
              <a:gd name="connsiteX58" fmla="*/ 159071 w 596656"/>
              <a:gd name="connsiteY58" fmla="*/ 73803 h 110081"/>
              <a:gd name="connsiteX59" fmla="*/ 156083 w 596656"/>
              <a:gd name="connsiteY59" fmla="*/ 60174 h 110081"/>
              <a:gd name="connsiteX60" fmla="*/ 148464 w 596656"/>
              <a:gd name="connsiteY60" fmla="*/ 51961 h 110081"/>
              <a:gd name="connsiteX61" fmla="*/ 138753 w 596656"/>
              <a:gd name="connsiteY61" fmla="*/ 49160 h 110081"/>
              <a:gd name="connsiteX62" fmla="*/ 122170 w 596656"/>
              <a:gd name="connsiteY62" fmla="*/ 55570 h 110081"/>
              <a:gd name="connsiteX63" fmla="*/ 115596 w 596656"/>
              <a:gd name="connsiteY63" fmla="*/ 74114 h 110081"/>
              <a:gd name="connsiteX64" fmla="*/ 121423 w 596656"/>
              <a:gd name="connsiteY64" fmla="*/ 91538 h 110081"/>
              <a:gd name="connsiteX65" fmla="*/ 137259 w 596656"/>
              <a:gd name="connsiteY65" fmla="*/ 98134 h 110081"/>
              <a:gd name="connsiteX66" fmla="*/ 182346 w 596656"/>
              <a:gd name="connsiteY66" fmla="*/ 35844 h 110081"/>
              <a:gd name="connsiteX67" fmla="*/ 186977 w 596656"/>
              <a:gd name="connsiteY67" fmla="*/ 17051 h 110081"/>
              <a:gd name="connsiteX68" fmla="*/ 199825 w 596656"/>
              <a:gd name="connsiteY68" fmla="*/ 4480 h 110081"/>
              <a:gd name="connsiteX69" fmla="*/ 217902 w 596656"/>
              <a:gd name="connsiteY69" fmla="*/ 0 h 110081"/>
              <a:gd name="connsiteX70" fmla="*/ 239565 w 596656"/>
              <a:gd name="connsiteY70" fmla="*/ 5849 h 110081"/>
              <a:gd name="connsiteX71" fmla="*/ 251666 w 596656"/>
              <a:gd name="connsiteY71" fmla="*/ 21842 h 110081"/>
              <a:gd name="connsiteX72" fmla="*/ 255401 w 596656"/>
              <a:gd name="connsiteY72" fmla="*/ 45426 h 110081"/>
              <a:gd name="connsiteX73" fmla="*/ 250770 w 596656"/>
              <a:gd name="connsiteY73" fmla="*/ 80088 h 110081"/>
              <a:gd name="connsiteX74" fmla="*/ 236428 w 596656"/>
              <a:gd name="connsiteY74" fmla="*/ 102303 h 110081"/>
              <a:gd name="connsiteX75" fmla="*/ 211927 w 596656"/>
              <a:gd name="connsiteY75" fmla="*/ 110082 h 110081"/>
              <a:gd name="connsiteX76" fmla="*/ 188919 w 596656"/>
              <a:gd name="connsiteY76" fmla="*/ 104543 h 110081"/>
              <a:gd name="connsiteX77" fmla="*/ 188919 w 596656"/>
              <a:gd name="connsiteY77" fmla="*/ 91413 h 110081"/>
              <a:gd name="connsiteX78" fmla="*/ 211927 w 596656"/>
              <a:gd name="connsiteY78" fmla="*/ 98010 h 110081"/>
              <a:gd name="connsiteX79" fmla="*/ 227464 w 596656"/>
              <a:gd name="connsiteY79" fmla="*/ 92907 h 110081"/>
              <a:gd name="connsiteX80" fmla="*/ 237175 w 596656"/>
              <a:gd name="connsiteY80" fmla="*/ 79154 h 110081"/>
              <a:gd name="connsiteX81" fmla="*/ 241507 w 596656"/>
              <a:gd name="connsiteY81" fmla="*/ 59739 h 110081"/>
              <a:gd name="connsiteX82" fmla="*/ 230452 w 596656"/>
              <a:gd name="connsiteY82" fmla="*/ 68389 h 110081"/>
              <a:gd name="connsiteX83" fmla="*/ 216558 w 596656"/>
              <a:gd name="connsiteY83" fmla="*/ 71127 h 110081"/>
              <a:gd name="connsiteX84" fmla="*/ 199228 w 596656"/>
              <a:gd name="connsiteY84" fmla="*/ 67082 h 110081"/>
              <a:gd name="connsiteX85" fmla="*/ 186828 w 596656"/>
              <a:gd name="connsiteY85" fmla="*/ 55134 h 110081"/>
              <a:gd name="connsiteX86" fmla="*/ 182346 w 596656"/>
              <a:gd name="connsiteY86" fmla="*/ 35844 h 110081"/>
              <a:gd name="connsiteX87" fmla="*/ 218351 w 596656"/>
              <a:gd name="connsiteY87" fmla="*/ 12134 h 110081"/>
              <a:gd name="connsiteX88" fmla="*/ 207594 w 596656"/>
              <a:gd name="connsiteY88" fmla="*/ 14810 h 110081"/>
              <a:gd name="connsiteX89" fmla="*/ 199527 w 596656"/>
              <a:gd name="connsiteY89" fmla="*/ 22589 h 110081"/>
              <a:gd name="connsiteX90" fmla="*/ 196539 w 596656"/>
              <a:gd name="connsiteY90" fmla="*/ 35532 h 110081"/>
              <a:gd name="connsiteX91" fmla="*/ 199527 w 596656"/>
              <a:gd name="connsiteY91" fmla="*/ 48725 h 110081"/>
              <a:gd name="connsiteX92" fmla="*/ 207146 w 596656"/>
              <a:gd name="connsiteY92" fmla="*/ 56752 h 110081"/>
              <a:gd name="connsiteX93" fmla="*/ 216857 w 596656"/>
              <a:gd name="connsiteY93" fmla="*/ 59428 h 110081"/>
              <a:gd name="connsiteX94" fmla="*/ 233290 w 596656"/>
              <a:gd name="connsiteY94" fmla="*/ 53329 h 110081"/>
              <a:gd name="connsiteX95" fmla="*/ 240013 w 596656"/>
              <a:gd name="connsiteY95" fmla="*/ 35283 h 110081"/>
              <a:gd name="connsiteX96" fmla="*/ 234187 w 596656"/>
              <a:gd name="connsiteY96" fmla="*/ 18544 h 110081"/>
              <a:gd name="connsiteX97" fmla="*/ 218351 w 596656"/>
              <a:gd name="connsiteY97" fmla="*/ 12134 h 110081"/>
              <a:gd name="connsiteX98" fmla="*/ 272109 w 596656"/>
              <a:gd name="connsiteY98" fmla="*/ 1493 h 110081"/>
              <a:gd name="connsiteX99" fmla="*/ 337545 w 596656"/>
              <a:gd name="connsiteY99" fmla="*/ 1493 h 110081"/>
              <a:gd name="connsiteX100" fmla="*/ 337545 w 596656"/>
              <a:gd name="connsiteY100" fmla="*/ 14374 h 110081"/>
              <a:gd name="connsiteX101" fmla="*/ 286152 w 596656"/>
              <a:gd name="connsiteY101" fmla="*/ 14374 h 110081"/>
              <a:gd name="connsiteX102" fmla="*/ 286152 w 596656"/>
              <a:gd name="connsiteY102" fmla="*/ 49907 h 110081"/>
              <a:gd name="connsiteX103" fmla="*/ 329776 w 596656"/>
              <a:gd name="connsiteY103" fmla="*/ 49907 h 110081"/>
              <a:gd name="connsiteX104" fmla="*/ 329776 w 596656"/>
              <a:gd name="connsiteY104" fmla="*/ 62601 h 110081"/>
              <a:gd name="connsiteX105" fmla="*/ 286152 w 596656"/>
              <a:gd name="connsiteY105" fmla="*/ 62601 h 110081"/>
              <a:gd name="connsiteX106" fmla="*/ 286152 w 596656"/>
              <a:gd name="connsiteY106" fmla="*/ 108588 h 110081"/>
              <a:gd name="connsiteX107" fmla="*/ 272109 w 596656"/>
              <a:gd name="connsiteY107" fmla="*/ 108588 h 110081"/>
              <a:gd name="connsiteX108" fmla="*/ 272109 w 596656"/>
              <a:gd name="connsiteY108" fmla="*/ 1493 h 110081"/>
              <a:gd name="connsiteX109" fmla="*/ 357016 w 596656"/>
              <a:gd name="connsiteY109" fmla="*/ 1493 h 110081"/>
              <a:gd name="connsiteX110" fmla="*/ 422452 w 596656"/>
              <a:gd name="connsiteY110" fmla="*/ 1493 h 110081"/>
              <a:gd name="connsiteX111" fmla="*/ 422452 w 596656"/>
              <a:gd name="connsiteY111" fmla="*/ 14374 h 110081"/>
              <a:gd name="connsiteX112" fmla="*/ 371060 w 596656"/>
              <a:gd name="connsiteY112" fmla="*/ 14374 h 110081"/>
              <a:gd name="connsiteX113" fmla="*/ 371060 w 596656"/>
              <a:gd name="connsiteY113" fmla="*/ 49907 h 110081"/>
              <a:gd name="connsiteX114" fmla="*/ 414684 w 596656"/>
              <a:gd name="connsiteY114" fmla="*/ 49907 h 110081"/>
              <a:gd name="connsiteX115" fmla="*/ 414684 w 596656"/>
              <a:gd name="connsiteY115" fmla="*/ 62601 h 110081"/>
              <a:gd name="connsiteX116" fmla="*/ 371060 w 596656"/>
              <a:gd name="connsiteY116" fmla="*/ 62601 h 110081"/>
              <a:gd name="connsiteX117" fmla="*/ 371060 w 596656"/>
              <a:gd name="connsiteY117" fmla="*/ 108588 h 110081"/>
              <a:gd name="connsiteX118" fmla="*/ 357016 w 596656"/>
              <a:gd name="connsiteY118" fmla="*/ 108588 h 110081"/>
              <a:gd name="connsiteX119" fmla="*/ 357016 w 596656"/>
              <a:gd name="connsiteY119" fmla="*/ 1493 h 110081"/>
              <a:gd name="connsiteX120" fmla="*/ 441930 w 596656"/>
              <a:gd name="connsiteY120" fmla="*/ 1493 h 110081"/>
              <a:gd name="connsiteX121" fmla="*/ 508263 w 596656"/>
              <a:gd name="connsiteY121" fmla="*/ 1493 h 110081"/>
              <a:gd name="connsiteX122" fmla="*/ 508263 w 596656"/>
              <a:gd name="connsiteY122" fmla="*/ 14374 h 110081"/>
              <a:gd name="connsiteX123" fmla="*/ 455974 w 596656"/>
              <a:gd name="connsiteY123" fmla="*/ 14374 h 110081"/>
              <a:gd name="connsiteX124" fmla="*/ 455974 w 596656"/>
              <a:gd name="connsiteY124" fmla="*/ 46734 h 110081"/>
              <a:gd name="connsiteX125" fmla="*/ 500345 w 596656"/>
              <a:gd name="connsiteY125" fmla="*/ 46734 h 110081"/>
              <a:gd name="connsiteX126" fmla="*/ 500345 w 596656"/>
              <a:gd name="connsiteY126" fmla="*/ 59428 h 110081"/>
              <a:gd name="connsiteX127" fmla="*/ 455974 w 596656"/>
              <a:gd name="connsiteY127" fmla="*/ 59428 h 110081"/>
              <a:gd name="connsiteX128" fmla="*/ 455974 w 596656"/>
              <a:gd name="connsiteY128" fmla="*/ 95893 h 110081"/>
              <a:gd name="connsiteX129" fmla="*/ 509010 w 596656"/>
              <a:gd name="connsiteY129" fmla="*/ 95893 h 110081"/>
              <a:gd name="connsiteX130" fmla="*/ 509010 w 596656"/>
              <a:gd name="connsiteY130" fmla="*/ 108588 h 110081"/>
              <a:gd name="connsiteX131" fmla="*/ 441930 w 596656"/>
              <a:gd name="connsiteY131" fmla="*/ 108588 h 110081"/>
              <a:gd name="connsiteX132" fmla="*/ 441930 w 596656"/>
              <a:gd name="connsiteY132" fmla="*/ 1493 h 110081"/>
              <a:gd name="connsiteX133" fmla="*/ 596656 w 596656"/>
              <a:gd name="connsiteY133" fmla="*/ 73491 h 110081"/>
              <a:gd name="connsiteX134" fmla="*/ 591875 w 596656"/>
              <a:gd name="connsiteY134" fmla="*/ 92782 h 110081"/>
              <a:gd name="connsiteX135" fmla="*/ 579177 w 596656"/>
              <a:gd name="connsiteY135" fmla="*/ 105601 h 110081"/>
              <a:gd name="connsiteX136" fmla="*/ 561100 w 596656"/>
              <a:gd name="connsiteY136" fmla="*/ 110082 h 110081"/>
              <a:gd name="connsiteX137" fmla="*/ 539437 w 596656"/>
              <a:gd name="connsiteY137" fmla="*/ 104108 h 110081"/>
              <a:gd name="connsiteX138" fmla="*/ 527336 w 596656"/>
              <a:gd name="connsiteY138" fmla="*/ 87555 h 110081"/>
              <a:gd name="connsiteX139" fmla="*/ 523601 w 596656"/>
              <a:gd name="connsiteY139" fmla="*/ 63161 h 110081"/>
              <a:gd name="connsiteX140" fmla="*/ 528083 w 596656"/>
              <a:gd name="connsiteY140" fmla="*/ 30181 h 110081"/>
              <a:gd name="connsiteX141" fmla="*/ 542126 w 596656"/>
              <a:gd name="connsiteY141" fmla="*/ 8089 h 110081"/>
              <a:gd name="connsiteX142" fmla="*/ 566627 w 596656"/>
              <a:gd name="connsiteY142" fmla="*/ 0 h 110081"/>
              <a:gd name="connsiteX143" fmla="*/ 589186 w 596656"/>
              <a:gd name="connsiteY143" fmla="*/ 5538 h 110081"/>
              <a:gd name="connsiteX144" fmla="*/ 589186 w 596656"/>
              <a:gd name="connsiteY144" fmla="*/ 18855 h 110081"/>
              <a:gd name="connsiteX145" fmla="*/ 566627 w 596656"/>
              <a:gd name="connsiteY145" fmla="*/ 12259 h 110081"/>
              <a:gd name="connsiteX146" fmla="*/ 551090 w 596656"/>
              <a:gd name="connsiteY146" fmla="*/ 17361 h 110081"/>
              <a:gd name="connsiteX147" fmla="*/ 541230 w 596656"/>
              <a:gd name="connsiteY147" fmla="*/ 31238 h 110081"/>
              <a:gd name="connsiteX148" fmla="*/ 537047 w 596656"/>
              <a:gd name="connsiteY148" fmla="*/ 50778 h 110081"/>
              <a:gd name="connsiteX149" fmla="*/ 548401 w 596656"/>
              <a:gd name="connsiteY149" fmla="*/ 40759 h 110081"/>
              <a:gd name="connsiteX150" fmla="*/ 562444 w 596656"/>
              <a:gd name="connsiteY150" fmla="*/ 37523 h 110081"/>
              <a:gd name="connsiteX151" fmla="*/ 579774 w 596656"/>
              <a:gd name="connsiteY151" fmla="*/ 41693 h 110081"/>
              <a:gd name="connsiteX152" fmla="*/ 592025 w 596656"/>
              <a:gd name="connsiteY152" fmla="*/ 53952 h 110081"/>
              <a:gd name="connsiteX153" fmla="*/ 596656 w 596656"/>
              <a:gd name="connsiteY153" fmla="*/ 73491 h 110081"/>
              <a:gd name="connsiteX154" fmla="*/ 560651 w 596656"/>
              <a:gd name="connsiteY154" fmla="*/ 98134 h 110081"/>
              <a:gd name="connsiteX155" fmla="*/ 571408 w 596656"/>
              <a:gd name="connsiteY155" fmla="*/ 95458 h 110081"/>
              <a:gd name="connsiteX156" fmla="*/ 579326 w 596656"/>
              <a:gd name="connsiteY156" fmla="*/ 87244 h 110081"/>
              <a:gd name="connsiteX157" fmla="*/ 582463 w 596656"/>
              <a:gd name="connsiteY157" fmla="*/ 73803 h 110081"/>
              <a:gd name="connsiteX158" fmla="*/ 579475 w 596656"/>
              <a:gd name="connsiteY158" fmla="*/ 60174 h 110081"/>
              <a:gd name="connsiteX159" fmla="*/ 571856 w 596656"/>
              <a:gd name="connsiteY159" fmla="*/ 51961 h 110081"/>
              <a:gd name="connsiteX160" fmla="*/ 562145 w 596656"/>
              <a:gd name="connsiteY160" fmla="*/ 49160 h 110081"/>
              <a:gd name="connsiteX161" fmla="*/ 545562 w 596656"/>
              <a:gd name="connsiteY161" fmla="*/ 55570 h 110081"/>
              <a:gd name="connsiteX162" fmla="*/ 538989 w 596656"/>
              <a:gd name="connsiteY162" fmla="*/ 74114 h 110081"/>
              <a:gd name="connsiteX163" fmla="*/ 544815 w 596656"/>
              <a:gd name="connsiteY163" fmla="*/ 91538 h 110081"/>
              <a:gd name="connsiteX164" fmla="*/ 560651 w 596656"/>
              <a:gd name="connsiteY164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59665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3264" y="73491"/>
                </a:moveTo>
                <a:cubicBezTo>
                  <a:pt x="173264" y="80772"/>
                  <a:pt x="171670" y="87182"/>
                  <a:pt x="168483" y="92782"/>
                </a:cubicBezTo>
                <a:cubicBezTo>
                  <a:pt x="165396" y="98258"/>
                  <a:pt x="161163" y="102490"/>
                  <a:pt x="155784" y="105601"/>
                </a:cubicBezTo>
                <a:cubicBezTo>
                  <a:pt x="150406" y="108588"/>
                  <a:pt x="144380" y="110082"/>
                  <a:pt x="137707" y="110082"/>
                </a:cubicBezTo>
                <a:cubicBezTo>
                  <a:pt x="128743" y="110082"/>
                  <a:pt x="121522" y="108091"/>
                  <a:pt x="116044" y="104108"/>
                </a:cubicBezTo>
                <a:cubicBezTo>
                  <a:pt x="110567" y="100125"/>
                  <a:pt x="106533" y="94587"/>
                  <a:pt x="103943" y="87555"/>
                </a:cubicBezTo>
                <a:cubicBezTo>
                  <a:pt x="101453" y="80461"/>
                  <a:pt x="100208" y="72372"/>
                  <a:pt x="100208" y="63161"/>
                </a:cubicBezTo>
                <a:cubicBezTo>
                  <a:pt x="100208" y="50653"/>
                  <a:pt x="101702" y="39639"/>
                  <a:pt x="104690" y="30181"/>
                </a:cubicBezTo>
                <a:cubicBezTo>
                  <a:pt x="107778" y="20722"/>
                  <a:pt x="112459" y="13379"/>
                  <a:pt x="118734" y="8089"/>
                </a:cubicBezTo>
                <a:cubicBezTo>
                  <a:pt x="125108" y="2675"/>
                  <a:pt x="133275" y="0"/>
                  <a:pt x="143235" y="0"/>
                </a:cubicBezTo>
                <a:cubicBezTo>
                  <a:pt x="151800" y="0"/>
                  <a:pt x="159320" y="1866"/>
                  <a:pt x="165794" y="5538"/>
                </a:cubicBezTo>
                <a:lnTo>
                  <a:pt x="165794" y="18855"/>
                </a:lnTo>
                <a:cubicBezTo>
                  <a:pt x="159320" y="14437"/>
                  <a:pt x="151800" y="12259"/>
                  <a:pt x="143235" y="12259"/>
                </a:cubicBezTo>
                <a:cubicBezTo>
                  <a:pt x="137060" y="12259"/>
                  <a:pt x="131881" y="13939"/>
                  <a:pt x="127698" y="17361"/>
                </a:cubicBezTo>
                <a:cubicBezTo>
                  <a:pt x="123514" y="20722"/>
                  <a:pt x="120228" y="25327"/>
                  <a:pt x="117837" y="31238"/>
                </a:cubicBezTo>
                <a:cubicBezTo>
                  <a:pt x="115546" y="37026"/>
                  <a:pt x="114152" y="43498"/>
                  <a:pt x="113654" y="50778"/>
                </a:cubicBezTo>
                <a:cubicBezTo>
                  <a:pt x="116941" y="46298"/>
                  <a:pt x="120726" y="42999"/>
                  <a:pt x="125008" y="40759"/>
                </a:cubicBezTo>
                <a:cubicBezTo>
                  <a:pt x="129291" y="38581"/>
                  <a:pt x="133972" y="37523"/>
                  <a:pt x="139052" y="37523"/>
                </a:cubicBezTo>
                <a:cubicBezTo>
                  <a:pt x="145526" y="37523"/>
                  <a:pt x="151302" y="38893"/>
                  <a:pt x="156382" y="41693"/>
                </a:cubicBezTo>
                <a:cubicBezTo>
                  <a:pt x="161561" y="44493"/>
                  <a:pt x="165645" y="48538"/>
                  <a:pt x="168632" y="53952"/>
                </a:cubicBezTo>
                <a:cubicBezTo>
                  <a:pt x="171720" y="59179"/>
                  <a:pt x="173264" y="65713"/>
                  <a:pt x="173264" y="73491"/>
                </a:cubicBezTo>
                <a:close/>
                <a:moveTo>
                  <a:pt x="137259" y="98134"/>
                </a:moveTo>
                <a:cubicBezTo>
                  <a:pt x="141143" y="98134"/>
                  <a:pt x="144729" y="97263"/>
                  <a:pt x="148016" y="95458"/>
                </a:cubicBezTo>
                <a:cubicBezTo>
                  <a:pt x="151302" y="93529"/>
                  <a:pt x="153942" y="90791"/>
                  <a:pt x="155934" y="87244"/>
                </a:cubicBezTo>
                <a:cubicBezTo>
                  <a:pt x="158025" y="83635"/>
                  <a:pt x="159071" y="79154"/>
                  <a:pt x="159071" y="73803"/>
                </a:cubicBezTo>
                <a:cubicBezTo>
                  <a:pt x="159071" y="68389"/>
                  <a:pt x="158075" y="63908"/>
                  <a:pt x="156083" y="60174"/>
                </a:cubicBezTo>
                <a:cubicBezTo>
                  <a:pt x="154091" y="56503"/>
                  <a:pt x="151551" y="53765"/>
                  <a:pt x="148464" y="51961"/>
                </a:cubicBezTo>
                <a:cubicBezTo>
                  <a:pt x="145376" y="50093"/>
                  <a:pt x="142139" y="49160"/>
                  <a:pt x="138753" y="49160"/>
                </a:cubicBezTo>
                <a:cubicBezTo>
                  <a:pt x="132179" y="49160"/>
                  <a:pt x="126652" y="51276"/>
                  <a:pt x="122170" y="55570"/>
                </a:cubicBezTo>
                <a:cubicBezTo>
                  <a:pt x="117787" y="59739"/>
                  <a:pt x="115596" y="65900"/>
                  <a:pt x="115596" y="74114"/>
                </a:cubicBezTo>
                <a:cubicBezTo>
                  <a:pt x="115596" y="81270"/>
                  <a:pt x="117538" y="87058"/>
                  <a:pt x="121423" y="91538"/>
                </a:cubicBezTo>
                <a:cubicBezTo>
                  <a:pt x="125307" y="95956"/>
                  <a:pt x="130586" y="98134"/>
                  <a:pt x="137259" y="98134"/>
                </a:cubicBezTo>
                <a:close/>
                <a:moveTo>
                  <a:pt x="182346" y="35844"/>
                </a:moveTo>
                <a:cubicBezTo>
                  <a:pt x="182346" y="28687"/>
                  <a:pt x="183890" y="22402"/>
                  <a:pt x="186977" y="17051"/>
                </a:cubicBezTo>
                <a:cubicBezTo>
                  <a:pt x="190164" y="11637"/>
                  <a:pt x="194447" y="7467"/>
                  <a:pt x="199825" y="4480"/>
                </a:cubicBezTo>
                <a:cubicBezTo>
                  <a:pt x="205204" y="1493"/>
                  <a:pt x="211229" y="0"/>
                  <a:pt x="217902" y="0"/>
                </a:cubicBezTo>
                <a:cubicBezTo>
                  <a:pt x="226866" y="0"/>
                  <a:pt x="234087" y="1929"/>
                  <a:pt x="239565" y="5849"/>
                </a:cubicBezTo>
                <a:cubicBezTo>
                  <a:pt x="245143" y="9645"/>
                  <a:pt x="249176" y="14934"/>
                  <a:pt x="251666" y="21842"/>
                </a:cubicBezTo>
                <a:cubicBezTo>
                  <a:pt x="254156" y="28563"/>
                  <a:pt x="255401" y="36466"/>
                  <a:pt x="255401" y="45426"/>
                </a:cubicBezTo>
                <a:cubicBezTo>
                  <a:pt x="255401" y="58868"/>
                  <a:pt x="253857" y="70380"/>
                  <a:pt x="250770" y="80088"/>
                </a:cubicBezTo>
                <a:cubicBezTo>
                  <a:pt x="247682" y="89733"/>
                  <a:pt x="242902" y="97138"/>
                  <a:pt x="236428" y="102303"/>
                </a:cubicBezTo>
                <a:cubicBezTo>
                  <a:pt x="230053" y="107468"/>
                  <a:pt x="221886" y="110082"/>
                  <a:pt x="211927" y="110082"/>
                </a:cubicBezTo>
                <a:cubicBezTo>
                  <a:pt x="202963" y="110082"/>
                  <a:pt x="195294" y="108215"/>
                  <a:pt x="188919" y="104543"/>
                </a:cubicBezTo>
                <a:lnTo>
                  <a:pt x="188919" y="91413"/>
                </a:lnTo>
                <a:cubicBezTo>
                  <a:pt x="195692" y="95769"/>
                  <a:pt x="203361" y="98010"/>
                  <a:pt x="211927" y="98010"/>
                </a:cubicBezTo>
                <a:cubicBezTo>
                  <a:pt x="218102" y="98010"/>
                  <a:pt x="223281" y="96267"/>
                  <a:pt x="227464" y="92907"/>
                </a:cubicBezTo>
                <a:cubicBezTo>
                  <a:pt x="231647" y="89546"/>
                  <a:pt x="234884" y="84941"/>
                  <a:pt x="237175" y="79154"/>
                </a:cubicBezTo>
                <a:cubicBezTo>
                  <a:pt x="239565" y="73367"/>
                  <a:pt x="241009" y="66896"/>
                  <a:pt x="241507" y="59739"/>
                </a:cubicBezTo>
                <a:cubicBezTo>
                  <a:pt x="238420" y="63660"/>
                  <a:pt x="234735" y="66522"/>
                  <a:pt x="230452" y="68389"/>
                </a:cubicBezTo>
                <a:cubicBezTo>
                  <a:pt x="226169" y="70193"/>
                  <a:pt x="221538" y="71127"/>
                  <a:pt x="216558" y="71127"/>
                </a:cubicBezTo>
                <a:cubicBezTo>
                  <a:pt x="210184" y="71127"/>
                  <a:pt x="204407" y="69758"/>
                  <a:pt x="199228" y="67082"/>
                </a:cubicBezTo>
                <a:cubicBezTo>
                  <a:pt x="194049" y="64406"/>
                  <a:pt x="189915" y="60424"/>
                  <a:pt x="186828" y="55134"/>
                </a:cubicBezTo>
                <a:cubicBezTo>
                  <a:pt x="183840" y="49845"/>
                  <a:pt x="182346" y="43435"/>
                  <a:pt x="182346" y="35844"/>
                </a:cubicBezTo>
                <a:close/>
                <a:moveTo>
                  <a:pt x="218351" y="12134"/>
                </a:moveTo>
                <a:cubicBezTo>
                  <a:pt x="214566" y="12134"/>
                  <a:pt x="210980" y="13006"/>
                  <a:pt x="207594" y="14810"/>
                </a:cubicBezTo>
                <a:cubicBezTo>
                  <a:pt x="204307" y="16490"/>
                  <a:pt x="201618" y="19104"/>
                  <a:pt x="199527" y="22589"/>
                </a:cubicBezTo>
                <a:cubicBezTo>
                  <a:pt x="197535" y="25949"/>
                  <a:pt x="196539" y="30305"/>
                  <a:pt x="196539" y="35532"/>
                </a:cubicBezTo>
                <a:cubicBezTo>
                  <a:pt x="196539" y="40759"/>
                  <a:pt x="197535" y="45116"/>
                  <a:pt x="199527" y="48725"/>
                </a:cubicBezTo>
                <a:cubicBezTo>
                  <a:pt x="201519" y="52271"/>
                  <a:pt x="204058" y="54947"/>
                  <a:pt x="207146" y="56752"/>
                </a:cubicBezTo>
                <a:cubicBezTo>
                  <a:pt x="210233" y="58556"/>
                  <a:pt x="213470" y="59428"/>
                  <a:pt x="216857" y="59428"/>
                </a:cubicBezTo>
                <a:cubicBezTo>
                  <a:pt x="223430" y="59428"/>
                  <a:pt x="228908" y="57437"/>
                  <a:pt x="233290" y="53329"/>
                </a:cubicBezTo>
                <a:cubicBezTo>
                  <a:pt x="237772" y="49160"/>
                  <a:pt x="240013" y="43124"/>
                  <a:pt x="240013" y="35283"/>
                </a:cubicBezTo>
                <a:cubicBezTo>
                  <a:pt x="240013" y="28313"/>
                  <a:pt x="238071" y="22713"/>
                  <a:pt x="234187" y="18544"/>
                </a:cubicBezTo>
                <a:cubicBezTo>
                  <a:pt x="230302" y="14250"/>
                  <a:pt x="225024" y="12134"/>
                  <a:pt x="218351" y="12134"/>
                </a:cubicBez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508263" y="1493"/>
                </a:lnTo>
                <a:lnTo>
                  <a:pt x="508263" y="14374"/>
                </a:lnTo>
                <a:lnTo>
                  <a:pt x="455974" y="14374"/>
                </a:lnTo>
                <a:lnTo>
                  <a:pt x="455974" y="46734"/>
                </a:lnTo>
                <a:lnTo>
                  <a:pt x="500345" y="46734"/>
                </a:lnTo>
                <a:lnTo>
                  <a:pt x="500345" y="59428"/>
                </a:lnTo>
                <a:lnTo>
                  <a:pt x="455974" y="59428"/>
                </a:lnTo>
                <a:lnTo>
                  <a:pt x="455974" y="95893"/>
                </a:lnTo>
                <a:lnTo>
                  <a:pt x="509010" y="95893"/>
                </a:lnTo>
                <a:lnTo>
                  <a:pt x="509010" y="108588"/>
                </a:ln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596656" y="73491"/>
                </a:moveTo>
                <a:cubicBezTo>
                  <a:pt x="596656" y="80772"/>
                  <a:pt x="595063" y="87182"/>
                  <a:pt x="591875" y="92782"/>
                </a:cubicBezTo>
                <a:cubicBezTo>
                  <a:pt x="588788" y="98258"/>
                  <a:pt x="584555" y="102490"/>
                  <a:pt x="579177" y="105601"/>
                </a:cubicBezTo>
                <a:cubicBezTo>
                  <a:pt x="573798" y="108588"/>
                  <a:pt x="567773" y="110082"/>
                  <a:pt x="561100" y="110082"/>
                </a:cubicBezTo>
                <a:cubicBezTo>
                  <a:pt x="552136" y="110082"/>
                  <a:pt x="544915" y="108091"/>
                  <a:pt x="539437" y="104108"/>
                </a:cubicBezTo>
                <a:cubicBezTo>
                  <a:pt x="533959" y="100125"/>
                  <a:pt x="529925" y="94587"/>
                  <a:pt x="527336" y="87555"/>
                </a:cubicBezTo>
                <a:cubicBezTo>
                  <a:pt x="524846" y="80461"/>
                  <a:pt x="523601" y="72372"/>
                  <a:pt x="523601" y="63161"/>
                </a:cubicBezTo>
                <a:cubicBezTo>
                  <a:pt x="523601" y="50653"/>
                  <a:pt x="525095" y="39639"/>
                  <a:pt x="528083" y="30181"/>
                </a:cubicBezTo>
                <a:cubicBezTo>
                  <a:pt x="531170" y="20722"/>
                  <a:pt x="535851" y="13379"/>
                  <a:pt x="542126" y="8089"/>
                </a:cubicBezTo>
                <a:cubicBezTo>
                  <a:pt x="548500" y="2675"/>
                  <a:pt x="556667" y="0"/>
                  <a:pt x="566627" y="0"/>
                </a:cubicBezTo>
                <a:cubicBezTo>
                  <a:pt x="575193" y="0"/>
                  <a:pt x="582713" y="1866"/>
                  <a:pt x="589186" y="5538"/>
                </a:cubicBezTo>
                <a:lnTo>
                  <a:pt x="589186" y="18855"/>
                </a:lnTo>
                <a:cubicBezTo>
                  <a:pt x="582713" y="14437"/>
                  <a:pt x="575193" y="12259"/>
                  <a:pt x="566627" y="12259"/>
                </a:cubicBezTo>
                <a:cubicBezTo>
                  <a:pt x="560452" y="12259"/>
                  <a:pt x="555273" y="13939"/>
                  <a:pt x="551090" y="17361"/>
                </a:cubicBezTo>
                <a:cubicBezTo>
                  <a:pt x="546907" y="20722"/>
                  <a:pt x="543620" y="25327"/>
                  <a:pt x="541230" y="31238"/>
                </a:cubicBezTo>
                <a:cubicBezTo>
                  <a:pt x="538939" y="37026"/>
                  <a:pt x="537545" y="43498"/>
                  <a:pt x="537047" y="50778"/>
                </a:cubicBezTo>
                <a:cubicBezTo>
                  <a:pt x="540333" y="46298"/>
                  <a:pt x="544118" y="42999"/>
                  <a:pt x="548401" y="40759"/>
                </a:cubicBezTo>
                <a:cubicBezTo>
                  <a:pt x="552684" y="38581"/>
                  <a:pt x="557365" y="37523"/>
                  <a:pt x="562444" y="37523"/>
                </a:cubicBezTo>
                <a:cubicBezTo>
                  <a:pt x="568918" y="37523"/>
                  <a:pt x="574695" y="38893"/>
                  <a:pt x="579774" y="41693"/>
                </a:cubicBezTo>
                <a:cubicBezTo>
                  <a:pt x="584953" y="44493"/>
                  <a:pt x="589037" y="48538"/>
                  <a:pt x="592025" y="53952"/>
                </a:cubicBezTo>
                <a:cubicBezTo>
                  <a:pt x="595112" y="59179"/>
                  <a:pt x="596656" y="65713"/>
                  <a:pt x="596656" y="73491"/>
                </a:cubicBezTo>
                <a:close/>
                <a:moveTo>
                  <a:pt x="560651" y="98134"/>
                </a:moveTo>
                <a:cubicBezTo>
                  <a:pt x="564536" y="98134"/>
                  <a:pt x="568121" y="97263"/>
                  <a:pt x="571408" y="95458"/>
                </a:cubicBezTo>
                <a:cubicBezTo>
                  <a:pt x="574695" y="93529"/>
                  <a:pt x="577334" y="90791"/>
                  <a:pt x="579326" y="87244"/>
                </a:cubicBezTo>
                <a:cubicBezTo>
                  <a:pt x="581418" y="83635"/>
                  <a:pt x="582463" y="79154"/>
                  <a:pt x="582463" y="73803"/>
                </a:cubicBezTo>
                <a:cubicBezTo>
                  <a:pt x="582463" y="68389"/>
                  <a:pt x="581467" y="63908"/>
                  <a:pt x="579475" y="60174"/>
                </a:cubicBezTo>
                <a:cubicBezTo>
                  <a:pt x="577483" y="56503"/>
                  <a:pt x="574944" y="53765"/>
                  <a:pt x="571856" y="51961"/>
                </a:cubicBezTo>
                <a:cubicBezTo>
                  <a:pt x="568769" y="50093"/>
                  <a:pt x="565532" y="49160"/>
                  <a:pt x="562145" y="49160"/>
                </a:cubicBezTo>
                <a:cubicBezTo>
                  <a:pt x="555572" y="49160"/>
                  <a:pt x="550044" y="51276"/>
                  <a:pt x="545562" y="55570"/>
                </a:cubicBezTo>
                <a:cubicBezTo>
                  <a:pt x="541180" y="59739"/>
                  <a:pt x="538989" y="65900"/>
                  <a:pt x="538989" y="74114"/>
                </a:cubicBezTo>
                <a:cubicBezTo>
                  <a:pt x="538989" y="81270"/>
                  <a:pt x="540931" y="87058"/>
                  <a:pt x="544815" y="91538"/>
                </a:cubicBezTo>
                <a:cubicBezTo>
                  <a:pt x="548700" y="95956"/>
                  <a:pt x="553978" y="98134"/>
                  <a:pt x="560651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5" name="Полилиния 994">
            <a:extLst>
              <a:ext uri="{FF2B5EF4-FFF2-40B4-BE49-F238E27FC236}">
                <a16:creationId xmlns:a16="http://schemas.microsoft.com/office/drawing/2014/main" id="{79CE05F2-3605-DD58-E938-E3790A091646}"/>
              </a:ext>
            </a:extLst>
          </p:cNvPr>
          <p:cNvSpPr/>
          <p:nvPr userDrawn="1"/>
        </p:nvSpPr>
        <p:spPr>
          <a:xfrm>
            <a:off x="13814863" y="8871205"/>
            <a:ext cx="1398954" cy="726227"/>
          </a:xfrm>
          <a:custGeom>
            <a:avLst/>
            <a:gdLst>
              <a:gd name="connsiteX0" fmla="*/ 213 w 1198727"/>
              <a:gd name="connsiteY0" fmla="*/ 1722 h 622284"/>
              <a:gd name="connsiteX1" fmla="*/ 1198941 w 1198727"/>
              <a:gd name="connsiteY1" fmla="*/ 1722 h 622284"/>
              <a:gd name="connsiteX2" fmla="*/ 1198941 w 1198727"/>
              <a:gd name="connsiteY2" fmla="*/ 624006 h 622284"/>
              <a:gd name="connsiteX3" fmla="*/ 213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722"/>
                </a:moveTo>
                <a:lnTo>
                  <a:pt x="1198941" y="1722"/>
                </a:lnTo>
                <a:lnTo>
                  <a:pt x="1198941" y="624006"/>
                </a:lnTo>
                <a:lnTo>
                  <a:pt x="213" y="624006"/>
                </a:lnTo>
                <a:close/>
              </a:path>
            </a:pathLst>
          </a:custGeom>
          <a:solidFill>
            <a:srgbClr val="96FFE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6" name="Полилиния 995">
            <a:extLst>
              <a:ext uri="{FF2B5EF4-FFF2-40B4-BE49-F238E27FC236}">
                <a16:creationId xmlns:a16="http://schemas.microsoft.com/office/drawing/2014/main" id="{231D771B-3ECD-D987-676E-7DCEFC45CFDD}"/>
              </a:ext>
            </a:extLst>
          </p:cNvPr>
          <p:cNvSpPr/>
          <p:nvPr userDrawn="1"/>
        </p:nvSpPr>
        <p:spPr>
          <a:xfrm>
            <a:off x="13938073" y="9172951"/>
            <a:ext cx="708870" cy="128468"/>
          </a:xfrm>
          <a:custGeom>
            <a:avLst/>
            <a:gdLst>
              <a:gd name="connsiteX0" fmla="*/ 22111 w 607412"/>
              <a:gd name="connsiteY0" fmla="*/ 108588 h 110081"/>
              <a:gd name="connsiteX1" fmla="*/ 10159 w 607412"/>
              <a:gd name="connsiteY1" fmla="*/ 108588 h 110081"/>
              <a:gd name="connsiteX2" fmla="*/ 16434 w 607412"/>
              <a:gd name="connsiteY2" fmla="*/ 77661 h 110081"/>
              <a:gd name="connsiteX3" fmla="*/ 0 w 607412"/>
              <a:gd name="connsiteY3" fmla="*/ 77661 h 110081"/>
              <a:gd name="connsiteX4" fmla="*/ 0 w 607412"/>
              <a:gd name="connsiteY4" fmla="*/ 67206 h 110081"/>
              <a:gd name="connsiteX5" fmla="*/ 18675 w 607412"/>
              <a:gd name="connsiteY5" fmla="*/ 67206 h 110081"/>
              <a:gd name="connsiteX6" fmla="*/ 24202 w 607412"/>
              <a:gd name="connsiteY6" fmla="*/ 40012 h 110081"/>
              <a:gd name="connsiteX7" fmla="*/ 4034 w 607412"/>
              <a:gd name="connsiteY7" fmla="*/ 40012 h 110081"/>
              <a:gd name="connsiteX8" fmla="*/ 4034 w 607412"/>
              <a:gd name="connsiteY8" fmla="*/ 29559 h 110081"/>
              <a:gd name="connsiteX9" fmla="*/ 26294 w 607412"/>
              <a:gd name="connsiteY9" fmla="*/ 29559 h 110081"/>
              <a:gd name="connsiteX10" fmla="*/ 32120 w 607412"/>
              <a:gd name="connsiteY10" fmla="*/ 1493 h 110081"/>
              <a:gd name="connsiteX11" fmla="*/ 44072 w 607412"/>
              <a:gd name="connsiteY11" fmla="*/ 1493 h 110081"/>
              <a:gd name="connsiteX12" fmla="*/ 38246 w 607412"/>
              <a:gd name="connsiteY12" fmla="*/ 29559 h 110081"/>
              <a:gd name="connsiteX13" fmla="*/ 60655 w 607412"/>
              <a:gd name="connsiteY13" fmla="*/ 29559 h 110081"/>
              <a:gd name="connsiteX14" fmla="*/ 66482 w 607412"/>
              <a:gd name="connsiteY14" fmla="*/ 1493 h 110081"/>
              <a:gd name="connsiteX15" fmla="*/ 78434 w 607412"/>
              <a:gd name="connsiteY15" fmla="*/ 1493 h 110081"/>
              <a:gd name="connsiteX16" fmla="*/ 72607 w 607412"/>
              <a:gd name="connsiteY16" fmla="*/ 29559 h 110081"/>
              <a:gd name="connsiteX17" fmla="*/ 89340 w 607412"/>
              <a:gd name="connsiteY17" fmla="*/ 29559 h 110081"/>
              <a:gd name="connsiteX18" fmla="*/ 89340 w 607412"/>
              <a:gd name="connsiteY18" fmla="*/ 40012 h 110081"/>
              <a:gd name="connsiteX19" fmla="*/ 70516 w 607412"/>
              <a:gd name="connsiteY19" fmla="*/ 40012 h 110081"/>
              <a:gd name="connsiteX20" fmla="*/ 64988 w 607412"/>
              <a:gd name="connsiteY20" fmla="*/ 67206 h 110081"/>
              <a:gd name="connsiteX21" fmla="*/ 85306 w 607412"/>
              <a:gd name="connsiteY21" fmla="*/ 67206 h 110081"/>
              <a:gd name="connsiteX22" fmla="*/ 85306 w 607412"/>
              <a:gd name="connsiteY22" fmla="*/ 77661 h 110081"/>
              <a:gd name="connsiteX23" fmla="*/ 62747 w 607412"/>
              <a:gd name="connsiteY23" fmla="*/ 77661 h 110081"/>
              <a:gd name="connsiteX24" fmla="*/ 56472 w 607412"/>
              <a:gd name="connsiteY24" fmla="*/ 108588 h 110081"/>
              <a:gd name="connsiteX25" fmla="*/ 44520 w 607412"/>
              <a:gd name="connsiteY25" fmla="*/ 108588 h 110081"/>
              <a:gd name="connsiteX26" fmla="*/ 50795 w 607412"/>
              <a:gd name="connsiteY26" fmla="*/ 77661 h 110081"/>
              <a:gd name="connsiteX27" fmla="*/ 28386 w 607412"/>
              <a:gd name="connsiteY27" fmla="*/ 77661 h 110081"/>
              <a:gd name="connsiteX28" fmla="*/ 22111 w 607412"/>
              <a:gd name="connsiteY28" fmla="*/ 108588 h 110081"/>
              <a:gd name="connsiteX29" fmla="*/ 30626 w 607412"/>
              <a:gd name="connsiteY29" fmla="*/ 67206 h 110081"/>
              <a:gd name="connsiteX30" fmla="*/ 53036 w 607412"/>
              <a:gd name="connsiteY30" fmla="*/ 67206 h 110081"/>
              <a:gd name="connsiteX31" fmla="*/ 58564 w 607412"/>
              <a:gd name="connsiteY31" fmla="*/ 40012 h 110081"/>
              <a:gd name="connsiteX32" fmla="*/ 36154 w 607412"/>
              <a:gd name="connsiteY32" fmla="*/ 40012 h 110081"/>
              <a:gd name="connsiteX33" fmla="*/ 30626 w 607412"/>
              <a:gd name="connsiteY33" fmla="*/ 67206 h 110081"/>
              <a:gd name="connsiteX34" fmla="*/ 100208 w 607412"/>
              <a:gd name="connsiteY34" fmla="*/ 35844 h 110081"/>
              <a:gd name="connsiteX35" fmla="*/ 104840 w 607412"/>
              <a:gd name="connsiteY35" fmla="*/ 17051 h 110081"/>
              <a:gd name="connsiteX36" fmla="*/ 117688 w 607412"/>
              <a:gd name="connsiteY36" fmla="*/ 4480 h 110081"/>
              <a:gd name="connsiteX37" fmla="*/ 135765 w 607412"/>
              <a:gd name="connsiteY37" fmla="*/ 0 h 110081"/>
              <a:gd name="connsiteX38" fmla="*/ 157428 w 607412"/>
              <a:gd name="connsiteY38" fmla="*/ 5849 h 110081"/>
              <a:gd name="connsiteX39" fmla="*/ 169529 w 607412"/>
              <a:gd name="connsiteY39" fmla="*/ 21842 h 110081"/>
              <a:gd name="connsiteX40" fmla="*/ 173264 w 607412"/>
              <a:gd name="connsiteY40" fmla="*/ 45426 h 110081"/>
              <a:gd name="connsiteX41" fmla="*/ 168632 w 607412"/>
              <a:gd name="connsiteY41" fmla="*/ 80088 h 110081"/>
              <a:gd name="connsiteX42" fmla="*/ 154290 w 607412"/>
              <a:gd name="connsiteY42" fmla="*/ 102303 h 110081"/>
              <a:gd name="connsiteX43" fmla="*/ 129789 w 607412"/>
              <a:gd name="connsiteY43" fmla="*/ 110082 h 110081"/>
              <a:gd name="connsiteX44" fmla="*/ 106782 w 607412"/>
              <a:gd name="connsiteY44" fmla="*/ 104543 h 110081"/>
              <a:gd name="connsiteX45" fmla="*/ 106782 w 607412"/>
              <a:gd name="connsiteY45" fmla="*/ 91413 h 110081"/>
              <a:gd name="connsiteX46" fmla="*/ 129789 w 607412"/>
              <a:gd name="connsiteY46" fmla="*/ 98010 h 110081"/>
              <a:gd name="connsiteX47" fmla="*/ 145326 w 607412"/>
              <a:gd name="connsiteY47" fmla="*/ 92907 h 110081"/>
              <a:gd name="connsiteX48" fmla="*/ 155037 w 607412"/>
              <a:gd name="connsiteY48" fmla="*/ 79154 h 110081"/>
              <a:gd name="connsiteX49" fmla="*/ 159370 w 607412"/>
              <a:gd name="connsiteY49" fmla="*/ 59739 h 110081"/>
              <a:gd name="connsiteX50" fmla="*/ 148314 w 607412"/>
              <a:gd name="connsiteY50" fmla="*/ 68389 h 110081"/>
              <a:gd name="connsiteX51" fmla="*/ 134420 w 607412"/>
              <a:gd name="connsiteY51" fmla="*/ 71127 h 110081"/>
              <a:gd name="connsiteX52" fmla="*/ 117090 w 607412"/>
              <a:gd name="connsiteY52" fmla="*/ 67082 h 110081"/>
              <a:gd name="connsiteX53" fmla="*/ 104690 w 607412"/>
              <a:gd name="connsiteY53" fmla="*/ 55134 h 110081"/>
              <a:gd name="connsiteX54" fmla="*/ 100208 w 607412"/>
              <a:gd name="connsiteY54" fmla="*/ 35844 h 110081"/>
              <a:gd name="connsiteX55" fmla="*/ 136213 w 607412"/>
              <a:gd name="connsiteY55" fmla="*/ 12134 h 110081"/>
              <a:gd name="connsiteX56" fmla="*/ 125457 w 607412"/>
              <a:gd name="connsiteY56" fmla="*/ 14810 h 110081"/>
              <a:gd name="connsiteX57" fmla="*/ 117389 w 607412"/>
              <a:gd name="connsiteY57" fmla="*/ 22589 h 110081"/>
              <a:gd name="connsiteX58" fmla="*/ 114401 w 607412"/>
              <a:gd name="connsiteY58" fmla="*/ 35532 h 110081"/>
              <a:gd name="connsiteX59" fmla="*/ 117389 w 607412"/>
              <a:gd name="connsiteY59" fmla="*/ 48725 h 110081"/>
              <a:gd name="connsiteX60" fmla="*/ 125008 w 607412"/>
              <a:gd name="connsiteY60" fmla="*/ 56752 h 110081"/>
              <a:gd name="connsiteX61" fmla="*/ 134719 w 607412"/>
              <a:gd name="connsiteY61" fmla="*/ 59428 h 110081"/>
              <a:gd name="connsiteX62" fmla="*/ 151153 w 607412"/>
              <a:gd name="connsiteY62" fmla="*/ 53329 h 110081"/>
              <a:gd name="connsiteX63" fmla="*/ 157876 w 607412"/>
              <a:gd name="connsiteY63" fmla="*/ 35283 h 110081"/>
              <a:gd name="connsiteX64" fmla="*/ 152049 w 607412"/>
              <a:gd name="connsiteY64" fmla="*/ 18544 h 110081"/>
              <a:gd name="connsiteX65" fmla="*/ 136213 w 607412"/>
              <a:gd name="connsiteY65" fmla="*/ 12134 h 110081"/>
              <a:gd name="connsiteX66" fmla="*/ 255401 w 607412"/>
              <a:gd name="connsiteY66" fmla="*/ 73491 h 110081"/>
              <a:gd name="connsiteX67" fmla="*/ 250620 w 607412"/>
              <a:gd name="connsiteY67" fmla="*/ 92782 h 110081"/>
              <a:gd name="connsiteX68" fmla="*/ 237922 w 607412"/>
              <a:gd name="connsiteY68" fmla="*/ 105601 h 110081"/>
              <a:gd name="connsiteX69" fmla="*/ 219845 w 607412"/>
              <a:gd name="connsiteY69" fmla="*/ 110082 h 110081"/>
              <a:gd name="connsiteX70" fmla="*/ 198182 w 607412"/>
              <a:gd name="connsiteY70" fmla="*/ 104108 h 110081"/>
              <a:gd name="connsiteX71" fmla="*/ 186081 w 607412"/>
              <a:gd name="connsiteY71" fmla="*/ 87555 h 110081"/>
              <a:gd name="connsiteX72" fmla="*/ 182346 w 607412"/>
              <a:gd name="connsiteY72" fmla="*/ 63161 h 110081"/>
              <a:gd name="connsiteX73" fmla="*/ 186828 w 607412"/>
              <a:gd name="connsiteY73" fmla="*/ 30181 h 110081"/>
              <a:gd name="connsiteX74" fmla="*/ 200871 w 607412"/>
              <a:gd name="connsiteY74" fmla="*/ 8089 h 110081"/>
              <a:gd name="connsiteX75" fmla="*/ 225372 w 607412"/>
              <a:gd name="connsiteY75" fmla="*/ 0 h 110081"/>
              <a:gd name="connsiteX76" fmla="*/ 247931 w 607412"/>
              <a:gd name="connsiteY76" fmla="*/ 5538 h 110081"/>
              <a:gd name="connsiteX77" fmla="*/ 247931 w 607412"/>
              <a:gd name="connsiteY77" fmla="*/ 18855 h 110081"/>
              <a:gd name="connsiteX78" fmla="*/ 225372 w 607412"/>
              <a:gd name="connsiteY78" fmla="*/ 12259 h 110081"/>
              <a:gd name="connsiteX79" fmla="*/ 209835 w 607412"/>
              <a:gd name="connsiteY79" fmla="*/ 17361 h 110081"/>
              <a:gd name="connsiteX80" fmla="*/ 199975 w 607412"/>
              <a:gd name="connsiteY80" fmla="*/ 31238 h 110081"/>
              <a:gd name="connsiteX81" fmla="*/ 195792 w 607412"/>
              <a:gd name="connsiteY81" fmla="*/ 50778 h 110081"/>
              <a:gd name="connsiteX82" fmla="*/ 207146 w 607412"/>
              <a:gd name="connsiteY82" fmla="*/ 40759 h 110081"/>
              <a:gd name="connsiteX83" fmla="*/ 221189 w 607412"/>
              <a:gd name="connsiteY83" fmla="*/ 37523 h 110081"/>
              <a:gd name="connsiteX84" fmla="*/ 238519 w 607412"/>
              <a:gd name="connsiteY84" fmla="*/ 41693 h 110081"/>
              <a:gd name="connsiteX85" fmla="*/ 250770 w 607412"/>
              <a:gd name="connsiteY85" fmla="*/ 53952 h 110081"/>
              <a:gd name="connsiteX86" fmla="*/ 255401 w 607412"/>
              <a:gd name="connsiteY86" fmla="*/ 73491 h 110081"/>
              <a:gd name="connsiteX87" fmla="*/ 219396 w 607412"/>
              <a:gd name="connsiteY87" fmla="*/ 98134 h 110081"/>
              <a:gd name="connsiteX88" fmla="*/ 230153 w 607412"/>
              <a:gd name="connsiteY88" fmla="*/ 95458 h 110081"/>
              <a:gd name="connsiteX89" fmla="*/ 238071 w 607412"/>
              <a:gd name="connsiteY89" fmla="*/ 87244 h 110081"/>
              <a:gd name="connsiteX90" fmla="*/ 241208 w 607412"/>
              <a:gd name="connsiteY90" fmla="*/ 73803 h 110081"/>
              <a:gd name="connsiteX91" fmla="*/ 238221 w 607412"/>
              <a:gd name="connsiteY91" fmla="*/ 60174 h 110081"/>
              <a:gd name="connsiteX92" fmla="*/ 230601 w 607412"/>
              <a:gd name="connsiteY92" fmla="*/ 51961 h 110081"/>
              <a:gd name="connsiteX93" fmla="*/ 220890 w 607412"/>
              <a:gd name="connsiteY93" fmla="*/ 49160 h 110081"/>
              <a:gd name="connsiteX94" fmla="*/ 204307 w 607412"/>
              <a:gd name="connsiteY94" fmla="*/ 55570 h 110081"/>
              <a:gd name="connsiteX95" fmla="*/ 197734 w 607412"/>
              <a:gd name="connsiteY95" fmla="*/ 74114 h 110081"/>
              <a:gd name="connsiteX96" fmla="*/ 203560 w 607412"/>
              <a:gd name="connsiteY96" fmla="*/ 91538 h 110081"/>
              <a:gd name="connsiteX97" fmla="*/ 219396 w 607412"/>
              <a:gd name="connsiteY97" fmla="*/ 98134 h 110081"/>
              <a:gd name="connsiteX98" fmla="*/ 272109 w 607412"/>
              <a:gd name="connsiteY98" fmla="*/ 1493 h 110081"/>
              <a:gd name="connsiteX99" fmla="*/ 337545 w 607412"/>
              <a:gd name="connsiteY99" fmla="*/ 1493 h 110081"/>
              <a:gd name="connsiteX100" fmla="*/ 337545 w 607412"/>
              <a:gd name="connsiteY100" fmla="*/ 14374 h 110081"/>
              <a:gd name="connsiteX101" fmla="*/ 286152 w 607412"/>
              <a:gd name="connsiteY101" fmla="*/ 14374 h 110081"/>
              <a:gd name="connsiteX102" fmla="*/ 286152 w 607412"/>
              <a:gd name="connsiteY102" fmla="*/ 49907 h 110081"/>
              <a:gd name="connsiteX103" fmla="*/ 329776 w 607412"/>
              <a:gd name="connsiteY103" fmla="*/ 49907 h 110081"/>
              <a:gd name="connsiteX104" fmla="*/ 329776 w 607412"/>
              <a:gd name="connsiteY104" fmla="*/ 62601 h 110081"/>
              <a:gd name="connsiteX105" fmla="*/ 286152 w 607412"/>
              <a:gd name="connsiteY105" fmla="*/ 62601 h 110081"/>
              <a:gd name="connsiteX106" fmla="*/ 286152 w 607412"/>
              <a:gd name="connsiteY106" fmla="*/ 108588 h 110081"/>
              <a:gd name="connsiteX107" fmla="*/ 272109 w 607412"/>
              <a:gd name="connsiteY107" fmla="*/ 108588 h 110081"/>
              <a:gd name="connsiteX108" fmla="*/ 272109 w 607412"/>
              <a:gd name="connsiteY108" fmla="*/ 1493 h 110081"/>
              <a:gd name="connsiteX109" fmla="*/ 357016 w 607412"/>
              <a:gd name="connsiteY109" fmla="*/ 1493 h 110081"/>
              <a:gd name="connsiteX110" fmla="*/ 422452 w 607412"/>
              <a:gd name="connsiteY110" fmla="*/ 1493 h 110081"/>
              <a:gd name="connsiteX111" fmla="*/ 422452 w 607412"/>
              <a:gd name="connsiteY111" fmla="*/ 14374 h 110081"/>
              <a:gd name="connsiteX112" fmla="*/ 371060 w 607412"/>
              <a:gd name="connsiteY112" fmla="*/ 14374 h 110081"/>
              <a:gd name="connsiteX113" fmla="*/ 371060 w 607412"/>
              <a:gd name="connsiteY113" fmla="*/ 49907 h 110081"/>
              <a:gd name="connsiteX114" fmla="*/ 414684 w 607412"/>
              <a:gd name="connsiteY114" fmla="*/ 49907 h 110081"/>
              <a:gd name="connsiteX115" fmla="*/ 414684 w 607412"/>
              <a:gd name="connsiteY115" fmla="*/ 62601 h 110081"/>
              <a:gd name="connsiteX116" fmla="*/ 371060 w 607412"/>
              <a:gd name="connsiteY116" fmla="*/ 62601 h 110081"/>
              <a:gd name="connsiteX117" fmla="*/ 371060 w 607412"/>
              <a:gd name="connsiteY117" fmla="*/ 108588 h 110081"/>
              <a:gd name="connsiteX118" fmla="*/ 357016 w 607412"/>
              <a:gd name="connsiteY118" fmla="*/ 108588 h 110081"/>
              <a:gd name="connsiteX119" fmla="*/ 357016 w 607412"/>
              <a:gd name="connsiteY119" fmla="*/ 1493 h 110081"/>
              <a:gd name="connsiteX120" fmla="*/ 441930 w 607412"/>
              <a:gd name="connsiteY120" fmla="*/ 1493 h 110081"/>
              <a:gd name="connsiteX121" fmla="*/ 508263 w 607412"/>
              <a:gd name="connsiteY121" fmla="*/ 1493 h 110081"/>
              <a:gd name="connsiteX122" fmla="*/ 508263 w 607412"/>
              <a:gd name="connsiteY122" fmla="*/ 14374 h 110081"/>
              <a:gd name="connsiteX123" fmla="*/ 455974 w 607412"/>
              <a:gd name="connsiteY123" fmla="*/ 14374 h 110081"/>
              <a:gd name="connsiteX124" fmla="*/ 455974 w 607412"/>
              <a:gd name="connsiteY124" fmla="*/ 46734 h 110081"/>
              <a:gd name="connsiteX125" fmla="*/ 500345 w 607412"/>
              <a:gd name="connsiteY125" fmla="*/ 46734 h 110081"/>
              <a:gd name="connsiteX126" fmla="*/ 500345 w 607412"/>
              <a:gd name="connsiteY126" fmla="*/ 59428 h 110081"/>
              <a:gd name="connsiteX127" fmla="*/ 455974 w 607412"/>
              <a:gd name="connsiteY127" fmla="*/ 59428 h 110081"/>
              <a:gd name="connsiteX128" fmla="*/ 455974 w 607412"/>
              <a:gd name="connsiteY128" fmla="*/ 95893 h 110081"/>
              <a:gd name="connsiteX129" fmla="*/ 509010 w 607412"/>
              <a:gd name="connsiteY129" fmla="*/ 95893 h 110081"/>
              <a:gd name="connsiteX130" fmla="*/ 509010 w 607412"/>
              <a:gd name="connsiteY130" fmla="*/ 108588 h 110081"/>
              <a:gd name="connsiteX131" fmla="*/ 441930 w 607412"/>
              <a:gd name="connsiteY131" fmla="*/ 108588 h 110081"/>
              <a:gd name="connsiteX132" fmla="*/ 441930 w 607412"/>
              <a:gd name="connsiteY132" fmla="*/ 1493 h 110081"/>
              <a:gd name="connsiteX133" fmla="*/ 531220 w 607412"/>
              <a:gd name="connsiteY133" fmla="*/ 1493 h 110081"/>
              <a:gd name="connsiteX134" fmla="*/ 567524 w 607412"/>
              <a:gd name="connsiteY134" fmla="*/ 1493 h 110081"/>
              <a:gd name="connsiteX135" fmla="*/ 594266 w 607412"/>
              <a:gd name="connsiteY135" fmla="*/ 7467 h 110081"/>
              <a:gd name="connsiteX136" fmla="*/ 603529 w 607412"/>
              <a:gd name="connsiteY136" fmla="*/ 27629 h 110081"/>
              <a:gd name="connsiteX137" fmla="*/ 597702 w 607412"/>
              <a:gd name="connsiteY137" fmla="*/ 45116 h 110081"/>
              <a:gd name="connsiteX138" fmla="*/ 582165 w 607412"/>
              <a:gd name="connsiteY138" fmla="*/ 53018 h 110081"/>
              <a:gd name="connsiteX139" fmla="*/ 600989 w 607412"/>
              <a:gd name="connsiteY139" fmla="*/ 60361 h 110081"/>
              <a:gd name="connsiteX140" fmla="*/ 607413 w 607412"/>
              <a:gd name="connsiteY140" fmla="*/ 77661 h 110081"/>
              <a:gd name="connsiteX141" fmla="*/ 602184 w 607412"/>
              <a:gd name="connsiteY141" fmla="*/ 95583 h 110081"/>
              <a:gd name="connsiteX142" fmla="*/ 587842 w 607412"/>
              <a:gd name="connsiteY142" fmla="*/ 105601 h 110081"/>
              <a:gd name="connsiteX143" fmla="*/ 567225 w 607412"/>
              <a:gd name="connsiteY143" fmla="*/ 108588 h 110081"/>
              <a:gd name="connsiteX144" fmla="*/ 531220 w 607412"/>
              <a:gd name="connsiteY144" fmla="*/ 108588 h 110081"/>
              <a:gd name="connsiteX145" fmla="*/ 531220 w 607412"/>
              <a:gd name="connsiteY145" fmla="*/ 1493 h 110081"/>
              <a:gd name="connsiteX146" fmla="*/ 566478 w 607412"/>
              <a:gd name="connsiteY146" fmla="*/ 47231 h 110081"/>
              <a:gd name="connsiteX147" fmla="*/ 582912 w 607412"/>
              <a:gd name="connsiteY147" fmla="*/ 42751 h 110081"/>
              <a:gd name="connsiteX148" fmla="*/ 589336 w 607412"/>
              <a:gd name="connsiteY148" fmla="*/ 28376 h 110081"/>
              <a:gd name="connsiteX149" fmla="*/ 583659 w 607412"/>
              <a:gd name="connsiteY149" fmla="*/ 17361 h 110081"/>
              <a:gd name="connsiteX150" fmla="*/ 567524 w 607412"/>
              <a:gd name="connsiteY150" fmla="*/ 14374 h 110081"/>
              <a:gd name="connsiteX151" fmla="*/ 545263 w 607412"/>
              <a:gd name="connsiteY151" fmla="*/ 14374 h 110081"/>
              <a:gd name="connsiteX152" fmla="*/ 545263 w 607412"/>
              <a:gd name="connsiteY152" fmla="*/ 47231 h 110081"/>
              <a:gd name="connsiteX153" fmla="*/ 566478 w 607412"/>
              <a:gd name="connsiteY153" fmla="*/ 47231 h 110081"/>
              <a:gd name="connsiteX154" fmla="*/ 567225 w 607412"/>
              <a:gd name="connsiteY154" fmla="*/ 95893 h 110081"/>
              <a:gd name="connsiteX155" fmla="*/ 585601 w 607412"/>
              <a:gd name="connsiteY155" fmla="*/ 92035 h 110081"/>
              <a:gd name="connsiteX156" fmla="*/ 592622 w 607412"/>
              <a:gd name="connsiteY156" fmla="*/ 77972 h 110081"/>
              <a:gd name="connsiteX157" fmla="*/ 586049 w 607412"/>
              <a:gd name="connsiteY157" fmla="*/ 63908 h 110081"/>
              <a:gd name="connsiteX158" fmla="*/ 565582 w 607412"/>
              <a:gd name="connsiteY158" fmla="*/ 59926 h 110081"/>
              <a:gd name="connsiteX159" fmla="*/ 545263 w 607412"/>
              <a:gd name="connsiteY159" fmla="*/ 59926 h 110081"/>
              <a:gd name="connsiteX160" fmla="*/ 545263 w 607412"/>
              <a:gd name="connsiteY160" fmla="*/ 95893 h 110081"/>
              <a:gd name="connsiteX161" fmla="*/ 567225 w 607412"/>
              <a:gd name="connsiteY161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7412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0208" y="35844"/>
                </a:moveTo>
                <a:cubicBezTo>
                  <a:pt x="100208" y="28687"/>
                  <a:pt x="101752" y="22402"/>
                  <a:pt x="104840" y="17051"/>
                </a:cubicBezTo>
                <a:cubicBezTo>
                  <a:pt x="108027" y="11637"/>
                  <a:pt x="112310" y="7467"/>
                  <a:pt x="117688" y="4480"/>
                </a:cubicBezTo>
                <a:cubicBezTo>
                  <a:pt x="123066" y="1493"/>
                  <a:pt x="129092" y="0"/>
                  <a:pt x="135765" y="0"/>
                </a:cubicBezTo>
                <a:cubicBezTo>
                  <a:pt x="144729" y="0"/>
                  <a:pt x="151950" y="1929"/>
                  <a:pt x="157428" y="5849"/>
                </a:cubicBezTo>
                <a:cubicBezTo>
                  <a:pt x="163005" y="9645"/>
                  <a:pt x="167039" y="14934"/>
                  <a:pt x="169529" y="21842"/>
                </a:cubicBezTo>
                <a:cubicBezTo>
                  <a:pt x="172019" y="28563"/>
                  <a:pt x="173264" y="36466"/>
                  <a:pt x="173264" y="45426"/>
                </a:cubicBezTo>
                <a:cubicBezTo>
                  <a:pt x="173264" y="58868"/>
                  <a:pt x="171720" y="70380"/>
                  <a:pt x="168632" y="80088"/>
                </a:cubicBezTo>
                <a:cubicBezTo>
                  <a:pt x="165545" y="89733"/>
                  <a:pt x="160764" y="97138"/>
                  <a:pt x="154290" y="102303"/>
                </a:cubicBezTo>
                <a:cubicBezTo>
                  <a:pt x="147916" y="107468"/>
                  <a:pt x="139749" y="110082"/>
                  <a:pt x="129789" y="110082"/>
                </a:cubicBezTo>
                <a:cubicBezTo>
                  <a:pt x="120825" y="110082"/>
                  <a:pt x="113156" y="108215"/>
                  <a:pt x="106782" y="104543"/>
                </a:cubicBezTo>
                <a:lnTo>
                  <a:pt x="106782" y="91413"/>
                </a:lnTo>
                <a:cubicBezTo>
                  <a:pt x="113555" y="95769"/>
                  <a:pt x="121224" y="98010"/>
                  <a:pt x="129789" y="98010"/>
                </a:cubicBezTo>
                <a:cubicBezTo>
                  <a:pt x="135964" y="98010"/>
                  <a:pt x="141143" y="96267"/>
                  <a:pt x="145326" y="92907"/>
                </a:cubicBezTo>
                <a:cubicBezTo>
                  <a:pt x="149510" y="89546"/>
                  <a:pt x="152746" y="84941"/>
                  <a:pt x="155037" y="79154"/>
                </a:cubicBezTo>
                <a:cubicBezTo>
                  <a:pt x="157428" y="73367"/>
                  <a:pt x="158872" y="66896"/>
                  <a:pt x="159370" y="59739"/>
                </a:cubicBezTo>
                <a:cubicBezTo>
                  <a:pt x="156282" y="63660"/>
                  <a:pt x="152597" y="66522"/>
                  <a:pt x="148314" y="68389"/>
                </a:cubicBezTo>
                <a:cubicBezTo>
                  <a:pt x="144032" y="70193"/>
                  <a:pt x="139400" y="71127"/>
                  <a:pt x="134420" y="71127"/>
                </a:cubicBezTo>
                <a:cubicBezTo>
                  <a:pt x="128046" y="71127"/>
                  <a:pt x="122269" y="69758"/>
                  <a:pt x="117090" y="67082"/>
                </a:cubicBezTo>
                <a:cubicBezTo>
                  <a:pt x="111911" y="64406"/>
                  <a:pt x="107778" y="60424"/>
                  <a:pt x="104690" y="55134"/>
                </a:cubicBezTo>
                <a:cubicBezTo>
                  <a:pt x="101702" y="49845"/>
                  <a:pt x="100208" y="43435"/>
                  <a:pt x="100208" y="35844"/>
                </a:cubicBezTo>
                <a:close/>
                <a:moveTo>
                  <a:pt x="136213" y="12134"/>
                </a:moveTo>
                <a:cubicBezTo>
                  <a:pt x="132428" y="12134"/>
                  <a:pt x="128843" y="13006"/>
                  <a:pt x="125457" y="14810"/>
                </a:cubicBezTo>
                <a:cubicBezTo>
                  <a:pt x="122170" y="16490"/>
                  <a:pt x="119481" y="19104"/>
                  <a:pt x="117389" y="22589"/>
                </a:cubicBezTo>
                <a:cubicBezTo>
                  <a:pt x="115397" y="25949"/>
                  <a:pt x="114401" y="30305"/>
                  <a:pt x="114401" y="35532"/>
                </a:cubicBezTo>
                <a:cubicBezTo>
                  <a:pt x="114401" y="40759"/>
                  <a:pt x="115397" y="45116"/>
                  <a:pt x="117389" y="48725"/>
                </a:cubicBezTo>
                <a:cubicBezTo>
                  <a:pt x="119381" y="52271"/>
                  <a:pt x="121921" y="54947"/>
                  <a:pt x="125008" y="56752"/>
                </a:cubicBezTo>
                <a:cubicBezTo>
                  <a:pt x="128096" y="58556"/>
                  <a:pt x="131333" y="59428"/>
                  <a:pt x="134719" y="59428"/>
                </a:cubicBezTo>
                <a:cubicBezTo>
                  <a:pt x="141293" y="59428"/>
                  <a:pt x="146771" y="57437"/>
                  <a:pt x="151153" y="53329"/>
                </a:cubicBezTo>
                <a:cubicBezTo>
                  <a:pt x="155635" y="49160"/>
                  <a:pt x="157876" y="43124"/>
                  <a:pt x="157876" y="35283"/>
                </a:cubicBezTo>
                <a:cubicBezTo>
                  <a:pt x="157876" y="28313"/>
                  <a:pt x="155934" y="22713"/>
                  <a:pt x="152049" y="18544"/>
                </a:cubicBezTo>
                <a:cubicBezTo>
                  <a:pt x="148165" y="14250"/>
                  <a:pt x="142886" y="12134"/>
                  <a:pt x="136213" y="12134"/>
                </a:cubicBezTo>
                <a:close/>
                <a:moveTo>
                  <a:pt x="255401" y="73491"/>
                </a:moveTo>
                <a:cubicBezTo>
                  <a:pt x="255401" y="80772"/>
                  <a:pt x="253808" y="87182"/>
                  <a:pt x="250620" y="92782"/>
                </a:cubicBezTo>
                <a:cubicBezTo>
                  <a:pt x="247533" y="98258"/>
                  <a:pt x="243300" y="102490"/>
                  <a:pt x="237922" y="105601"/>
                </a:cubicBezTo>
                <a:cubicBezTo>
                  <a:pt x="232543" y="108588"/>
                  <a:pt x="226518" y="110082"/>
                  <a:pt x="219845" y="110082"/>
                </a:cubicBezTo>
                <a:cubicBezTo>
                  <a:pt x="210881" y="110082"/>
                  <a:pt x="203660" y="108091"/>
                  <a:pt x="198182" y="104108"/>
                </a:cubicBezTo>
                <a:cubicBezTo>
                  <a:pt x="192704" y="100125"/>
                  <a:pt x="188670" y="94587"/>
                  <a:pt x="186081" y="87555"/>
                </a:cubicBezTo>
                <a:cubicBezTo>
                  <a:pt x="183591" y="80461"/>
                  <a:pt x="182346" y="72372"/>
                  <a:pt x="182346" y="63161"/>
                </a:cubicBezTo>
                <a:cubicBezTo>
                  <a:pt x="182346" y="50653"/>
                  <a:pt x="183840" y="39639"/>
                  <a:pt x="186828" y="30181"/>
                </a:cubicBezTo>
                <a:cubicBezTo>
                  <a:pt x="189915" y="20722"/>
                  <a:pt x="194596" y="13379"/>
                  <a:pt x="200871" y="8089"/>
                </a:cubicBezTo>
                <a:cubicBezTo>
                  <a:pt x="207245" y="2675"/>
                  <a:pt x="215413" y="0"/>
                  <a:pt x="225372" y="0"/>
                </a:cubicBezTo>
                <a:cubicBezTo>
                  <a:pt x="233938" y="0"/>
                  <a:pt x="241457" y="1866"/>
                  <a:pt x="247931" y="5538"/>
                </a:cubicBezTo>
                <a:lnTo>
                  <a:pt x="247931" y="18855"/>
                </a:lnTo>
                <a:cubicBezTo>
                  <a:pt x="241457" y="14437"/>
                  <a:pt x="233938" y="12259"/>
                  <a:pt x="225372" y="12259"/>
                </a:cubicBezTo>
                <a:cubicBezTo>
                  <a:pt x="219197" y="12259"/>
                  <a:pt x="214018" y="13939"/>
                  <a:pt x="209835" y="17361"/>
                </a:cubicBezTo>
                <a:cubicBezTo>
                  <a:pt x="205652" y="20722"/>
                  <a:pt x="202365" y="25327"/>
                  <a:pt x="199975" y="31238"/>
                </a:cubicBezTo>
                <a:cubicBezTo>
                  <a:pt x="197684" y="37026"/>
                  <a:pt x="196290" y="43498"/>
                  <a:pt x="195792" y="50778"/>
                </a:cubicBezTo>
                <a:cubicBezTo>
                  <a:pt x="199078" y="46298"/>
                  <a:pt x="202863" y="42999"/>
                  <a:pt x="207146" y="40759"/>
                </a:cubicBezTo>
                <a:cubicBezTo>
                  <a:pt x="211429" y="38581"/>
                  <a:pt x="216110" y="37523"/>
                  <a:pt x="221189" y="37523"/>
                </a:cubicBezTo>
                <a:cubicBezTo>
                  <a:pt x="227663" y="37523"/>
                  <a:pt x="233440" y="38893"/>
                  <a:pt x="238519" y="41693"/>
                </a:cubicBezTo>
                <a:cubicBezTo>
                  <a:pt x="243698" y="44493"/>
                  <a:pt x="247782" y="48538"/>
                  <a:pt x="250770" y="53952"/>
                </a:cubicBezTo>
                <a:cubicBezTo>
                  <a:pt x="253857" y="59179"/>
                  <a:pt x="255401" y="65713"/>
                  <a:pt x="255401" y="73491"/>
                </a:cubicBezTo>
                <a:close/>
                <a:moveTo>
                  <a:pt x="219396" y="98134"/>
                </a:moveTo>
                <a:cubicBezTo>
                  <a:pt x="223281" y="98134"/>
                  <a:pt x="226866" y="97263"/>
                  <a:pt x="230153" y="95458"/>
                </a:cubicBezTo>
                <a:cubicBezTo>
                  <a:pt x="233440" y="93529"/>
                  <a:pt x="236079" y="90791"/>
                  <a:pt x="238071" y="87244"/>
                </a:cubicBezTo>
                <a:cubicBezTo>
                  <a:pt x="240163" y="83635"/>
                  <a:pt x="241208" y="79154"/>
                  <a:pt x="241208" y="73803"/>
                </a:cubicBezTo>
                <a:cubicBezTo>
                  <a:pt x="241208" y="68389"/>
                  <a:pt x="240212" y="63908"/>
                  <a:pt x="238221" y="60174"/>
                </a:cubicBezTo>
                <a:cubicBezTo>
                  <a:pt x="236229" y="56503"/>
                  <a:pt x="233689" y="53765"/>
                  <a:pt x="230601" y="51961"/>
                </a:cubicBezTo>
                <a:cubicBezTo>
                  <a:pt x="227514" y="50093"/>
                  <a:pt x="224277" y="49160"/>
                  <a:pt x="220890" y="49160"/>
                </a:cubicBezTo>
                <a:cubicBezTo>
                  <a:pt x="214317" y="49160"/>
                  <a:pt x="208789" y="51276"/>
                  <a:pt x="204307" y="55570"/>
                </a:cubicBezTo>
                <a:cubicBezTo>
                  <a:pt x="199925" y="59739"/>
                  <a:pt x="197734" y="65900"/>
                  <a:pt x="197734" y="74114"/>
                </a:cubicBezTo>
                <a:cubicBezTo>
                  <a:pt x="197734" y="81270"/>
                  <a:pt x="199676" y="87058"/>
                  <a:pt x="203560" y="91538"/>
                </a:cubicBezTo>
                <a:cubicBezTo>
                  <a:pt x="207445" y="95956"/>
                  <a:pt x="212723" y="98134"/>
                  <a:pt x="219396" y="98134"/>
                </a:cubicBez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508263" y="1493"/>
                </a:lnTo>
                <a:lnTo>
                  <a:pt x="508263" y="14374"/>
                </a:lnTo>
                <a:lnTo>
                  <a:pt x="455974" y="14374"/>
                </a:lnTo>
                <a:lnTo>
                  <a:pt x="455974" y="46734"/>
                </a:lnTo>
                <a:lnTo>
                  <a:pt x="500345" y="46734"/>
                </a:lnTo>
                <a:lnTo>
                  <a:pt x="500345" y="59428"/>
                </a:lnTo>
                <a:lnTo>
                  <a:pt x="455974" y="59428"/>
                </a:lnTo>
                <a:lnTo>
                  <a:pt x="455974" y="95893"/>
                </a:lnTo>
                <a:lnTo>
                  <a:pt x="509010" y="95893"/>
                </a:lnTo>
                <a:lnTo>
                  <a:pt x="509010" y="108588"/>
                </a:ln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531220" y="1493"/>
                </a:moveTo>
                <a:lnTo>
                  <a:pt x="567524" y="1493"/>
                </a:lnTo>
                <a:cubicBezTo>
                  <a:pt x="579276" y="1493"/>
                  <a:pt x="588190" y="3484"/>
                  <a:pt x="594266" y="7467"/>
                </a:cubicBezTo>
                <a:cubicBezTo>
                  <a:pt x="600441" y="11450"/>
                  <a:pt x="603529" y="18170"/>
                  <a:pt x="603529" y="27629"/>
                </a:cubicBezTo>
                <a:cubicBezTo>
                  <a:pt x="603529" y="35283"/>
                  <a:pt x="601586" y="41133"/>
                  <a:pt x="597702" y="45116"/>
                </a:cubicBezTo>
                <a:cubicBezTo>
                  <a:pt x="593818" y="48974"/>
                  <a:pt x="588639" y="51649"/>
                  <a:pt x="582165" y="53018"/>
                </a:cubicBezTo>
                <a:cubicBezTo>
                  <a:pt x="590431" y="54014"/>
                  <a:pt x="596706" y="56441"/>
                  <a:pt x="600989" y="60361"/>
                </a:cubicBezTo>
                <a:cubicBezTo>
                  <a:pt x="605272" y="64157"/>
                  <a:pt x="607413" y="69882"/>
                  <a:pt x="607413" y="77661"/>
                </a:cubicBezTo>
                <a:cubicBezTo>
                  <a:pt x="607413" y="85066"/>
                  <a:pt x="605670" y="91040"/>
                  <a:pt x="602184" y="95583"/>
                </a:cubicBezTo>
                <a:cubicBezTo>
                  <a:pt x="598698" y="100188"/>
                  <a:pt x="593917" y="103486"/>
                  <a:pt x="587842" y="105601"/>
                </a:cubicBezTo>
                <a:cubicBezTo>
                  <a:pt x="581766" y="107592"/>
                  <a:pt x="574894" y="108588"/>
                  <a:pt x="567225" y="108588"/>
                </a:cubicBezTo>
                <a:lnTo>
                  <a:pt x="531220" y="108588"/>
                </a:lnTo>
                <a:lnTo>
                  <a:pt x="531220" y="1493"/>
                </a:lnTo>
                <a:close/>
                <a:moveTo>
                  <a:pt x="566478" y="47231"/>
                </a:moveTo>
                <a:cubicBezTo>
                  <a:pt x="573251" y="47231"/>
                  <a:pt x="578729" y="45738"/>
                  <a:pt x="582912" y="42751"/>
                </a:cubicBezTo>
                <a:cubicBezTo>
                  <a:pt x="587194" y="39639"/>
                  <a:pt x="589336" y="34848"/>
                  <a:pt x="589336" y="28376"/>
                </a:cubicBezTo>
                <a:cubicBezTo>
                  <a:pt x="589336" y="22900"/>
                  <a:pt x="587443" y="19228"/>
                  <a:pt x="583659" y="17361"/>
                </a:cubicBezTo>
                <a:cubicBezTo>
                  <a:pt x="579874" y="15370"/>
                  <a:pt x="574496" y="14374"/>
                  <a:pt x="567524" y="14374"/>
                </a:cubicBezTo>
                <a:lnTo>
                  <a:pt x="545263" y="14374"/>
                </a:lnTo>
                <a:lnTo>
                  <a:pt x="545263" y="47231"/>
                </a:lnTo>
                <a:lnTo>
                  <a:pt x="566478" y="47231"/>
                </a:lnTo>
                <a:close/>
                <a:moveTo>
                  <a:pt x="567225" y="95893"/>
                </a:moveTo>
                <a:cubicBezTo>
                  <a:pt x="574794" y="95893"/>
                  <a:pt x="580920" y="94587"/>
                  <a:pt x="585601" y="92035"/>
                </a:cubicBezTo>
                <a:cubicBezTo>
                  <a:pt x="590282" y="89422"/>
                  <a:pt x="592622" y="84755"/>
                  <a:pt x="592622" y="77972"/>
                </a:cubicBezTo>
                <a:cubicBezTo>
                  <a:pt x="592622" y="71189"/>
                  <a:pt x="590431" y="66522"/>
                  <a:pt x="586049" y="63908"/>
                </a:cubicBezTo>
                <a:cubicBezTo>
                  <a:pt x="581766" y="61233"/>
                  <a:pt x="574944" y="59926"/>
                  <a:pt x="565582" y="59926"/>
                </a:cubicBezTo>
                <a:lnTo>
                  <a:pt x="545263" y="59926"/>
                </a:lnTo>
                <a:lnTo>
                  <a:pt x="545263" y="95893"/>
                </a:lnTo>
                <a:lnTo>
                  <a:pt x="567225" y="958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7" name="Полилиния 996">
            <a:extLst>
              <a:ext uri="{FF2B5EF4-FFF2-40B4-BE49-F238E27FC236}">
                <a16:creationId xmlns:a16="http://schemas.microsoft.com/office/drawing/2014/main" id="{B257ED82-5644-6219-F848-95ADFEDF5CC8}"/>
              </a:ext>
            </a:extLst>
          </p:cNvPr>
          <p:cNvSpPr/>
          <p:nvPr userDrawn="1"/>
        </p:nvSpPr>
        <p:spPr>
          <a:xfrm>
            <a:off x="13814863" y="9597431"/>
            <a:ext cx="1398954" cy="726227"/>
          </a:xfrm>
          <a:custGeom>
            <a:avLst/>
            <a:gdLst>
              <a:gd name="connsiteX0" fmla="*/ 213 w 1198727"/>
              <a:gd name="connsiteY0" fmla="*/ 1822 h 622284"/>
              <a:gd name="connsiteX1" fmla="*/ 1198941 w 1198727"/>
              <a:gd name="connsiteY1" fmla="*/ 1822 h 622284"/>
              <a:gd name="connsiteX2" fmla="*/ 1198941 w 1198727"/>
              <a:gd name="connsiteY2" fmla="*/ 624106 h 622284"/>
              <a:gd name="connsiteX3" fmla="*/ 213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822"/>
                </a:moveTo>
                <a:lnTo>
                  <a:pt x="1198941" y="1822"/>
                </a:lnTo>
                <a:lnTo>
                  <a:pt x="1198941" y="624106"/>
                </a:lnTo>
                <a:lnTo>
                  <a:pt x="213" y="624106"/>
                </a:lnTo>
                <a:close/>
              </a:path>
            </a:pathLst>
          </a:custGeom>
          <a:solidFill>
            <a:srgbClr val="BEFF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8" name="Полилиния 997">
            <a:extLst>
              <a:ext uri="{FF2B5EF4-FFF2-40B4-BE49-F238E27FC236}">
                <a16:creationId xmlns:a16="http://schemas.microsoft.com/office/drawing/2014/main" id="{FD64E25C-3B21-468E-8E94-56F01EF14D13}"/>
              </a:ext>
            </a:extLst>
          </p:cNvPr>
          <p:cNvSpPr/>
          <p:nvPr userDrawn="1"/>
        </p:nvSpPr>
        <p:spPr>
          <a:xfrm>
            <a:off x="13938073" y="9899395"/>
            <a:ext cx="714145" cy="128252"/>
          </a:xfrm>
          <a:custGeom>
            <a:avLst/>
            <a:gdLst>
              <a:gd name="connsiteX0" fmla="*/ 22111 w 611932"/>
              <a:gd name="connsiteY0" fmla="*/ 108402 h 109895"/>
              <a:gd name="connsiteX1" fmla="*/ 10159 w 611932"/>
              <a:gd name="connsiteY1" fmla="*/ 108402 h 109895"/>
              <a:gd name="connsiteX2" fmla="*/ 16434 w 611932"/>
              <a:gd name="connsiteY2" fmla="*/ 77475 h 109895"/>
              <a:gd name="connsiteX3" fmla="*/ 0 w 611932"/>
              <a:gd name="connsiteY3" fmla="*/ 77475 h 109895"/>
              <a:gd name="connsiteX4" fmla="*/ 0 w 611932"/>
              <a:gd name="connsiteY4" fmla="*/ 67020 h 109895"/>
              <a:gd name="connsiteX5" fmla="*/ 18675 w 611932"/>
              <a:gd name="connsiteY5" fmla="*/ 67020 h 109895"/>
              <a:gd name="connsiteX6" fmla="*/ 24202 w 611932"/>
              <a:gd name="connsiteY6" fmla="*/ 39826 h 109895"/>
              <a:gd name="connsiteX7" fmla="*/ 4034 w 611932"/>
              <a:gd name="connsiteY7" fmla="*/ 39826 h 109895"/>
              <a:gd name="connsiteX8" fmla="*/ 4034 w 611932"/>
              <a:gd name="connsiteY8" fmla="*/ 29372 h 109895"/>
              <a:gd name="connsiteX9" fmla="*/ 26294 w 611932"/>
              <a:gd name="connsiteY9" fmla="*/ 29372 h 109895"/>
              <a:gd name="connsiteX10" fmla="*/ 32120 w 611932"/>
              <a:gd name="connsiteY10" fmla="*/ 1307 h 109895"/>
              <a:gd name="connsiteX11" fmla="*/ 44072 w 611932"/>
              <a:gd name="connsiteY11" fmla="*/ 1307 h 109895"/>
              <a:gd name="connsiteX12" fmla="*/ 38246 w 611932"/>
              <a:gd name="connsiteY12" fmla="*/ 29372 h 109895"/>
              <a:gd name="connsiteX13" fmla="*/ 60655 w 611932"/>
              <a:gd name="connsiteY13" fmla="*/ 29372 h 109895"/>
              <a:gd name="connsiteX14" fmla="*/ 66482 w 611932"/>
              <a:gd name="connsiteY14" fmla="*/ 1307 h 109895"/>
              <a:gd name="connsiteX15" fmla="*/ 78434 w 611932"/>
              <a:gd name="connsiteY15" fmla="*/ 1307 h 109895"/>
              <a:gd name="connsiteX16" fmla="*/ 72607 w 611932"/>
              <a:gd name="connsiteY16" fmla="*/ 29372 h 109895"/>
              <a:gd name="connsiteX17" fmla="*/ 89340 w 611932"/>
              <a:gd name="connsiteY17" fmla="*/ 29372 h 109895"/>
              <a:gd name="connsiteX18" fmla="*/ 89340 w 611932"/>
              <a:gd name="connsiteY18" fmla="*/ 39826 h 109895"/>
              <a:gd name="connsiteX19" fmla="*/ 70516 w 611932"/>
              <a:gd name="connsiteY19" fmla="*/ 39826 h 109895"/>
              <a:gd name="connsiteX20" fmla="*/ 64988 w 611932"/>
              <a:gd name="connsiteY20" fmla="*/ 67020 h 109895"/>
              <a:gd name="connsiteX21" fmla="*/ 85306 w 611932"/>
              <a:gd name="connsiteY21" fmla="*/ 67020 h 109895"/>
              <a:gd name="connsiteX22" fmla="*/ 85306 w 611932"/>
              <a:gd name="connsiteY22" fmla="*/ 77475 h 109895"/>
              <a:gd name="connsiteX23" fmla="*/ 62747 w 611932"/>
              <a:gd name="connsiteY23" fmla="*/ 77475 h 109895"/>
              <a:gd name="connsiteX24" fmla="*/ 56472 w 611932"/>
              <a:gd name="connsiteY24" fmla="*/ 108402 h 109895"/>
              <a:gd name="connsiteX25" fmla="*/ 44520 w 611932"/>
              <a:gd name="connsiteY25" fmla="*/ 108402 h 109895"/>
              <a:gd name="connsiteX26" fmla="*/ 50795 w 611932"/>
              <a:gd name="connsiteY26" fmla="*/ 77475 h 109895"/>
              <a:gd name="connsiteX27" fmla="*/ 28386 w 611932"/>
              <a:gd name="connsiteY27" fmla="*/ 77475 h 109895"/>
              <a:gd name="connsiteX28" fmla="*/ 22111 w 611932"/>
              <a:gd name="connsiteY28" fmla="*/ 108402 h 109895"/>
              <a:gd name="connsiteX29" fmla="*/ 30626 w 611932"/>
              <a:gd name="connsiteY29" fmla="*/ 67020 h 109895"/>
              <a:gd name="connsiteX30" fmla="*/ 53036 w 611932"/>
              <a:gd name="connsiteY30" fmla="*/ 67020 h 109895"/>
              <a:gd name="connsiteX31" fmla="*/ 58564 w 611932"/>
              <a:gd name="connsiteY31" fmla="*/ 39826 h 109895"/>
              <a:gd name="connsiteX32" fmla="*/ 36154 w 611932"/>
              <a:gd name="connsiteY32" fmla="*/ 39826 h 109895"/>
              <a:gd name="connsiteX33" fmla="*/ 30626 w 611932"/>
              <a:gd name="connsiteY33" fmla="*/ 67020 h 109895"/>
              <a:gd name="connsiteX34" fmla="*/ 107828 w 611932"/>
              <a:gd name="connsiteY34" fmla="*/ 1307 h 109895"/>
              <a:gd name="connsiteX35" fmla="*/ 144131 w 611932"/>
              <a:gd name="connsiteY35" fmla="*/ 1307 h 109895"/>
              <a:gd name="connsiteX36" fmla="*/ 170873 w 611932"/>
              <a:gd name="connsiteY36" fmla="*/ 7281 h 109895"/>
              <a:gd name="connsiteX37" fmla="*/ 180136 w 611932"/>
              <a:gd name="connsiteY37" fmla="*/ 27443 h 109895"/>
              <a:gd name="connsiteX38" fmla="*/ 174310 w 611932"/>
              <a:gd name="connsiteY38" fmla="*/ 44930 h 109895"/>
              <a:gd name="connsiteX39" fmla="*/ 158772 w 611932"/>
              <a:gd name="connsiteY39" fmla="*/ 52832 h 109895"/>
              <a:gd name="connsiteX40" fmla="*/ 177596 w 611932"/>
              <a:gd name="connsiteY40" fmla="*/ 60175 h 109895"/>
              <a:gd name="connsiteX41" fmla="*/ 184020 w 611932"/>
              <a:gd name="connsiteY41" fmla="*/ 77475 h 109895"/>
              <a:gd name="connsiteX42" fmla="*/ 178792 w 611932"/>
              <a:gd name="connsiteY42" fmla="*/ 95397 h 109895"/>
              <a:gd name="connsiteX43" fmla="*/ 164449 w 611932"/>
              <a:gd name="connsiteY43" fmla="*/ 105415 h 109895"/>
              <a:gd name="connsiteX44" fmla="*/ 143832 w 611932"/>
              <a:gd name="connsiteY44" fmla="*/ 108402 h 109895"/>
              <a:gd name="connsiteX45" fmla="*/ 107828 w 611932"/>
              <a:gd name="connsiteY45" fmla="*/ 108402 h 109895"/>
              <a:gd name="connsiteX46" fmla="*/ 107828 w 611932"/>
              <a:gd name="connsiteY46" fmla="*/ 1307 h 109895"/>
              <a:gd name="connsiteX47" fmla="*/ 143085 w 611932"/>
              <a:gd name="connsiteY47" fmla="*/ 47045 h 109895"/>
              <a:gd name="connsiteX48" fmla="*/ 159519 w 611932"/>
              <a:gd name="connsiteY48" fmla="*/ 42565 h 109895"/>
              <a:gd name="connsiteX49" fmla="*/ 165943 w 611932"/>
              <a:gd name="connsiteY49" fmla="*/ 28190 h 109895"/>
              <a:gd name="connsiteX50" fmla="*/ 160266 w 611932"/>
              <a:gd name="connsiteY50" fmla="*/ 17175 h 109895"/>
              <a:gd name="connsiteX51" fmla="*/ 144131 w 611932"/>
              <a:gd name="connsiteY51" fmla="*/ 14188 h 109895"/>
              <a:gd name="connsiteX52" fmla="*/ 121871 w 611932"/>
              <a:gd name="connsiteY52" fmla="*/ 14188 h 109895"/>
              <a:gd name="connsiteX53" fmla="*/ 121871 w 611932"/>
              <a:gd name="connsiteY53" fmla="*/ 47045 h 109895"/>
              <a:gd name="connsiteX54" fmla="*/ 143085 w 611932"/>
              <a:gd name="connsiteY54" fmla="*/ 47045 h 109895"/>
              <a:gd name="connsiteX55" fmla="*/ 143832 w 611932"/>
              <a:gd name="connsiteY55" fmla="*/ 95707 h 109895"/>
              <a:gd name="connsiteX56" fmla="*/ 162208 w 611932"/>
              <a:gd name="connsiteY56" fmla="*/ 91849 h 109895"/>
              <a:gd name="connsiteX57" fmla="*/ 169230 w 611932"/>
              <a:gd name="connsiteY57" fmla="*/ 77786 h 109895"/>
              <a:gd name="connsiteX58" fmla="*/ 162657 w 611932"/>
              <a:gd name="connsiteY58" fmla="*/ 63722 h 109895"/>
              <a:gd name="connsiteX59" fmla="*/ 142189 w 611932"/>
              <a:gd name="connsiteY59" fmla="*/ 59740 h 109895"/>
              <a:gd name="connsiteX60" fmla="*/ 121871 w 611932"/>
              <a:gd name="connsiteY60" fmla="*/ 59740 h 109895"/>
              <a:gd name="connsiteX61" fmla="*/ 121871 w 611932"/>
              <a:gd name="connsiteY61" fmla="*/ 95707 h 109895"/>
              <a:gd name="connsiteX62" fmla="*/ 143832 w 611932"/>
              <a:gd name="connsiteY62" fmla="*/ 95707 h 109895"/>
              <a:gd name="connsiteX63" fmla="*/ 204121 w 611932"/>
              <a:gd name="connsiteY63" fmla="*/ 1307 h 109895"/>
              <a:gd name="connsiteX64" fmla="*/ 270453 w 611932"/>
              <a:gd name="connsiteY64" fmla="*/ 1307 h 109895"/>
              <a:gd name="connsiteX65" fmla="*/ 270453 w 611932"/>
              <a:gd name="connsiteY65" fmla="*/ 14188 h 109895"/>
              <a:gd name="connsiteX66" fmla="*/ 218164 w 611932"/>
              <a:gd name="connsiteY66" fmla="*/ 14188 h 109895"/>
              <a:gd name="connsiteX67" fmla="*/ 218164 w 611932"/>
              <a:gd name="connsiteY67" fmla="*/ 46547 h 109895"/>
              <a:gd name="connsiteX68" fmla="*/ 262535 w 611932"/>
              <a:gd name="connsiteY68" fmla="*/ 46547 h 109895"/>
              <a:gd name="connsiteX69" fmla="*/ 262535 w 611932"/>
              <a:gd name="connsiteY69" fmla="*/ 59242 h 109895"/>
              <a:gd name="connsiteX70" fmla="*/ 218164 w 611932"/>
              <a:gd name="connsiteY70" fmla="*/ 59242 h 109895"/>
              <a:gd name="connsiteX71" fmla="*/ 218164 w 611932"/>
              <a:gd name="connsiteY71" fmla="*/ 95707 h 109895"/>
              <a:gd name="connsiteX72" fmla="*/ 271200 w 611932"/>
              <a:gd name="connsiteY72" fmla="*/ 95707 h 109895"/>
              <a:gd name="connsiteX73" fmla="*/ 271200 w 611932"/>
              <a:gd name="connsiteY73" fmla="*/ 108402 h 109895"/>
              <a:gd name="connsiteX74" fmla="*/ 204121 w 611932"/>
              <a:gd name="connsiteY74" fmla="*/ 108402 h 109895"/>
              <a:gd name="connsiteX75" fmla="*/ 204121 w 611932"/>
              <a:gd name="connsiteY75" fmla="*/ 1307 h 109895"/>
              <a:gd name="connsiteX76" fmla="*/ 293404 w 611932"/>
              <a:gd name="connsiteY76" fmla="*/ 1307 h 109895"/>
              <a:gd name="connsiteX77" fmla="*/ 358840 w 611932"/>
              <a:gd name="connsiteY77" fmla="*/ 1307 h 109895"/>
              <a:gd name="connsiteX78" fmla="*/ 358840 w 611932"/>
              <a:gd name="connsiteY78" fmla="*/ 14188 h 109895"/>
              <a:gd name="connsiteX79" fmla="*/ 307448 w 611932"/>
              <a:gd name="connsiteY79" fmla="*/ 14188 h 109895"/>
              <a:gd name="connsiteX80" fmla="*/ 307448 w 611932"/>
              <a:gd name="connsiteY80" fmla="*/ 49720 h 109895"/>
              <a:gd name="connsiteX81" fmla="*/ 351072 w 611932"/>
              <a:gd name="connsiteY81" fmla="*/ 49720 h 109895"/>
              <a:gd name="connsiteX82" fmla="*/ 351072 w 611932"/>
              <a:gd name="connsiteY82" fmla="*/ 62415 h 109895"/>
              <a:gd name="connsiteX83" fmla="*/ 307448 w 611932"/>
              <a:gd name="connsiteY83" fmla="*/ 62415 h 109895"/>
              <a:gd name="connsiteX84" fmla="*/ 307448 w 611932"/>
              <a:gd name="connsiteY84" fmla="*/ 108402 h 109895"/>
              <a:gd name="connsiteX85" fmla="*/ 293404 w 611932"/>
              <a:gd name="connsiteY85" fmla="*/ 108402 h 109895"/>
              <a:gd name="connsiteX86" fmla="*/ 293404 w 611932"/>
              <a:gd name="connsiteY86" fmla="*/ 1307 h 109895"/>
              <a:gd name="connsiteX87" fmla="*/ 378318 w 611932"/>
              <a:gd name="connsiteY87" fmla="*/ 1307 h 109895"/>
              <a:gd name="connsiteX88" fmla="*/ 443754 w 611932"/>
              <a:gd name="connsiteY88" fmla="*/ 1307 h 109895"/>
              <a:gd name="connsiteX89" fmla="*/ 443754 w 611932"/>
              <a:gd name="connsiteY89" fmla="*/ 14188 h 109895"/>
              <a:gd name="connsiteX90" fmla="*/ 392361 w 611932"/>
              <a:gd name="connsiteY90" fmla="*/ 14188 h 109895"/>
              <a:gd name="connsiteX91" fmla="*/ 392361 w 611932"/>
              <a:gd name="connsiteY91" fmla="*/ 49720 h 109895"/>
              <a:gd name="connsiteX92" fmla="*/ 435985 w 611932"/>
              <a:gd name="connsiteY92" fmla="*/ 49720 h 109895"/>
              <a:gd name="connsiteX93" fmla="*/ 435985 w 611932"/>
              <a:gd name="connsiteY93" fmla="*/ 62415 h 109895"/>
              <a:gd name="connsiteX94" fmla="*/ 392361 w 611932"/>
              <a:gd name="connsiteY94" fmla="*/ 62415 h 109895"/>
              <a:gd name="connsiteX95" fmla="*/ 392361 w 611932"/>
              <a:gd name="connsiteY95" fmla="*/ 108402 h 109895"/>
              <a:gd name="connsiteX96" fmla="*/ 378318 w 611932"/>
              <a:gd name="connsiteY96" fmla="*/ 108402 h 109895"/>
              <a:gd name="connsiteX97" fmla="*/ 378318 w 611932"/>
              <a:gd name="connsiteY97" fmla="*/ 1307 h 109895"/>
              <a:gd name="connsiteX98" fmla="*/ 463232 w 611932"/>
              <a:gd name="connsiteY98" fmla="*/ 1307 h 109895"/>
              <a:gd name="connsiteX99" fmla="*/ 528668 w 611932"/>
              <a:gd name="connsiteY99" fmla="*/ 1307 h 109895"/>
              <a:gd name="connsiteX100" fmla="*/ 528668 w 611932"/>
              <a:gd name="connsiteY100" fmla="*/ 14188 h 109895"/>
              <a:gd name="connsiteX101" fmla="*/ 477275 w 611932"/>
              <a:gd name="connsiteY101" fmla="*/ 14188 h 109895"/>
              <a:gd name="connsiteX102" fmla="*/ 477275 w 611932"/>
              <a:gd name="connsiteY102" fmla="*/ 49720 h 109895"/>
              <a:gd name="connsiteX103" fmla="*/ 520899 w 611932"/>
              <a:gd name="connsiteY103" fmla="*/ 49720 h 109895"/>
              <a:gd name="connsiteX104" fmla="*/ 520899 w 611932"/>
              <a:gd name="connsiteY104" fmla="*/ 62415 h 109895"/>
              <a:gd name="connsiteX105" fmla="*/ 477275 w 611932"/>
              <a:gd name="connsiteY105" fmla="*/ 62415 h 109895"/>
              <a:gd name="connsiteX106" fmla="*/ 477275 w 611932"/>
              <a:gd name="connsiteY106" fmla="*/ 108402 h 109895"/>
              <a:gd name="connsiteX107" fmla="*/ 463232 w 611932"/>
              <a:gd name="connsiteY107" fmla="*/ 108402 h 109895"/>
              <a:gd name="connsiteX108" fmla="*/ 463232 w 611932"/>
              <a:gd name="connsiteY108" fmla="*/ 1307 h 109895"/>
              <a:gd name="connsiteX109" fmla="*/ 576973 w 611932"/>
              <a:gd name="connsiteY109" fmla="*/ 109896 h 109895"/>
              <a:gd name="connsiteX110" fmla="*/ 558747 w 611932"/>
              <a:gd name="connsiteY110" fmla="*/ 104047 h 109895"/>
              <a:gd name="connsiteX111" fmla="*/ 546048 w 611932"/>
              <a:gd name="connsiteY111" fmla="*/ 86125 h 109895"/>
              <a:gd name="connsiteX112" fmla="*/ 541566 w 611932"/>
              <a:gd name="connsiteY112" fmla="*/ 54761 h 109895"/>
              <a:gd name="connsiteX113" fmla="*/ 546048 w 611932"/>
              <a:gd name="connsiteY113" fmla="*/ 23398 h 109895"/>
              <a:gd name="connsiteX114" fmla="*/ 558747 w 611932"/>
              <a:gd name="connsiteY114" fmla="*/ 5663 h 109895"/>
              <a:gd name="connsiteX115" fmla="*/ 576973 w 611932"/>
              <a:gd name="connsiteY115" fmla="*/ 0 h 109895"/>
              <a:gd name="connsiteX116" fmla="*/ 595050 w 611932"/>
              <a:gd name="connsiteY116" fmla="*/ 5663 h 109895"/>
              <a:gd name="connsiteX117" fmla="*/ 607450 w 611932"/>
              <a:gd name="connsiteY117" fmla="*/ 23398 h 109895"/>
              <a:gd name="connsiteX118" fmla="*/ 611932 w 611932"/>
              <a:gd name="connsiteY118" fmla="*/ 54512 h 109895"/>
              <a:gd name="connsiteX119" fmla="*/ 607450 w 611932"/>
              <a:gd name="connsiteY119" fmla="*/ 85876 h 109895"/>
              <a:gd name="connsiteX120" fmla="*/ 595050 w 611932"/>
              <a:gd name="connsiteY120" fmla="*/ 104047 h 109895"/>
              <a:gd name="connsiteX121" fmla="*/ 576973 w 611932"/>
              <a:gd name="connsiteY121" fmla="*/ 109896 h 109895"/>
              <a:gd name="connsiteX122" fmla="*/ 576824 w 611932"/>
              <a:gd name="connsiteY122" fmla="*/ 98072 h 109895"/>
              <a:gd name="connsiteX123" fmla="*/ 588178 w 611932"/>
              <a:gd name="connsiteY123" fmla="*/ 94089 h 109895"/>
              <a:gd name="connsiteX124" fmla="*/ 595349 w 611932"/>
              <a:gd name="connsiteY124" fmla="*/ 80462 h 109895"/>
              <a:gd name="connsiteX125" fmla="*/ 597889 w 611932"/>
              <a:gd name="connsiteY125" fmla="*/ 54948 h 109895"/>
              <a:gd name="connsiteX126" fmla="*/ 595498 w 611932"/>
              <a:gd name="connsiteY126" fmla="*/ 29559 h 109895"/>
              <a:gd name="connsiteX127" fmla="*/ 588327 w 611932"/>
              <a:gd name="connsiteY127" fmla="*/ 15931 h 109895"/>
              <a:gd name="connsiteX128" fmla="*/ 576973 w 611932"/>
              <a:gd name="connsiteY128" fmla="*/ 11761 h 109895"/>
              <a:gd name="connsiteX129" fmla="*/ 565469 w 611932"/>
              <a:gd name="connsiteY129" fmla="*/ 15931 h 109895"/>
              <a:gd name="connsiteX130" fmla="*/ 558149 w 611932"/>
              <a:gd name="connsiteY130" fmla="*/ 29559 h 109895"/>
              <a:gd name="connsiteX131" fmla="*/ 555609 w 611932"/>
              <a:gd name="connsiteY131" fmla="*/ 54948 h 109895"/>
              <a:gd name="connsiteX132" fmla="*/ 558000 w 611932"/>
              <a:gd name="connsiteY132" fmla="*/ 80462 h 109895"/>
              <a:gd name="connsiteX133" fmla="*/ 565320 w 611932"/>
              <a:gd name="connsiteY133" fmla="*/ 94089 h 109895"/>
              <a:gd name="connsiteX134" fmla="*/ 576824 w 611932"/>
              <a:gd name="connsiteY13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1932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8" y="1307"/>
                </a:moveTo>
                <a:lnTo>
                  <a:pt x="144131" y="1307"/>
                </a:lnTo>
                <a:cubicBezTo>
                  <a:pt x="155884" y="1307"/>
                  <a:pt x="164798" y="3298"/>
                  <a:pt x="170873" y="7281"/>
                </a:cubicBezTo>
                <a:cubicBezTo>
                  <a:pt x="177048" y="11264"/>
                  <a:pt x="180136" y="17984"/>
                  <a:pt x="180136" y="27443"/>
                </a:cubicBezTo>
                <a:cubicBezTo>
                  <a:pt x="180136" y="35097"/>
                  <a:pt x="178194" y="40947"/>
                  <a:pt x="174310" y="44930"/>
                </a:cubicBezTo>
                <a:cubicBezTo>
                  <a:pt x="170425" y="48788"/>
                  <a:pt x="165246" y="51463"/>
                  <a:pt x="158772" y="52832"/>
                </a:cubicBezTo>
                <a:cubicBezTo>
                  <a:pt x="167039" y="53828"/>
                  <a:pt x="173314" y="56255"/>
                  <a:pt x="177596" y="60175"/>
                </a:cubicBezTo>
                <a:cubicBezTo>
                  <a:pt x="181879" y="63971"/>
                  <a:pt x="184020" y="69696"/>
                  <a:pt x="184020" y="77475"/>
                </a:cubicBezTo>
                <a:cubicBezTo>
                  <a:pt x="184020" y="84880"/>
                  <a:pt x="182277" y="90854"/>
                  <a:pt x="178792" y="95397"/>
                </a:cubicBezTo>
                <a:cubicBezTo>
                  <a:pt x="175305" y="100002"/>
                  <a:pt x="170525" y="103300"/>
                  <a:pt x="164449" y="105415"/>
                </a:cubicBezTo>
                <a:cubicBezTo>
                  <a:pt x="158374" y="107406"/>
                  <a:pt x="151501" y="108402"/>
                  <a:pt x="143832" y="108402"/>
                </a:cubicBezTo>
                <a:lnTo>
                  <a:pt x="107828" y="108402"/>
                </a:lnTo>
                <a:lnTo>
                  <a:pt x="107828" y="1307"/>
                </a:lnTo>
                <a:close/>
                <a:moveTo>
                  <a:pt x="143085" y="47045"/>
                </a:moveTo>
                <a:cubicBezTo>
                  <a:pt x="149858" y="47045"/>
                  <a:pt x="155336" y="45552"/>
                  <a:pt x="159519" y="42565"/>
                </a:cubicBezTo>
                <a:cubicBezTo>
                  <a:pt x="163802" y="39453"/>
                  <a:pt x="165943" y="34662"/>
                  <a:pt x="165943" y="28190"/>
                </a:cubicBezTo>
                <a:cubicBezTo>
                  <a:pt x="165943" y="22714"/>
                  <a:pt x="164051" y="19042"/>
                  <a:pt x="160266" y="17175"/>
                </a:cubicBezTo>
                <a:cubicBezTo>
                  <a:pt x="156481" y="15184"/>
                  <a:pt x="151103" y="14188"/>
                  <a:pt x="144131" y="14188"/>
                </a:cubicBezTo>
                <a:lnTo>
                  <a:pt x="121871" y="14188"/>
                </a:lnTo>
                <a:lnTo>
                  <a:pt x="121871" y="47045"/>
                </a:lnTo>
                <a:lnTo>
                  <a:pt x="143085" y="47045"/>
                </a:lnTo>
                <a:close/>
                <a:moveTo>
                  <a:pt x="143832" y="95707"/>
                </a:moveTo>
                <a:cubicBezTo>
                  <a:pt x="151402" y="95707"/>
                  <a:pt x="157527" y="94401"/>
                  <a:pt x="162208" y="91849"/>
                </a:cubicBezTo>
                <a:cubicBezTo>
                  <a:pt x="166889" y="89236"/>
                  <a:pt x="169230" y="84569"/>
                  <a:pt x="169230" y="77786"/>
                </a:cubicBezTo>
                <a:cubicBezTo>
                  <a:pt x="169230" y="71003"/>
                  <a:pt x="167039" y="66336"/>
                  <a:pt x="162657" y="63722"/>
                </a:cubicBezTo>
                <a:cubicBezTo>
                  <a:pt x="158374" y="61046"/>
                  <a:pt x="151551" y="59740"/>
                  <a:pt x="142189" y="59740"/>
                </a:cubicBezTo>
                <a:lnTo>
                  <a:pt x="121871" y="59740"/>
                </a:lnTo>
                <a:lnTo>
                  <a:pt x="121871" y="95707"/>
                </a:lnTo>
                <a:lnTo>
                  <a:pt x="143832" y="95707"/>
                </a:lnTo>
                <a:close/>
                <a:moveTo>
                  <a:pt x="204121" y="1307"/>
                </a:moveTo>
                <a:lnTo>
                  <a:pt x="270453" y="1307"/>
                </a:lnTo>
                <a:lnTo>
                  <a:pt x="270453" y="14188"/>
                </a:lnTo>
                <a:lnTo>
                  <a:pt x="218164" y="14188"/>
                </a:lnTo>
                <a:lnTo>
                  <a:pt x="218164" y="46547"/>
                </a:lnTo>
                <a:lnTo>
                  <a:pt x="262535" y="46547"/>
                </a:lnTo>
                <a:lnTo>
                  <a:pt x="262535" y="59242"/>
                </a:lnTo>
                <a:lnTo>
                  <a:pt x="218164" y="59242"/>
                </a:lnTo>
                <a:lnTo>
                  <a:pt x="218164" y="95707"/>
                </a:lnTo>
                <a:lnTo>
                  <a:pt x="271200" y="95707"/>
                </a:lnTo>
                <a:lnTo>
                  <a:pt x="271200" y="108402"/>
                </a:lnTo>
                <a:lnTo>
                  <a:pt x="204121" y="108402"/>
                </a:lnTo>
                <a:lnTo>
                  <a:pt x="204121" y="1307"/>
                </a:lnTo>
                <a:close/>
                <a:moveTo>
                  <a:pt x="293404" y="1307"/>
                </a:moveTo>
                <a:lnTo>
                  <a:pt x="358840" y="1307"/>
                </a:lnTo>
                <a:lnTo>
                  <a:pt x="358840" y="14188"/>
                </a:lnTo>
                <a:lnTo>
                  <a:pt x="307448" y="14188"/>
                </a:lnTo>
                <a:lnTo>
                  <a:pt x="307448" y="49720"/>
                </a:lnTo>
                <a:lnTo>
                  <a:pt x="351072" y="49720"/>
                </a:lnTo>
                <a:lnTo>
                  <a:pt x="351072" y="62415"/>
                </a:lnTo>
                <a:lnTo>
                  <a:pt x="307448" y="62415"/>
                </a:lnTo>
                <a:lnTo>
                  <a:pt x="307448" y="108402"/>
                </a:lnTo>
                <a:lnTo>
                  <a:pt x="293404" y="108402"/>
                </a:lnTo>
                <a:lnTo>
                  <a:pt x="293404" y="1307"/>
                </a:lnTo>
                <a:close/>
                <a:moveTo>
                  <a:pt x="378318" y="1307"/>
                </a:moveTo>
                <a:lnTo>
                  <a:pt x="443754" y="1307"/>
                </a:lnTo>
                <a:lnTo>
                  <a:pt x="443754" y="14188"/>
                </a:lnTo>
                <a:lnTo>
                  <a:pt x="392361" y="14188"/>
                </a:lnTo>
                <a:lnTo>
                  <a:pt x="392361" y="49720"/>
                </a:lnTo>
                <a:lnTo>
                  <a:pt x="435985" y="49720"/>
                </a:lnTo>
                <a:lnTo>
                  <a:pt x="435985" y="62415"/>
                </a:lnTo>
                <a:lnTo>
                  <a:pt x="392361" y="62415"/>
                </a:lnTo>
                <a:lnTo>
                  <a:pt x="392361" y="108402"/>
                </a:lnTo>
                <a:lnTo>
                  <a:pt x="378318" y="108402"/>
                </a:lnTo>
                <a:lnTo>
                  <a:pt x="378318" y="1307"/>
                </a:lnTo>
                <a:close/>
                <a:moveTo>
                  <a:pt x="463232" y="1307"/>
                </a:moveTo>
                <a:lnTo>
                  <a:pt x="528668" y="1307"/>
                </a:lnTo>
                <a:lnTo>
                  <a:pt x="528668" y="14188"/>
                </a:lnTo>
                <a:lnTo>
                  <a:pt x="477275" y="14188"/>
                </a:lnTo>
                <a:lnTo>
                  <a:pt x="477275" y="49720"/>
                </a:lnTo>
                <a:lnTo>
                  <a:pt x="520899" y="49720"/>
                </a:lnTo>
                <a:lnTo>
                  <a:pt x="520899" y="62415"/>
                </a:lnTo>
                <a:lnTo>
                  <a:pt x="477275" y="62415"/>
                </a:lnTo>
                <a:lnTo>
                  <a:pt x="477275" y="108402"/>
                </a:lnTo>
                <a:lnTo>
                  <a:pt x="463232" y="108402"/>
                </a:lnTo>
                <a:lnTo>
                  <a:pt x="463232" y="1307"/>
                </a:lnTo>
                <a:close/>
                <a:moveTo>
                  <a:pt x="576973" y="109896"/>
                </a:moveTo>
                <a:cubicBezTo>
                  <a:pt x="570200" y="109896"/>
                  <a:pt x="564125" y="107967"/>
                  <a:pt x="558747" y="104047"/>
                </a:cubicBezTo>
                <a:cubicBezTo>
                  <a:pt x="553368" y="100188"/>
                  <a:pt x="549135" y="94214"/>
                  <a:pt x="546048" y="86125"/>
                </a:cubicBezTo>
                <a:cubicBezTo>
                  <a:pt x="543060" y="77972"/>
                  <a:pt x="541566" y="67518"/>
                  <a:pt x="541566" y="54761"/>
                </a:cubicBezTo>
                <a:cubicBezTo>
                  <a:pt x="541566" y="41942"/>
                  <a:pt x="543060" y="31488"/>
                  <a:pt x="546048" y="23398"/>
                </a:cubicBezTo>
                <a:cubicBezTo>
                  <a:pt x="549135" y="15371"/>
                  <a:pt x="553368" y="9459"/>
                  <a:pt x="558747" y="5663"/>
                </a:cubicBezTo>
                <a:cubicBezTo>
                  <a:pt x="564125" y="1867"/>
                  <a:pt x="570200" y="0"/>
                  <a:pt x="576973" y="0"/>
                </a:cubicBezTo>
                <a:cubicBezTo>
                  <a:pt x="583746" y="0"/>
                  <a:pt x="589771" y="1867"/>
                  <a:pt x="595050" y="5663"/>
                </a:cubicBezTo>
                <a:cubicBezTo>
                  <a:pt x="600329" y="9459"/>
                  <a:pt x="604462" y="15371"/>
                  <a:pt x="607450" y="23398"/>
                </a:cubicBezTo>
                <a:cubicBezTo>
                  <a:pt x="610438" y="31363"/>
                  <a:pt x="611932" y="41756"/>
                  <a:pt x="611932" y="54512"/>
                </a:cubicBezTo>
                <a:cubicBezTo>
                  <a:pt x="611932" y="67145"/>
                  <a:pt x="610438" y="77599"/>
                  <a:pt x="607450" y="85876"/>
                </a:cubicBezTo>
                <a:cubicBezTo>
                  <a:pt x="604462" y="94027"/>
                  <a:pt x="600329" y="100064"/>
                  <a:pt x="595050" y="104047"/>
                </a:cubicBezTo>
                <a:cubicBezTo>
                  <a:pt x="589771" y="107967"/>
                  <a:pt x="583746" y="109896"/>
                  <a:pt x="576973" y="109896"/>
                </a:cubicBezTo>
                <a:close/>
                <a:moveTo>
                  <a:pt x="576824" y="98072"/>
                </a:moveTo>
                <a:cubicBezTo>
                  <a:pt x="581306" y="98072"/>
                  <a:pt x="585090" y="96766"/>
                  <a:pt x="588178" y="94089"/>
                </a:cubicBezTo>
                <a:cubicBezTo>
                  <a:pt x="591365" y="91289"/>
                  <a:pt x="593755" y="86747"/>
                  <a:pt x="595349" y="80462"/>
                </a:cubicBezTo>
                <a:cubicBezTo>
                  <a:pt x="597042" y="74114"/>
                  <a:pt x="597889" y="65589"/>
                  <a:pt x="597889" y="54948"/>
                </a:cubicBezTo>
                <a:cubicBezTo>
                  <a:pt x="597889" y="44307"/>
                  <a:pt x="597092" y="35844"/>
                  <a:pt x="595498" y="29559"/>
                </a:cubicBezTo>
                <a:cubicBezTo>
                  <a:pt x="593905" y="23150"/>
                  <a:pt x="591514" y="18669"/>
                  <a:pt x="588327" y="15931"/>
                </a:cubicBezTo>
                <a:cubicBezTo>
                  <a:pt x="585240" y="13192"/>
                  <a:pt x="581455" y="11761"/>
                  <a:pt x="576973" y="11761"/>
                </a:cubicBezTo>
                <a:cubicBezTo>
                  <a:pt x="572491" y="11761"/>
                  <a:pt x="568657" y="13192"/>
                  <a:pt x="565469" y="15931"/>
                </a:cubicBezTo>
                <a:cubicBezTo>
                  <a:pt x="562282" y="18669"/>
                  <a:pt x="559842" y="23150"/>
                  <a:pt x="558149" y="29559"/>
                </a:cubicBezTo>
                <a:cubicBezTo>
                  <a:pt x="556456" y="35844"/>
                  <a:pt x="555609" y="44307"/>
                  <a:pt x="555609" y="54948"/>
                </a:cubicBezTo>
                <a:cubicBezTo>
                  <a:pt x="555609" y="65589"/>
                  <a:pt x="556406" y="74114"/>
                  <a:pt x="558000" y="80462"/>
                </a:cubicBezTo>
                <a:cubicBezTo>
                  <a:pt x="559693" y="86747"/>
                  <a:pt x="562133" y="91289"/>
                  <a:pt x="565320" y="94089"/>
                </a:cubicBezTo>
                <a:cubicBezTo>
                  <a:pt x="568507" y="96766"/>
                  <a:pt x="572342" y="98072"/>
                  <a:pt x="576824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9" name="Полилиния 998">
            <a:extLst>
              <a:ext uri="{FF2B5EF4-FFF2-40B4-BE49-F238E27FC236}">
                <a16:creationId xmlns:a16="http://schemas.microsoft.com/office/drawing/2014/main" id="{44AFF09D-F746-C2A3-0059-83B1271F6BD4}"/>
              </a:ext>
            </a:extLst>
          </p:cNvPr>
          <p:cNvSpPr/>
          <p:nvPr userDrawn="1"/>
        </p:nvSpPr>
        <p:spPr>
          <a:xfrm>
            <a:off x="13814863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1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1FF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0" name="Полилиния 999">
            <a:extLst>
              <a:ext uri="{FF2B5EF4-FFF2-40B4-BE49-F238E27FC236}">
                <a16:creationId xmlns:a16="http://schemas.microsoft.com/office/drawing/2014/main" id="{82C4D50C-9299-E9C5-6CBB-CDE500B42CAE}"/>
              </a:ext>
            </a:extLst>
          </p:cNvPr>
          <p:cNvSpPr/>
          <p:nvPr userDrawn="1"/>
        </p:nvSpPr>
        <p:spPr>
          <a:xfrm>
            <a:off x="13938073" y="10627147"/>
            <a:ext cx="694669" cy="126725"/>
          </a:xfrm>
          <a:custGeom>
            <a:avLst/>
            <a:gdLst>
              <a:gd name="connsiteX0" fmla="*/ 22111 w 595243"/>
              <a:gd name="connsiteY0" fmla="*/ 107095 h 108588"/>
              <a:gd name="connsiteX1" fmla="*/ 10159 w 595243"/>
              <a:gd name="connsiteY1" fmla="*/ 107095 h 108588"/>
              <a:gd name="connsiteX2" fmla="*/ 16434 w 595243"/>
              <a:gd name="connsiteY2" fmla="*/ 76168 h 108588"/>
              <a:gd name="connsiteX3" fmla="*/ 0 w 595243"/>
              <a:gd name="connsiteY3" fmla="*/ 76168 h 108588"/>
              <a:gd name="connsiteX4" fmla="*/ 0 w 595243"/>
              <a:gd name="connsiteY4" fmla="*/ 65713 h 108588"/>
              <a:gd name="connsiteX5" fmla="*/ 18675 w 595243"/>
              <a:gd name="connsiteY5" fmla="*/ 65713 h 108588"/>
              <a:gd name="connsiteX6" fmla="*/ 24202 w 595243"/>
              <a:gd name="connsiteY6" fmla="*/ 38519 h 108588"/>
              <a:gd name="connsiteX7" fmla="*/ 4034 w 595243"/>
              <a:gd name="connsiteY7" fmla="*/ 38519 h 108588"/>
              <a:gd name="connsiteX8" fmla="*/ 4034 w 595243"/>
              <a:gd name="connsiteY8" fmla="*/ 28065 h 108588"/>
              <a:gd name="connsiteX9" fmla="*/ 26294 w 595243"/>
              <a:gd name="connsiteY9" fmla="*/ 28065 h 108588"/>
              <a:gd name="connsiteX10" fmla="*/ 32120 w 595243"/>
              <a:gd name="connsiteY10" fmla="*/ 0 h 108588"/>
              <a:gd name="connsiteX11" fmla="*/ 44072 w 595243"/>
              <a:gd name="connsiteY11" fmla="*/ 0 h 108588"/>
              <a:gd name="connsiteX12" fmla="*/ 38246 w 595243"/>
              <a:gd name="connsiteY12" fmla="*/ 28065 h 108588"/>
              <a:gd name="connsiteX13" fmla="*/ 60655 w 595243"/>
              <a:gd name="connsiteY13" fmla="*/ 28065 h 108588"/>
              <a:gd name="connsiteX14" fmla="*/ 66482 w 595243"/>
              <a:gd name="connsiteY14" fmla="*/ 0 h 108588"/>
              <a:gd name="connsiteX15" fmla="*/ 78434 w 595243"/>
              <a:gd name="connsiteY15" fmla="*/ 0 h 108588"/>
              <a:gd name="connsiteX16" fmla="*/ 72607 w 595243"/>
              <a:gd name="connsiteY16" fmla="*/ 28065 h 108588"/>
              <a:gd name="connsiteX17" fmla="*/ 89340 w 595243"/>
              <a:gd name="connsiteY17" fmla="*/ 28065 h 108588"/>
              <a:gd name="connsiteX18" fmla="*/ 89340 w 595243"/>
              <a:gd name="connsiteY18" fmla="*/ 38519 h 108588"/>
              <a:gd name="connsiteX19" fmla="*/ 70516 w 595243"/>
              <a:gd name="connsiteY19" fmla="*/ 38519 h 108588"/>
              <a:gd name="connsiteX20" fmla="*/ 64988 w 595243"/>
              <a:gd name="connsiteY20" fmla="*/ 65713 h 108588"/>
              <a:gd name="connsiteX21" fmla="*/ 85306 w 595243"/>
              <a:gd name="connsiteY21" fmla="*/ 65713 h 108588"/>
              <a:gd name="connsiteX22" fmla="*/ 85306 w 595243"/>
              <a:gd name="connsiteY22" fmla="*/ 76168 h 108588"/>
              <a:gd name="connsiteX23" fmla="*/ 62747 w 595243"/>
              <a:gd name="connsiteY23" fmla="*/ 76168 h 108588"/>
              <a:gd name="connsiteX24" fmla="*/ 56472 w 595243"/>
              <a:gd name="connsiteY24" fmla="*/ 107095 h 108588"/>
              <a:gd name="connsiteX25" fmla="*/ 44520 w 595243"/>
              <a:gd name="connsiteY25" fmla="*/ 107095 h 108588"/>
              <a:gd name="connsiteX26" fmla="*/ 50795 w 595243"/>
              <a:gd name="connsiteY26" fmla="*/ 76168 h 108588"/>
              <a:gd name="connsiteX27" fmla="*/ 28386 w 595243"/>
              <a:gd name="connsiteY27" fmla="*/ 76168 h 108588"/>
              <a:gd name="connsiteX28" fmla="*/ 22111 w 595243"/>
              <a:gd name="connsiteY28" fmla="*/ 107095 h 108588"/>
              <a:gd name="connsiteX29" fmla="*/ 30626 w 595243"/>
              <a:gd name="connsiteY29" fmla="*/ 65713 h 108588"/>
              <a:gd name="connsiteX30" fmla="*/ 53036 w 595243"/>
              <a:gd name="connsiteY30" fmla="*/ 65713 h 108588"/>
              <a:gd name="connsiteX31" fmla="*/ 58564 w 595243"/>
              <a:gd name="connsiteY31" fmla="*/ 38519 h 108588"/>
              <a:gd name="connsiteX32" fmla="*/ 36154 w 595243"/>
              <a:gd name="connsiteY32" fmla="*/ 38519 h 108588"/>
              <a:gd name="connsiteX33" fmla="*/ 30626 w 595243"/>
              <a:gd name="connsiteY33" fmla="*/ 65713 h 108588"/>
              <a:gd name="connsiteX34" fmla="*/ 107828 w 595243"/>
              <a:gd name="connsiteY34" fmla="*/ 0 h 108588"/>
              <a:gd name="connsiteX35" fmla="*/ 174160 w 595243"/>
              <a:gd name="connsiteY35" fmla="*/ 0 h 108588"/>
              <a:gd name="connsiteX36" fmla="*/ 174160 w 595243"/>
              <a:gd name="connsiteY36" fmla="*/ 12881 h 108588"/>
              <a:gd name="connsiteX37" fmla="*/ 121871 w 595243"/>
              <a:gd name="connsiteY37" fmla="*/ 12881 h 108588"/>
              <a:gd name="connsiteX38" fmla="*/ 121871 w 595243"/>
              <a:gd name="connsiteY38" fmla="*/ 45240 h 108588"/>
              <a:gd name="connsiteX39" fmla="*/ 166242 w 595243"/>
              <a:gd name="connsiteY39" fmla="*/ 45240 h 108588"/>
              <a:gd name="connsiteX40" fmla="*/ 166242 w 595243"/>
              <a:gd name="connsiteY40" fmla="*/ 57934 h 108588"/>
              <a:gd name="connsiteX41" fmla="*/ 121871 w 595243"/>
              <a:gd name="connsiteY41" fmla="*/ 57934 h 108588"/>
              <a:gd name="connsiteX42" fmla="*/ 121871 w 595243"/>
              <a:gd name="connsiteY42" fmla="*/ 94400 h 108588"/>
              <a:gd name="connsiteX43" fmla="*/ 174907 w 595243"/>
              <a:gd name="connsiteY43" fmla="*/ 94400 h 108588"/>
              <a:gd name="connsiteX44" fmla="*/ 174907 w 595243"/>
              <a:gd name="connsiteY44" fmla="*/ 107095 h 108588"/>
              <a:gd name="connsiteX45" fmla="*/ 107828 w 595243"/>
              <a:gd name="connsiteY45" fmla="*/ 107095 h 108588"/>
              <a:gd name="connsiteX46" fmla="*/ 107828 w 595243"/>
              <a:gd name="connsiteY46" fmla="*/ 0 h 108588"/>
              <a:gd name="connsiteX47" fmla="*/ 240144 w 595243"/>
              <a:gd name="connsiteY47" fmla="*/ 107095 h 108588"/>
              <a:gd name="connsiteX48" fmla="*/ 226549 w 595243"/>
              <a:gd name="connsiteY48" fmla="*/ 107095 h 108588"/>
              <a:gd name="connsiteX49" fmla="*/ 226549 w 595243"/>
              <a:gd name="connsiteY49" fmla="*/ 16864 h 108588"/>
              <a:gd name="connsiteX50" fmla="*/ 196968 w 595243"/>
              <a:gd name="connsiteY50" fmla="*/ 39577 h 108588"/>
              <a:gd name="connsiteX51" fmla="*/ 196968 w 595243"/>
              <a:gd name="connsiteY51" fmla="*/ 24518 h 108588"/>
              <a:gd name="connsiteX52" fmla="*/ 228790 w 595243"/>
              <a:gd name="connsiteY52" fmla="*/ 0 h 108588"/>
              <a:gd name="connsiteX53" fmla="*/ 240144 w 595243"/>
              <a:gd name="connsiteY53" fmla="*/ 0 h 108588"/>
              <a:gd name="connsiteX54" fmla="*/ 240144 w 595243"/>
              <a:gd name="connsiteY54" fmla="*/ 107095 h 108588"/>
              <a:gd name="connsiteX55" fmla="*/ 279255 w 595243"/>
              <a:gd name="connsiteY55" fmla="*/ 0 h 108588"/>
              <a:gd name="connsiteX56" fmla="*/ 344691 w 595243"/>
              <a:gd name="connsiteY56" fmla="*/ 0 h 108588"/>
              <a:gd name="connsiteX57" fmla="*/ 344691 w 595243"/>
              <a:gd name="connsiteY57" fmla="*/ 12881 h 108588"/>
              <a:gd name="connsiteX58" fmla="*/ 293298 w 595243"/>
              <a:gd name="connsiteY58" fmla="*/ 12881 h 108588"/>
              <a:gd name="connsiteX59" fmla="*/ 293298 w 595243"/>
              <a:gd name="connsiteY59" fmla="*/ 48413 h 108588"/>
              <a:gd name="connsiteX60" fmla="*/ 336922 w 595243"/>
              <a:gd name="connsiteY60" fmla="*/ 48413 h 108588"/>
              <a:gd name="connsiteX61" fmla="*/ 336922 w 595243"/>
              <a:gd name="connsiteY61" fmla="*/ 61108 h 108588"/>
              <a:gd name="connsiteX62" fmla="*/ 293298 w 595243"/>
              <a:gd name="connsiteY62" fmla="*/ 61108 h 108588"/>
              <a:gd name="connsiteX63" fmla="*/ 293298 w 595243"/>
              <a:gd name="connsiteY63" fmla="*/ 107095 h 108588"/>
              <a:gd name="connsiteX64" fmla="*/ 279255 w 595243"/>
              <a:gd name="connsiteY64" fmla="*/ 107095 h 108588"/>
              <a:gd name="connsiteX65" fmla="*/ 279255 w 595243"/>
              <a:gd name="connsiteY65" fmla="*/ 0 h 108588"/>
              <a:gd name="connsiteX66" fmla="*/ 364169 w 595243"/>
              <a:gd name="connsiteY66" fmla="*/ 0 h 108588"/>
              <a:gd name="connsiteX67" fmla="*/ 429605 w 595243"/>
              <a:gd name="connsiteY67" fmla="*/ 0 h 108588"/>
              <a:gd name="connsiteX68" fmla="*/ 429605 w 595243"/>
              <a:gd name="connsiteY68" fmla="*/ 12881 h 108588"/>
              <a:gd name="connsiteX69" fmla="*/ 378212 w 595243"/>
              <a:gd name="connsiteY69" fmla="*/ 12881 h 108588"/>
              <a:gd name="connsiteX70" fmla="*/ 378212 w 595243"/>
              <a:gd name="connsiteY70" fmla="*/ 48413 h 108588"/>
              <a:gd name="connsiteX71" fmla="*/ 421836 w 595243"/>
              <a:gd name="connsiteY71" fmla="*/ 48413 h 108588"/>
              <a:gd name="connsiteX72" fmla="*/ 421836 w 595243"/>
              <a:gd name="connsiteY72" fmla="*/ 61108 h 108588"/>
              <a:gd name="connsiteX73" fmla="*/ 378212 w 595243"/>
              <a:gd name="connsiteY73" fmla="*/ 61108 h 108588"/>
              <a:gd name="connsiteX74" fmla="*/ 378212 w 595243"/>
              <a:gd name="connsiteY74" fmla="*/ 107095 h 108588"/>
              <a:gd name="connsiteX75" fmla="*/ 364169 w 595243"/>
              <a:gd name="connsiteY75" fmla="*/ 107095 h 108588"/>
              <a:gd name="connsiteX76" fmla="*/ 364169 w 595243"/>
              <a:gd name="connsiteY76" fmla="*/ 0 h 108588"/>
              <a:gd name="connsiteX77" fmla="*/ 449076 w 595243"/>
              <a:gd name="connsiteY77" fmla="*/ 0 h 108588"/>
              <a:gd name="connsiteX78" fmla="*/ 514512 w 595243"/>
              <a:gd name="connsiteY78" fmla="*/ 0 h 108588"/>
              <a:gd name="connsiteX79" fmla="*/ 514512 w 595243"/>
              <a:gd name="connsiteY79" fmla="*/ 12881 h 108588"/>
              <a:gd name="connsiteX80" fmla="*/ 463120 w 595243"/>
              <a:gd name="connsiteY80" fmla="*/ 12881 h 108588"/>
              <a:gd name="connsiteX81" fmla="*/ 463120 w 595243"/>
              <a:gd name="connsiteY81" fmla="*/ 48413 h 108588"/>
              <a:gd name="connsiteX82" fmla="*/ 506744 w 595243"/>
              <a:gd name="connsiteY82" fmla="*/ 48413 h 108588"/>
              <a:gd name="connsiteX83" fmla="*/ 506744 w 595243"/>
              <a:gd name="connsiteY83" fmla="*/ 61108 h 108588"/>
              <a:gd name="connsiteX84" fmla="*/ 463120 w 595243"/>
              <a:gd name="connsiteY84" fmla="*/ 61108 h 108588"/>
              <a:gd name="connsiteX85" fmla="*/ 463120 w 595243"/>
              <a:gd name="connsiteY85" fmla="*/ 107095 h 108588"/>
              <a:gd name="connsiteX86" fmla="*/ 449076 w 595243"/>
              <a:gd name="connsiteY86" fmla="*/ 107095 h 108588"/>
              <a:gd name="connsiteX87" fmla="*/ 449076 w 595243"/>
              <a:gd name="connsiteY87" fmla="*/ 0 h 108588"/>
              <a:gd name="connsiteX88" fmla="*/ 557894 w 595243"/>
              <a:gd name="connsiteY88" fmla="*/ 108588 h 108588"/>
              <a:gd name="connsiteX89" fmla="*/ 529359 w 595243"/>
              <a:gd name="connsiteY89" fmla="*/ 100997 h 108588"/>
              <a:gd name="connsiteX90" fmla="*/ 529359 w 595243"/>
              <a:gd name="connsiteY90" fmla="*/ 86311 h 108588"/>
              <a:gd name="connsiteX91" fmla="*/ 542506 w 595243"/>
              <a:gd name="connsiteY91" fmla="*/ 93965 h 108588"/>
              <a:gd name="connsiteX92" fmla="*/ 557894 w 595243"/>
              <a:gd name="connsiteY92" fmla="*/ 96329 h 108588"/>
              <a:gd name="connsiteX93" fmla="*/ 574925 w 595243"/>
              <a:gd name="connsiteY93" fmla="*/ 89608 h 108588"/>
              <a:gd name="connsiteX94" fmla="*/ 581050 w 595243"/>
              <a:gd name="connsiteY94" fmla="*/ 71998 h 108588"/>
              <a:gd name="connsiteX95" fmla="*/ 575074 w 595243"/>
              <a:gd name="connsiteY95" fmla="*/ 54947 h 108588"/>
              <a:gd name="connsiteX96" fmla="*/ 559985 w 595243"/>
              <a:gd name="connsiteY96" fmla="*/ 49596 h 108588"/>
              <a:gd name="connsiteX97" fmla="*/ 549378 w 595243"/>
              <a:gd name="connsiteY97" fmla="*/ 51836 h 108588"/>
              <a:gd name="connsiteX98" fmla="*/ 543253 w 595243"/>
              <a:gd name="connsiteY98" fmla="*/ 56316 h 108588"/>
              <a:gd name="connsiteX99" fmla="*/ 532347 w 595243"/>
              <a:gd name="connsiteY99" fmla="*/ 56316 h 108588"/>
              <a:gd name="connsiteX100" fmla="*/ 532347 w 595243"/>
              <a:gd name="connsiteY100" fmla="*/ 0 h 108588"/>
              <a:gd name="connsiteX101" fmla="*/ 590313 w 595243"/>
              <a:gd name="connsiteY101" fmla="*/ 0 h 108588"/>
              <a:gd name="connsiteX102" fmla="*/ 590313 w 595243"/>
              <a:gd name="connsiteY102" fmla="*/ 12881 h 108588"/>
              <a:gd name="connsiteX103" fmla="*/ 544597 w 595243"/>
              <a:gd name="connsiteY103" fmla="*/ 12881 h 108588"/>
              <a:gd name="connsiteX104" fmla="*/ 544597 w 595243"/>
              <a:gd name="connsiteY104" fmla="*/ 43498 h 108588"/>
              <a:gd name="connsiteX105" fmla="*/ 551918 w 595243"/>
              <a:gd name="connsiteY105" fmla="*/ 39577 h 108588"/>
              <a:gd name="connsiteX106" fmla="*/ 562226 w 595243"/>
              <a:gd name="connsiteY106" fmla="*/ 37772 h 108588"/>
              <a:gd name="connsiteX107" fmla="*/ 578959 w 595243"/>
              <a:gd name="connsiteY107" fmla="*/ 41693 h 108588"/>
              <a:gd name="connsiteX108" fmla="*/ 590761 w 595243"/>
              <a:gd name="connsiteY108" fmla="*/ 53019 h 108588"/>
              <a:gd name="connsiteX109" fmla="*/ 595243 w 595243"/>
              <a:gd name="connsiteY109" fmla="*/ 71687 h 108588"/>
              <a:gd name="connsiteX110" fmla="*/ 590612 w 595243"/>
              <a:gd name="connsiteY110" fmla="*/ 91103 h 108588"/>
              <a:gd name="connsiteX111" fmla="*/ 577764 w 595243"/>
              <a:gd name="connsiteY111" fmla="*/ 104108 h 108588"/>
              <a:gd name="connsiteX112" fmla="*/ 557894 w 595243"/>
              <a:gd name="connsiteY112" fmla="*/ 108588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595243" h="108588">
                <a:moveTo>
                  <a:pt x="22111" y="107095"/>
                </a:move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8" y="0"/>
                </a:moveTo>
                <a:lnTo>
                  <a:pt x="174160" y="0"/>
                </a:lnTo>
                <a:lnTo>
                  <a:pt x="174160" y="12881"/>
                </a:lnTo>
                <a:lnTo>
                  <a:pt x="121871" y="12881"/>
                </a:lnTo>
                <a:lnTo>
                  <a:pt x="121871" y="45240"/>
                </a:lnTo>
                <a:lnTo>
                  <a:pt x="166242" y="45240"/>
                </a:lnTo>
                <a:lnTo>
                  <a:pt x="166242" y="57934"/>
                </a:lnTo>
                <a:lnTo>
                  <a:pt x="121871" y="57934"/>
                </a:lnTo>
                <a:lnTo>
                  <a:pt x="121871" y="94400"/>
                </a:lnTo>
                <a:lnTo>
                  <a:pt x="174907" y="94400"/>
                </a:lnTo>
                <a:lnTo>
                  <a:pt x="174907" y="107095"/>
                </a:lnTo>
                <a:lnTo>
                  <a:pt x="107828" y="107095"/>
                </a:lnTo>
                <a:lnTo>
                  <a:pt x="107828" y="0"/>
                </a:lnTo>
                <a:close/>
                <a:moveTo>
                  <a:pt x="240144" y="107095"/>
                </a:moveTo>
                <a:lnTo>
                  <a:pt x="226549" y="107095"/>
                </a:lnTo>
                <a:lnTo>
                  <a:pt x="226549" y="16864"/>
                </a:lnTo>
                <a:lnTo>
                  <a:pt x="196968" y="39577"/>
                </a:lnTo>
                <a:lnTo>
                  <a:pt x="196968" y="24518"/>
                </a:lnTo>
                <a:lnTo>
                  <a:pt x="228790" y="0"/>
                </a:lnTo>
                <a:lnTo>
                  <a:pt x="240144" y="0"/>
                </a:lnTo>
                <a:lnTo>
                  <a:pt x="240144" y="107095"/>
                </a:lnTo>
                <a:close/>
                <a:moveTo>
                  <a:pt x="279255" y="0"/>
                </a:moveTo>
                <a:lnTo>
                  <a:pt x="344691" y="0"/>
                </a:lnTo>
                <a:lnTo>
                  <a:pt x="344691" y="12881"/>
                </a:lnTo>
                <a:lnTo>
                  <a:pt x="293298" y="12881"/>
                </a:lnTo>
                <a:lnTo>
                  <a:pt x="293298" y="48413"/>
                </a:lnTo>
                <a:lnTo>
                  <a:pt x="336922" y="48413"/>
                </a:lnTo>
                <a:lnTo>
                  <a:pt x="336922" y="61108"/>
                </a:lnTo>
                <a:lnTo>
                  <a:pt x="293298" y="61108"/>
                </a:lnTo>
                <a:lnTo>
                  <a:pt x="293298" y="107095"/>
                </a:lnTo>
                <a:lnTo>
                  <a:pt x="279255" y="107095"/>
                </a:lnTo>
                <a:lnTo>
                  <a:pt x="279255" y="0"/>
                </a:lnTo>
                <a:close/>
                <a:moveTo>
                  <a:pt x="364169" y="0"/>
                </a:moveTo>
                <a:lnTo>
                  <a:pt x="429605" y="0"/>
                </a:lnTo>
                <a:lnTo>
                  <a:pt x="429605" y="12881"/>
                </a:lnTo>
                <a:lnTo>
                  <a:pt x="378212" y="12881"/>
                </a:lnTo>
                <a:lnTo>
                  <a:pt x="378212" y="48413"/>
                </a:lnTo>
                <a:lnTo>
                  <a:pt x="421836" y="48413"/>
                </a:lnTo>
                <a:lnTo>
                  <a:pt x="421836" y="61108"/>
                </a:lnTo>
                <a:lnTo>
                  <a:pt x="378212" y="61108"/>
                </a:lnTo>
                <a:lnTo>
                  <a:pt x="378212" y="107095"/>
                </a:lnTo>
                <a:lnTo>
                  <a:pt x="364169" y="107095"/>
                </a:lnTo>
                <a:lnTo>
                  <a:pt x="364169" y="0"/>
                </a:lnTo>
                <a:close/>
                <a:moveTo>
                  <a:pt x="449076" y="0"/>
                </a:moveTo>
                <a:lnTo>
                  <a:pt x="514512" y="0"/>
                </a:lnTo>
                <a:lnTo>
                  <a:pt x="514512" y="12881"/>
                </a:lnTo>
                <a:lnTo>
                  <a:pt x="463120" y="12881"/>
                </a:lnTo>
                <a:lnTo>
                  <a:pt x="463120" y="48413"/>
                </a:lnTo>
                <a:lnTo>
                  <a:pt x="506744" y="48413"/>
                </a:lnTo>
                <a:lnTo>
                  <a:pt x="506744" y="61108"/>
                </a:lnTo>
                <a:lnTo>
                  <a:pt x="463120" y="61108"/>
                </a:lnTo>
                <a:lnTo>
                  <a:pt x="463120" y="107095"/>
                </a:lnTo>
                <a:lnTo>
                  <a:pt x="449076" y="107095"/>
                </a:lnTo>
                <a:lnTo>
                  <a:pt x="449076" y="0"/>
                </a:lnTo>
                <a:close/>
                <a:moveTo>
                  <a:pt x="557894" y="108588"/>
                </a:moveTo>
                <a:cubicBezTo>
                  <a:pt x="545942" y="108588"/>
                  <a:pt x="536430" y="106037"/>
                  <a:pt x="529359" y="100997"/>
                </a:cubicBezTo>
                <a:lnTo>
                  <a:pt x="529359" y="86311"/>
                </a:lnTo>
                <a:cubicBezTo>
                  <a:pt x="533542" y="89733"/>
                  <a:pt x="537924" y="92284"/>
                  <a:pt x="542506" y="93965"/>
                </a:cubicBezTo>
                <a:cubicBezTo>
                  <a:pt x="547087" y="95520"/>
                  <a:pt x="552217" y="96329"/>
                  <a:pt x="557894" y="96329"/>
                </a:cubicBezTo>
                <a:cubicBezTo>
                  <a:pt x="565264" y="96329"/>
                  <a:pt x="570941" y="94089"/>
                  <a:pt x="574925" y="89608"/>
                </a:cubicBezTo>
                <a:cubicBezTo>
                  <a:pt x="579009" y="85128"/>
                  <a:pt x="581050" y="79279"/>
                  <a:pt x="581050" y="71998"/>
                </a:cubicBezTo>
                <a:cubicBezTo>
                  <a:pt x="581050" y="64219"/>
                  <a:pt x="579058" y="58556"/>
                  <a:pt x="575074" y="54947"/>
                </a:cubicBezTo>
                <a:cubicBezTo>
                  <a:pt x="571091" y="51401"/>
                  <a:pt x="566061" y="49596"/>
                  <a:pt x="559985" y="49596"/>
                </a:cubicBezTo>
                <a:cubicBezTo>
                  <a:pt x="555603" y="49596"/>
                  <a:pt x="552067" y="50343"/>
                  <a:pt x="549378" y="51836"/>
                </a:cubicBezTo>
                <a:cubicBezTo>
                  <a:pt x="546689" y="53205"/>
                  <a:pt x="544647" y="54698"/>
                  <a:pt x="543253" y="56316"/>
                </a:cubicBezTo>
                <a:lnTo>
                  <a:pt x="532347" y="56316"/>
                </a:lnTo>
                <a:lnTo>
                  <a:pt x="532347" y="0"/>
                </a:lnTo>
                <a:lnTo>
                  <a:pt x="590313" y="0"/>
                </a:lnTo>
                <a:lnTo>
                  <a:pt x="590313" y="12881"/>
                </a:lnTo>
                <a:lnTo>
                  <a:pt x="544597" y="12881"/>
                </a:lnTo>
                <a:lnTo>
                  <a:pt x="544597" y="43498"/>
                </a:lnTo>
                <a:cubicBezTo>
                  <a:pt x="546589" y="42004"/>
                  <a:pt x="549030" y="40697"/>
                  <a:pt x="551918" y="39577"/>
                </a:cubicBezTo>
                <a:cubicBezTo>
                  <a:pt x="554806" y="38394"/>
                  <a:pt x="558242" y="37772"/>
                  <a:pt x="562226" y="37772"/>
                </a:cubicBezTo>
                <a:cubicBezTo>
                  <a:pt x="568401" y="37772"/>
                  <a:pt x="573979" y="39079"/>
                  <a:pt x="578959" y="41693"/>
                </a:cubicBezTo>
                <a:cubicBezTo>
                  <a:pt x="583939" y="44182"/>
                  <a:pt x="587873" y="47978"/>
                  <a:pt x="590761" y="53019"/>
                </a:cubicBezTo>
                <a:cubicBezTo>
                  <a:pt x="593749" y="57997"/>
                  <a:pt x="595243" y="64219"/>
                  <a:pt x="595243" y="71687"/>
                </a:cubicBezTo>
                <a:cubicBezTo>
                  <a:pt x="595243" y="79092"/>
                  <a:pt x="593699" y="85564"/>
                  <a:pt x="590612" y="91103"/>
                </a:cubicBezTo>
                <a:cubicBezTo>
                  <a:pt x="587624" y="96702"/>
                  <a:pt x="583341" y="100997"/>
                  <a:pt x="577764" y="104108"/>
                </a:cubicBezTo>
                <a:cubicBezTo>
                  <a:pt x="572186" y="107095"/>
                  <a:pt x="565563" y="108588"/>
                  <a:pt x="557894" y="10858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1" name="Полилиния 1000">
            <a:extLst>
              <a:ext uri="{FF2B5EF4-FFF2-40B4-BE49-F238E27FC236}">
                <a16:creationId xmlns:a16="http://schemas.microsoft.com/office/drawing/2014/main" id="{DF02BCEA-AA8D-8C40-339C-06F5D7D3CCD1}"/>
              </a:ext>
            </a:extLst>
          </p:cNvPr>
          <p:cNvSpPr/>
          <p:nvPr userDrawn="1"/>
        </p:nvSpPr>
        <p:spPr>
          <a:xfrm>
            <a:off x="18445574" y="3787620"/>
            <a:ext cx="1398954" cy="726227"/>
          </a:xfrm>
          <a:custGeom>
            <a:avLst/>
            <a:gdLst>
              <a:gd name="connsiteX0" fmla="*/ 850 w 1198727"/>
              <a:gd name="connsiteY0" fmla="*/ 1022 h 622284"/>
              <a:gd name="connsiteX1" fmla="*/ 1199578 w 1198727"/>
              <a:gd name="connsiteY1" fmla="*/ 1022 h 622284"/>
              <a:gd name="connsiteX2" fmla="*/ 1199578 w 1198727"/>
              <a:gd name="connsiteY2" fmla="*/ 623306 h 622284"/>
              <a:gd name="connsiteX3" fmla="*/ 850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022"/>
                </a:moveTo>
                <a:lnTo>
                  <a:pt x="1199578" y="1022"/>
                </a:lnTo>
                <a:lnTo>
                  <a:pt x="1199578" y="623306"/>
                </a:lnTo>
                <a:lnTo>
                  <a:pt x="850" y="623306"/>
                </a:lnTo>
                <a:close/>
              </a:path>
            </a:pathLst>
          </a:custGeom>
          <a:solidFill>
            <a:srgbClr val="55002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2" name="Полилиния 1001">
            <a:extLst>
              <a:ext uri="{FF2B5EF4-FFF2-40B4-BE49-F238E27FC236}">
                <a16:creationId xmlns:a16="http://schemas.microsoft.com/office/drawing/2014/main" id="{1591D9FC-35B0-CA2C-6963-D4C8263658E4}"/>
              </a:ext>
            </a:extLst>
          </p:cNvPr>
          <p:cNvSpPr/>
          <p:nvPr userDrawn="1"/>
        </p:nvSpPr>
        <p:spPr>
          <a:xfrm>
            <a:off x="18568782" y="4089368"/>
            <a:ext cx="679753" cy="128468"/>
          </a:xfrm>
          <a:custGeom>
            <a:avLst/>
            <a:gdLst>
              <a:gd name="connsiteX0" fmla="*/ 22111 w 582463"/>
              <a:gd name="connsiteY0" fmla="*/ 108588 h 110081"/>
              <a:gd name="connsiteX1" fmla="*/ 10159 w 582463"/>
              <a:gd name="connsiteY1" fmla="*/ 108588 h 110081"/>
              <a:gd name="connsiteX2" fmla="*/ 16433 w 582463"/>
              <a:gd name="connsiteY2" fmla="*/ 77661 h 110081"/>
              <a:gd name="connsiteX3" fmla="*/ 0 w 582463"/>
              <a:gd name="connsiteY3" fmla="*/ 77661 h 110081"/>
              <a:gd name="connsiteX4" fmla="*/ 0 w 582463"/>
              <a:gd name="connsiteY4" fmla="*/ 67206 h 110081"/>
              <a:gd name="connsiteX5" fmla="*/ 18675 w 582463"/>
              <a:gd name="connsiteY5" fmla="*/ 67206 h 110081"/>
              <a:gd name="connsiteX6" fmla="*/ 24202 w 582463"/>
              <a:gd name="connsiteY6" fmla="*/ 40012 h 110081"/>
              <a:gd name="connsiteX7" fmla="*/ 4033 w 582463"/>
              <a:gd name="connsiteY7" fmla="*/ 40012 h 110081"/>
              <a:gd name="connsiteX8" fmla="*/ 4033 w 582463"/>
              <a:gd name="connsiteY8" fmla="*/ 29559 h 110081"/>
              <a:gd name="connsiteX9" fmla="*/ 26294 w 582463"/>
              <a:gd name="connsiteY9" fmla="*/ 29559 h 110081"/>
              <a:gd name="connsiteX10" fmla="*/ 32120 w 582463"/>
              <a:gd name="connsiteY10" fmla="*/ 1493 h 110081"/>
              <a:gd name="connsiteX11" fmla="*/ 44072 w 582463"/>
              <a:gd name="connsiteY11" fmla="*/ 1493 h 110081"/>
              <a:gd name="connsiteX12" fmla="*/ 38246 w 582463"/>
              <a:gd name="connsiteY12" fmla="*/ 29559 h 110081"/>
              <a:gd name="connsiteX13" fmla="*/ 60655 w 582463"/>
              <a:gd name="connsiteY13" fmla="*/ 29559 h 110081"/>
              <a:gd name="connsiteX14" fmla="*/ 66482 w 582463"/>
              <a:gd name="connsiteY14" fmla="*/ 1493 h 110081"/>
              <a:gd name="connsiteX15" fmla="*/ 78434 w 582463"/>
              <a:gd name="connsiteY15" fmla="*/ 1493 h 110081"/>
              <a:gd name="connsiteX16" fmla="*/ 72607 w 582463"/>
              <a:gd name="connsiteY16" fmla="*/ 29559 h 110081"/>
              <a:gd name="connsiteX17" fmla="*/ 89340 w 582463"/>
              <a:gd name="connsiteY17" fmla="*/ 29559 h 110081"/>
              <a:gd name="connsiteX18" fmla="*/ 89340 w 582463"/>
              <a:gd name="connsiteY18" fmla="*/ 40012 h 110081"/>
              <a:gd name="connsiteX19" fmla="*/ 70516 w 582463"/>
              <a:gd name="connsiteY19" fmla="*/ 40012 h 110081"/>
              <a:gd name="connsiteX20" fmla="*/ 64988 w 582463"/>
              <a:gd name="connsiteY20" fmla="*/ 67206 h 110081"/>
              <a:gd name="connsiteX21" fmla="*/ 85306 w 582463"/>
              <a:gd name="connsiteY21" fmla="*/ 67206 h 110081"/>
              <a:gd name="connsiteX22" fmla="*/ 85306 w 582463"/>
              <a:gd name="connsiteY22" fmla="*/ 77661 h 110081"/>
              <a:gd name="connsiteX23" fmla="*/ 62747 w 582463"/>
              <a:gd name="connsiteY23" fmla="*/ 77661 h 110081"/>
              <a:gd name="connsiteX24" fmla="*/ 56472 w 582463"/>
              <a:gd name="connsiteY24" fmla="*/ 108588 h 110081"/>
              <a:gd name="connsiteX25" fmla="*/ 44520 w 582463"/>
              <a:gd name="connsiteY25" fmla="*/ 108588 h 110081"/>
              <a:gd name="connsiteX26" fmla="*/ 50795 w 582463"/>
              <a:gd name="connsiteY26" fmla="*/ 77661 h 110081"/>
              <a:gd name="connsiteX27" fmla="*/ 28386 w 582463"/>
              <a:gd name="connsiteY27" fmla="*/ 77661 h 110081"/>
              <a:gd name="connsiteX28" fmla="*/ 22111 w 582463"/>
              <a:gd name="connsiteY28" fmla="*/ 108588 h 110081"/>
              <a:gd name="connsiteX29" fmla="*/ 30626 w 582463"/>
              <a:gd name="connsiteY29" fmla="*/ 67206 h 110081"/>
              <a:gd name="connsiteX30" fmla="*/ 53036 w 582463"/>
              <a:gd name="connsiteY30" fmla="*/ 67206 h 110081"/>
              <a:gd name="connsiteX31" fmla="*/ 58564 w 582463"/>
              <a:gd name="connsiteY31" fmla="*/ 40012 h 110081"/>
              <a:gd name="connsiteX32" fmla="*/ 36154 w 582463"/>
              <a:gd name="connsiteY32" fmla="*/ 40012 h 110081"/>
              <a:gd name="connsiteX33" fmla="*/ 30626 w 582463"/>
              <a:gd name="connsiteY33" fmla="*/ 67206 h 110081"/>
              <a:gd name="connsiteX34" fmla="*/ 131731 w 582463"/>
              <a:gd name="connsiteY34" fmla="*/ 110082 h 110081"/>
              <a:gd name="connsiteX35" fmla="*/ 103196 w 582463"/>
              <a:gd name="connsiteY35" fmla="*/ 102490 h 110081"/>
              <a:gd name="connsiteX36" fmla="*/ 103196 w 582463"/>
              <a:gd name="connsiteY36" fmla="*/ 87804 h 110081"/>
              <a:gd name="connsiteX37" fmla="*/ 116343 w 582463"/>
              <a:gd name="connsiteY37" fmla="*/ 95458 h 110081"/>
              <a:gd name="connsiteX38" fmla="*/ 131731 w 582463"/>
              <a:gd name="connsiteY38" fmla="*/ 97823 h 110081"/>
              <a:gd name="connsiteX39" fmla="*/ 148762 w 582463"/>
              <a:gd name="connsiteY39" fmla="*/ 91102 h 110081"/>
              <a:gd name="connsiteX40" fmla="*/ 154888 w 582463"/>
              <a:gd name="connsiteY40" fmla="*/ 73491 h 110081"/>
              <a:gd name="connsiteX41" fmla="*/ 148912 w 582463"/>
              <a:gd name="connsiteY41" fmla="*/ 56441 h 110081"/>
              <a:gd name="connsiteX42" fmla="*/ 133823 w 582463"/>
              <a:gd name="connsiteY42" fmla="*/ 51089 h 110081"/>
              <a:gd name="connsiteX43" fmla="*/ 123216 w 582463"/>
              <a:gd name="connsiteY43" fmla="*/ 53329 h 110081"/>
              <a:gd name="connsiteX44" fmla="*/ 117090 w 582463"/>
              <a:gd name="connsiteY44" fmla="*/ 57810 h 110081"/>
              <a:gd name="connsiteX45" fmla="*/ 106184 w 582463"/>
              <a:gd name="connsiteY45" fmla="*/ 57810 h 110081"/>
              <a:gd name="connsiteX46" fmla="*/ 106184 w 582463"/>
              <a:gd name="connsiteY46" fmla="*/ 1493 h 110081"/>
              <a:gd name="connsiteX47" fmla="*/ 164150 w 582463"/>
              <a:gd name="connsiteY47" fmla="*/ 1493 h 110081"/>
              <a:gd name="connsiteX48" fmla="*/ 164150 w 582463"/>
              <a:gd name="connsiteY48" fmla="*/ 14374 h 110081"/>
              <a:gd name="connsiteX49" fmla="*/ 118435 w 582463"/>
              <a:gd name="connsiteY49" fmla="*/ 14374 h 110081"/>
              <a:gd name="connsiteX50" fmla="*/ 118435 w 582463"/>
              <a:gd name="connsiteY50" fmla="*/ 44991 h 110081"/>
              <a:gd name="connsiteX51" fmla="*/ 125755 w 582463"/>
              <a:gd name="connsiteY51" fmla="*/ 41071 h 110081"/>
              <a:gd name="connsiteX52" fmla="*/ 136064 w 582463"/>
              <a:gd name="connsiteY52" fmla="*/ 39266 h 110081"/>
              <a:gd name="connsiteX53" fmla="*/ 152796 w 582463"/>
              <a:gd name="connsiteY53" fmla="*/ 43186 h 110081"/>
              <a:gd name="connsiteX54" fmla="*/ 164598 w 582463"/>
              <a:gd name="connsiteY54" fmla="*/ 54512 h 110081"/>
              <a:gd name="connsiteX55" fmla="*/ 169081 w 582463"/>
              <a:gd name="connsiteY55" fmla="*/ 73181 h 110081"/>
              <a:gd name="connsiteX56" fmla="*/ 164449 w 582463"/>
              <a:gd name="connsiteY56" fmla="*/ 92596 h 110081"/>
              <a:gd name="connsiteX57" fmla="*/ 151601 w 582463"/>
              <a:gd name="connsiteY57" fmla="*/ 105601 h 110081"/>
              <a:gd name="connsiteX58" fmla="*/ 131731 w 582463"/>
              <a:gd name="connsiteY58" fmla="*/ 110082 h 110081"/>
              <a:gd name="connsiteX59" fmla="*/ 213869 w 582463"/>
              <a:gd name="connsiteY59" fmla="*/ 110082 h 110081"/>
              <a:gd name="connsiteX60" fmla="*/ 185333 w 582463"/>
              <a:gd name="connsiteY60" fmla="*/ 102490 h 110081"/>
              <a:gd name="connsiteX61" fmla="*/ 185333 w 582463"/>
              <a:gd name="connsiteY61" fmla="*/ 87804 h 110081"/>
              <a:gd name="connsiteX62" fmla="*/ 198480 w 582463"/>
              <a:gd name="connsiteY62" fmla="*/ 95458 h 110081"/>
              <a:gd name="connsiteX63" fmla="*/ 213869 w 582463"/>
              <a:gd name="connsiteY63" fmla="*/ 97823 h 110081"/>
              <a:gd name="connsiteX64" fmla="*/ 230900 w 582463"/>
              <a:gd name="connsiteY64" fmla="*/ 91102 h 110081"/>
              <a:gd name="connsiteX65" fmla="*/ 237025 w 582463"/>
              <a:gd name="connsiteY65" fmla="*/ 73491 h 110081"/>
              <a:gd name="connsiteX66" fmla="*/ 231049 w 582463"/>
              <a:gd name="connsiteY66" fmla="*/ 56441 h 110081"/>
              <a:gd name="connsiteX67" fmla="*/ 215960 w 582463"/>
              <a:gd name="connsiteY67" fmla="*/ 51089 h 110081"/>
              <a:gd name="connsiteX68" fmla="*/ 205353 w 582463"/>
              <a:gd name="connsiteY68" fmla="*/ 53329 h 110081"/>
              <a:gd name="connsiteX69" fmla="*/ 199228 w 582463"/>
              <a:gd name="connsiteY69" fmla="*/ 57810 h 110081"/>
              <a:gd name="connsiteX70" fmla="*/ 188322 w 582463"/>
              <a:gd name="connsiteY70" fmla="*/ 57810 h 110081"/>
              <a:gd name="connsiteX71" fmla="*/ 188322 w 582463"/>
              <a:gd name="connsiteY71" fmla="*/ 1493 h 110081"/>
              <a:gd name="connsiteX72" fmla="*/ 246288 w 582463"/>
              <a:gd name="connsiteY72" fmla="*/ 1493 h 110081"/>
              <a:gd name="connsiteX73" fmla="*/ 246288 w 582463"/>
              <a:gd name="connsiteY73" fmla="*/ 14374 h 110081"/>
              <a:gd name="connsiteX74" fmla="*/ 200572 w 582463"/>
              <a:gd name="connsiteY74" fmla="*/ 14374 h 110081"/>
              <a:gd name="connsiteX75" fmla="*/ 200572 w 582463"/>
              <a:gd name="connsiteY75" fmla="*/ 44991 h 110081"/>
              <a:gd name="connsiteX76" fmla="*/ 207893 w 582463"/>
              <a:gd name="connsiteY76" fmla="*/ 41071 h 110081"/>
              <a:gd name="connsiteX77" fmla="*/ 218201 w 582463"/>
              <a:gd name="connsiteY77" fmla="*/ 39266 h 110081"/>
              <a:gd name="connsiteX78" fmla="*/ 234934 w 582463"/>
              <a:gd name="connsiteY78" fmla="*/ 43186 h 110081"/>
              <a:gd name="connsiteX79" fmla="*/ 246736 w 582463"/>
              <a:gd name="connsiteY79" fmla="*/ 54512 h 110081"/>
              <a:gd name="connsiteX80" fmla="*/ 251218 w 582463"/>
              <a:gd name="connsiteY80" fmla="*/ 73181 h 110081"/>
              <a:gd name="connsiteX81" fmla="*/ 246587 w 582463"/>
              <a:gd name="connsiteY81" fmla="*/ 92596 h 110081"/>
              <a:gd name="connsiteX82" fmla="*/ 233738 w 582463"/>
              <a:gd name="connsiteY82" fmla="*/ 105601 h 110081"/>
              <a:gd name="connsiteX83" fmla="*/ 213869 w 582463"/>
              <a:gd name="connsiteY83" fmla="*/ 110082 h 110081"/>
              <a:gd name="connsiteX84" fmla="*/ 300936 w 582463"/>
              <a:gd name="connsiteY84" fmla="*/ 110082 h 110081"/>
              <a:gd name="connsiteX85" fmla="*/ 282710 w 582463"/>
              <a:gd name="connsiteY85" fmla="*/ 104233 h 110081"/>
              <a:gd name="connsiteX86" fmla="*/ 270011 w 582463"/>
              <a:gd name="connsiteY86" fmla="*/ 86311 h 110081"/>
              <a:gd name="connsiteX87" fmla="*/ 265529 w 582463"/>
              <a:gd name="connsiteY87" fmla="*/ 54947 h 110081"/>
              <a:gd name="connsiteX88" fmla="*/ 270011 w 582463"/>
              <a:gd name="connsiteY88" fmla="*/ 23584 h 110081"/>
              <a:gd name="connsiteX89" fmla="*/ 282710 w 582463"/>
              <a:gd name="connsiteY89" fmla="*/ 5849 h 110081"/>
              <a:gd name="connsiteX90" fmla="*/ 300936 w 582463"/>
              <a:gd name="connsiteY90" fmla="*/ 186 h 110081"/>
              <a:gd name="connsiteX91" fmla="*/ 319013 w 582463"/>
              <a:gd name="connsiteY91" fmla="*/ 5849 h 110081"/>
              <a:gd name="connsiteX92" fmla="*/ 331413 w 582463"/>
              <a:gd name="connsiteY92" fmla="*/ 23584 h 110081"/>
              <a:gd name="connsiteX93" fmla="*/ 335895 w 582463"/>
              <a:gd name="connsiteY93" fmla="*/ 54698 h 110081"/>
              <a:gd name="connsiteX94" fmla="*/ 331413 w 582463"/>
              <a:gd name="connsiteY94" fmla="*/ 86062 h 110081"/>
              <a:gd name="connsiteX95" fmla="*/ 319013 w 582463"/>
              <a:gd name="connsiteY95" fmla="*/ 104233 h 110081"/>
              <a:gd name="connsiteX96" fmla="*/ 300936 w 582463"/>
              <a:gd name="connsiteY96" fmla="*/ 110082 h 110081"/>
              <a:gd name="connsiteX97" fmla="*/ 300787 w 582463"/>
              <a:gd name="connsiteY97" fmla="*/ 98258 h 110081"/>
              <a:gd name="connsiteX98" fmla="*/ 312141 w 582463"/>
              <a:gd name="connsiteY98" fmla="*/ 94275 h 110081"/>
              <a:gd name="connsiteX99" fmla="*/ 319312 w 582463"/>
              <a:gd name="connsiteY99" fmla="*/ 80648 h 110081"/>
              <a:gd name="connsiteX100" fmla="*/ 321852 w 582463"/>
              <a:gd name="connsiteY100" fmla="*/ 55134 h 110081"/>
              <a:gd name="connsiteX101" fmla="*/ 319462 w 582463"/>
              <a:gd name="connsiteY101" fmla="*/ 29745 h 110081"/>
              <a:gd name="connsiteX102" fmla="*/ 312290 w 582463"/>
              <a:gd name="connsiteY102" fmla="*/ 16117 h 110081"/>
              <a:gd name="connsiteX103" fmla="*/ 300936 w 582463"/>
              <a:gd name="connsiteY103" fmla="*/ 11947 h 110081"/>
              <a:gd name="connsiteX104" fmla="*/ 289433 w 582463"/>
              <a:gd name="connsiteY104" fmla="*/ 16117 h 110081"/>
              <a:gd name="connsiteX105" fmla="*/ 282112 w 582463"/>
              <a:gd name="connsiteY105" fmla="*/ 29745 h 110081"/>
              <a:gd name="connsiteX106" fmla="*/ 279572 w 582463"/>
              <a:gd name="connsiteY106" fmla="*/ 55134 h 110081"/>
              <a:gd name="connsiteX107" fmla="*/ 281963 w 582463"/>
              <a:gd name="connsiteY107" fmla="*/ 80648 h 110081"/>
              <a:gd name="connsiteX108" fmla="*/ 289283 w 582463"/>
              <a:gd name="connsiteY108" fmla="*/ 94275 h 110081"/>
              <a:gd name="connsiteX109" fmla="*/ 300787 w 582463"/>
              <a:gd name="connsiteY109" fmla="*/ 98258 h 110081"/>
              <a:gd name="connsiteX110" fmla="*/ 383080 w 582463"/>
              <a:gd name="connsiteY110" fmla="*/ 110082 h 110081"/>
              <a:gd name="connsiteX111" fmla="*/ 364854 w 582463"/>
              <a:gd name="connsiteY111" fmla="*/ 104233 h 110081"/>
              <a:gd name="connsiteX112" fmla="*/ 352155 w 582463"/>
              <a:gd name="connsiteY112" fmla="*/ 86311 h 110081"/>
              <a:gd name="connsiteX113" fmla="*/ 347673 w 582463"/>
              <a:gd name="connsiteY113" fmla="*/ 54947 h 110081"/>
              <a:gd name="connsiteX114" fmla="*/ 352155 w 582463"/>
              <a:gd name="connsiteY114" fmla="*/ 23584 h 110081"/>
              <a:gd name="connsiteX115" fmla="*/ 364854 w 582463"/>
              <a:gd name="connsiteY115" fmla="*/ 5849 h 110081"/>
              <a:gd name="connsiteX116" fmla="*/ 383080 w 582463"/>
              <a:gd name="connsiteY116" fmla="*/ 186 h 110081"/>
              <a:gd name="connsiteX117" fmla="*/ 401157 w 582463"/>
              <a:gd name="connsiteY117" fmla="*/ 5849 h 110081"/>
              <a:gd name="connsiteX118" fmla="*/ 413557 w 582463"/>
              <a:gd name="connsiteY118" fmla="*/ 23584 h 110081"/>
              <a:gd name="connsiteX119" fmla="*/ 418039 w 582463"/>
              <a:gd name="connsiteY119" fmla="*/ 54698 h 110081"/>
              <a:gd name="connsiteX120" fmla="*/ 413557 w 582463"/>
              <a:gd name="connsiteY120" fmla="*/ 86062 h 110081"/>
              <a:gd name="connsiteX121" fmla="*/ 401157 w 582463"/>
              <a:gd name="connsiteY121" fmla="*/ 104233 h 110081"/>
              <a:gd name="connsiteX122" fmla="*/ 383080 w 582463"/>
              <a:gd name="connsiteY122" fmla="*/ 110082 h 110081"/>
              <a:gd name="connsiteX123" fmla="*/ 382931 w 582463"/>
              <a:gd name="connsiteY123" fmla="*/ 98258 h 110081"/>
              <a:gd name="connsiteX124" fmla="*/ 394285 w 582463"/>
              <a:gd name="connsiteY124" fmla="*/ 94275 h 110081"/>
              <a:gd name="connsiteX125" fmla="*/ 401456 w 582463"/>
              <a:gd name="connsiteY125" fmla="*/ 80648 h 110081"/>
              <a:gd name="connsiteX126" fmla="*/ 403995 w 582463"/>
              <a:gd name="connsiteY126" fmla="*/ 55134 h 110081"/>
              <a:gd name="connsiteX127" fmla="*/ 401605 w 582463"/>
              <a:gd name="connsiteY127" fmla="*/ 29745 h 110081"/>
              <a:gd name="connsiteX128" fmla="*/ 394434 w 582463"/>
              <a:gd name="connsiteY128" fmla="*/ 16117 h 110081"/>
              <a:gd name="connsiteX129" fmla="*/ 383080 w 582463"/>
              <a:gd name="connsiteY129" fmla="*/ 11947 h 110081"/>
              <a:gd name="connsiteX130" fmla="*/ 371576 w 582463"/>
              <a:gd name="connsiteY130" fmla="*/ 16117 h 110081"/>
              <a:gd name="connsiteX131" fmla="*/ 364256 w 582463"/>
              <a:gd name="connsiteY131" fmla="*/ 29745 h 110081"/>
              <a:gd name="connsiteX132" fmla="*/ 361716 w 582463"/>
              <a:gd name="connsiteY132" fmla="*/ 55134 h 110081"/>
              <a:gd name="connsiteX133" fmla="*/ 364107 w 582463"/>
              <a:gd name="connsiteY133" fmla="*/ 80648 h 110081"/>
              <a:gd name="connsiteX134" fmla="*/ 371427 w 582463"/>
              <a:gd name="connsiteY134" fmla="*/ 94275 h 110081"/>
              <a:gd name="connsiteX135" fmla="*/ 382931 w 582463"/>
              <a:gd name="connsiteY135" fmla="*/ 98258 h 110081"/>
              <a:gd name="connsiteX136" fmla="*/ 499429 w 582463"/>
              <a:gd name="connsiteY136" fmla="*/ 108588 h 110081"/>
              <a:gd name="connsiteX137" fmla="*/ 431155 w 582463"/>
              <a:gd name="connsiteY137" fmla="*/ 108588 h 110081"/>
              <a:gd name="connsiteX138" fmla="*/ 431155 w 582463"/>
              <a:gd name="connsiteY138" fmla="*/ 94400 h 110081"/>
              <a:gd name="connsiteX139" fmla="*/ 457299 w 582463"/>
              <a:gd name="connsiteY139" fmla="*/ 72433 h 110081"/>
              <a:gd name="connsiteX140" fmla="*/ 473285 w 582463"/>
              <a:gd name="connsiteY140" fmla="*/ 56628 h 110081"/>
              <a:gd name="connsiteX141" fmla="*/ 481352 w 582463"/>
              <a:gd name="connsiteY141" fmla="*/ 43933 h 110081"/>
              <a:gd name="connsiteX142" fmla="*/ 483743 w 582463"/>
              <a:gd name="connsiteY142" fmla="*/ 32109 h 110081"/>
              <a:gd name="connsiteX143" fmla="*/ 478215 w 582463"/>
              <a:gd name="connsiteY143" fmla="*/ 17610 h 110081"/>
              <a:gd name="connsiteX144" fmla="*/ 462977 w 582463"/>
              <a:gd name="connsiteY144" fmla="*/ 12383 h 110081"/>
              <a:gd name="connsiteX145" fmla="*/ 433993 w 582463"/>
              <a:gd name="connsiteY145" fmla="*/ 27194 h 110081"/>
              <a:gd name="connsiteX146" fmla="*/ 433993 w 582463"/>
              <a:gd name="connsiteY146" fmla="*/ 12134 h 110081"/>
              <a:gd name="connsiteX147" fmla="*/ 463425 w 582463"/>
              <a:gd name="connsiteY147" fmla="*/ 0 h 110081"/>
              <a:gd name="connsiteX148" fmla="*/ 488822 w 582463"/>
              <a:gd name="connsiteY148" fmla="*/ 8401 h 110081"/>
              <a:gd name="connsiteX149" fmla="*/ 498234 w 582463"/>
              <a:gd name="connsiteY149" fmla="*/ 30803 h 110081"/>
              <a:gd name="connsiteX150" fmla="*/ 495844 w 582463"/>
              <a:gd name="connsiteY150" fmla="*/ 44804 h 110081"/>
              <a:gd name="connsiteX151" fmla="*/ 487776 w 582463"/>
              <a:gd name="connsiteY151" fmla="*/ 58681 h 110081"/>
              <a:gd name="connsiteX152" fmla="*/ 472090 w 582463"/>
              <a:gd name="connsiteY152" fmla="*/ 74860 h 110081"/>
              <a:gd name="connsiteX153" fmla="*/ 446692 w 582463"/>
              <a:gd name="connsiteY153" fmla="*/ 95769 h 110081"/>
              <a:gd name="connsiteX154" fmla="*/ 499429 w 582463"/>
              <a:gd name="connsiteY154" fmla="*/ 95769 h 110081"/>
              <a:gd name="connsiteX155" fmla="*/ 499429 w 582463"/>
              <a:gd name="connsiteY155" fmla="*/ 108588 h 110081"/>
              <a:gd name="connsiteX156" fmla="*/ 530772 w 582463"/>
              <a:gd name="connsiteY156" fmla="*/ 58992 h 110081"/>
              <a:gd name="connsiteX157" fmla="*/ 530772 w 582463"/>
              <a:gd name="connsiteY157" fmla="*/ 46298 h 110081"/>
              <a:gd name="connsiteX158" fmla="*/ 545114 w 582463"/>
              <a:gd name="connsiteY158" fmla="*/ 46298 h 110081"/>
              <a:gd name="connsiteX159" fmla="*/ 558709 w 582463"/>
              <a:gd name="connsiteY159" fmla="*/ 41817 h 110081"/>
              <a:gd name="connsiteX160" fmla="*/ 564087 w 582463"/>
              <a:gd name="connsiteY160" fmla="*/ 28812 h 110081"/>
              <a:gd name="connsiteX161" fmla="*/ 559157 w 582463"/>
              <a:gd name="connsiteY161" fmla="*/ 16864 h 110081"/>
              <a:gd name="connsiteX162" fmla="*/ 544964 w 582463"/>
              <a:gd name="connsiteY162" fmla="*/ 12383 h 110081"/>
              <a:gd name="connsiteX163" fmla="*/ 530324 w 582463"/>
              <a:gd name="connsiteY163" fmla="*/ 15246 h 110081"/>
              <a:gd name="connsiteX164" fmla="*/ 516280 w 582463"/>
              <a:gd name="connsiteY164" fmla="*/ 24331 h 110081"/>
              <a:gd name="connsiteX165" fmla="*/ 516280 w 582463"/>
              <a:gd name="connsiteY165" fmla="*/ 9707 h 110081"/>
              <a:gd name="connsiteX166" fmla="*/ 545114 w 582463"/>
              <a:gd name="connsiteY166" fmla="*/ 0 h 110081"/>
              <a:gd name="connsiteX167" fmla="*/ 569167 w 582463"/>
              <a:gd name="connsiteY167" fmla="*/ 7779 h 110081"/>
              <a:gd name="connsiteX168" fmla="*/ 577981 w 582463"/>
              <a:gd name="connsiteY168" fmla="*/ 28065 h 110081"/>
              <a:gd name="connsiteX169" fmla="*/ 572304 w 582463"/>
              <a:gd name="connsiteY169" fmla="*/ 44244 h 110081"/>
              <a:gd name="connsiteX170" fmla="*/ 559008 w 582463"/>
              <a:gd name="connsiteY170" fmla="*/ 52147 h 110081"/>
              <a:gd name="connsiteX171" fmla="*/ 570511 w 582463"/>
              <a:gd name="connsiteY171" fmla="*/ 56441 h 110081"/>
              <a:gd name="connsiteX172" fmla="*/ 579177 w 582463"/>
              <a:gd name="connsiteY172" fmla="*/ 65153 h 110081"/>
              <a:gd name="connsiteX173" fmla="*/ 582463 w 582463"/>
              <a:gd name="connsiteY173" fmla="*/ 77661 h 110081"/>
              <a:gd name="connsiteX174" fmla="*/ 577533 w 582463"/>
              <a:gd name="connsiteY174" fmla="*/ 94836 h 110081"/>
              <a:gd name="connsiteX175" fmla="*/ 563938 w 582463"/>
              <a:gd name="connsiteY175" fmla="*/ 106224 h 110081"/>
              <a:gd name="connsiteX176" fmla="*/ 544068 w 582463"/>
              <a:gd name="connsiteY176" fmla="*/ 110082 h 110081"/>
              <a:gd name="connsiteX177" fmla="*/ 513591 w 582463"/>
              <a:gd name="connsiteY177" fmla="*/ 100997 h 110081"/>
              <a:gd name="connsiteX178" fmla="*/ 513591 w 582463"/>
              <a:gd name="connsiteY178" fmla="*/ 86062 h 110081"/>
              <a:gd name="connsiteX179" fmla="*/ 527336 w 582463"/>
              <a:gd name="connsiteY179" fmla="*/ 94711 h 110081"/>
              <a:gd name="connsiteX180" fmla="*/ 544217 w 582463"/>
              <a:gd name="connsiteY180" fmla="*/ 97823 h 110081"/>
              <a:gd name="connsiteX181" fmla="*/ 561548 w 582463"/>
              <a:gd name="connsiteY181" fmla="*/ 92596 h 110081"/>
              <a:gd name="connsiteX182" fmla="*/ 567972 w 582463"/>
              <a:gd name="connsiteY182" fmla="*/ 77972 h 110081"/>
              <a:gd name="connsiteX183" fmla="*/ 562145 w 582463"/>
              <a:gd name="connsiteY183" fmla="*/ 64095 h 110081"/>
              <a:gd name="connsiteX184" fmla="*/ 544516 w 582463"/>
              <a:gd name="connsiteY184" fmla="*/ 58992 h 110081"/>
              <a:gd name="connsiteX185" fmla="*/ 530772 w 582463"/>
              <a:gd name="connsiteY185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8246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31" y="110082"/>
                </a:moveTo>
                <a:cubicBezTo>
                  <a:pt x="119779" y="110082"/>
                  <a:pt x="110268" y="107530"/>
                  <a:pt x="103196" y="102490"/>
                </a:cubicBezTo>
                <a:lnTo>
                  <a:pt x="103196" y="87804"/>
                </a:lnTo>
                <a:cubicBezTo>
                  <a:pt x="107379" y="91226"/>
                  <a:pt x="111762" y="93778"/>
                  <a:pt x="116343" y="95458"/>
                </a:cubicBezTo>
                <a:cubicBezTo>
                  <a:pt x="120925" y="97014"/>
                  <a:pt x="126054" y="97823"/>
                  <a:pt x="131731" y="97823"/>
                </a:cubicBezTo>
                <a:cubicBezTo>
                  <a:pt x="139102" y="97823"/>
                  <a:pt x="144779" y="95583"/>
                  <a:pt x="148762" y="91102"/>
                </a:cubicBezTo>
                <a:cubicBezTo>
                  <a:pt x="152846" y="86621"/>
                  <a:pt x="154888" y="80772"/>
                  <a:pt x="154888" y="73491"/>
                </a:cubicBezTo>
                <a:cubicBezTo>
                  <a:pt x="154888" y="65713"/>
                  <a:pt x="152896" y="60050"/>
                  <a:pt x="148912" y="56441"/>
                </a:cubicBezTo>
                <a:cubicBezTo>
                  <a:pt x="144928" y="52894"/>
                  <a:pt x="139898" y="51089"/>
                  <a:pt x="133823" y="51089"/>
                </a:cubicBezTo>
                <a:cubicBezTo>
                  <a:pt x="129441" y="51089"/>
                  <a:pt x="125904" y="51836"/>
                  <a:pt x="123216" y="53329"/>
                </a:cubicBezTo>
                <a:cubicBezTo>
                  <a:pt x="120526" y="54698"/>
                  <a:pt x="118485" y="56192"/>
                  <a:pt x="117090" y="57810"/>
                </a:cubicBezTo>
                <a:lnTo>
                  <a:pt x="106184" y="57810"/>
                </a:lnTo>
                <a:lnTo>
                  <a:pt x="106184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35" y="14374"/>
                </a:lnTo>
                <a:lnTo>
                  <a:pt x="118435" y="44991"/>
                </a:lnTo>
                <a:cubicBezTo>
                  <a:pt x="120427" y="43498"/>
                  <a:pt x="122867" y="42190"/>
                  <a:pt x="125755" y="41071"/>
                </a:cubicBezTo>
                <a:cubicBezTo>
                  <a:pt x="128643" y="39888"/>
                  <a:pt x="132080" y="39266"/>
                  <a:pt x="136064" y="39266"/>
                </a:cubicBezTo>
                <a:cubicBezTo>
                  <a:pt x="142239" y="39266"/>
                  <a:pt x="147816" y="40572"/>
                  <a:pt x="152796" y="43186"/>
                </a:cubicBezTo>
                <a:cubicBezTo>
                  <a:pt x="157776" y="45675"/>
                  <a:pt x="161710" y="49471"/>
                  <a:pt x="164598" y="54512"/>
                </a:cubicBezTo>
                <a:cubicBezTo>
                  <a:pt x="167587" y="59490"/>
                  <a:pt x="169081" y="65713"/>
                  <a:pt x="169081" y="73181"/>
                </a:cubicBezTo>
                <a:cubicBezTo>
                  <a:pt x="169081" y="80586"/>
                  <a:pt x="167537" y="87058"/>
                  <a:pt x="164449" y="92596"/>
                </a:cubicBezTo>
                <a:cubicBezTo>
                  <a:pt x="161461" y="98196"/>
                  <a:pt x="157179" y="102490"/>
                  <a:pt x="151601" y="105601"/>
                </a:cubicBezTo>
                <a:cubicBezTo>
                  <a:pt x="146024" y="108588"/>
                  <a:pt x="139400" y="110082"/>
                  <a:pt x="131731" y="110082"/>
                </a:cubicBezTo>
                <a:close/>
                <a:moveTo>
                  <a:pt x="213869" y="110082"/>
                </a:moveTo>
                <a:cubicBezTo>
                  <a:pt x="201917" y="110082"/>
                  <a:pt x="192405" y="107530"/>
                  <a:pt x="185333" y="102490"/>
                </a:cubicBezTo>
                <a:lnTo>
                  <a:pt x="185333" y="87804"/>
                </a:lnTo>
                <a:cubicBezTo>
                  <a:pt x="189517" y="91226"/>
                  <a:pt x="193899" y="93778"/>
                  <a:pt x="198480" y="95458"/>
                </a:cubicBezTo>
                <a:cubicBezTo>
                  <a:pt x="203062" y="97014"/>
                  <a:pt x="208192" y="97823"/>
                  <a:pt x="213869" y="97823"/>
                </a:cubicBezTo>
                <a:cubicBezTo>
                  <a:pt x="221239" y="97823"/>
                  <a:pt x="226916" y="95583"/>
                  <a:pt x="230900" y="91102"/>
                </a:cubicBezTo>
                <a:cubicBezTo>
                  <a:pt x="234983" y="86621"/>
                  <a:pt x="237025" y="80772"/>
                  <a:pt x="237025" y="73491"/>
                </a:cubicBezTo>
                <a:cubicBezTo>
                  <a:pt x="237025" y="65713"/>
                  <a:pt x="235033" y="60050"/>
                  <a:pt x="231049" y="56441"/>
                </a:cubicBezTo>
                <a:cubicBezTo>
                  <a:pt x="227065" y="52894"/>
                  <a:pt x="222036" y="51089"/>
                  <a:pt x="215960" y="51089"/>
                </a:cubicBezTo>
                <a:cubicBezTo>
                  <a:pt x="211578" y="51089"/>
                  <a:pt x="208042" y="51836"/>
                  <a:pt x="205353" y="53329"/>
                </a:cubicBezTo>
                <a:cubicBezTo>
                  <a:pt x="202664" y="54698"/>
                  <a:pt x="200622" y="56192"/>
                  <a:pt x="199228" y="57810"/>
                </a:cubicBezTo>
                <a:lnTo>
                  <a:pt x="188322" y="57810"/>
                </a:lnTo>
                <a:lnTo>
                  <a:pt x="188322" y="1493"/>
                </a:lnTo>
                <a:lnTo>
                  <a:pt x="246288" y="1493"/>
                </a:lnTo>
                <a:lnTo>
                  <a:pt x="246288" y="14374"/>
                </a:lnTo>
                <a:lnTo>
                  <a:pt x="200572" y="14374"/>
                </a:lnTo>
                <a:lnTo>
                  <a:pt x="200572" y="44991"/>
                </a:lnTo>
                <a:cubicBezTo>
                  <a:pt x="202564" y="43498"/>
                  <a:pt x="205004" y="42190"/>
                  <a:pt x="207893" y="41071"/>
                </a:cubicBezTo>
                <a:cubicBezTo>
                  <a:pt x="210781" y="39888"/>
                  <a:pt x="214217" y="39266"/>
                  <a:pt x="218201" y="39266"/>
                </a:cubicBezTo>
                <a:cubicBezTo>
                  <a:pt x="224376" y="39266"/>
                  <a:pt x="229954" y="40572"/>
                  <a:pt x="234934" y="43186"/>
                </a:cubicBezTo>
                <a:cubicBezTo>
                  <a:pt x="239913" y="45675"/>
                  <a:pt x="243848" y="49471"/>
                  <a:pt x="246736" y="54512"/>
                </a:cubicBezTo>
                <a:cubicBezTo>
                  <a:pt x="249724" y="59490"/>
                  <a:pt x="251218" y="65713"/>
                  <a:pt x="251218" y="73181"/>
                </a:cubicBezTo>
                <a:cubicBezTo>
                  <a:pt x="251218" y="80586"/>
                  <a:pt x="249674" y="87058"/>
                  <a:pt x="246587" y="92596"/>
                </a:cubicBezTo>
                <a:cubicBezTo>
                  <a:pt x="243599" y="98196"/>
                  <a:pt x="239316" y="102490"/>
                  <a:pt x="233738" y="105601"/>
                </a:cubicBezTo>
                <a:cubicBezTo>
                  <a:pt x="228161" y="108588"/>
                  <a:pt x="221538" y="110082"/>
                  <a:pt x="213869" y="110082"/>
                </a:cubicBez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8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8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5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5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5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0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1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99429" y="108588"/>
                </a:moveTo>
                <a:lnTo>
                  <a:pt x="431155" y="108588"/>
                </a:lnTo>
                <a:lnTo>
                  <a:pt x="431155" y="94400"/>
                </a:lnTo>
                <a:cubicBezTo>
                  <a:pt x="441812" y="85812"/>
                  <a:pt x="450527" y="78532"/>
                  <a:pt x="457299" y="72433"/>
                </a:cubicBezTo>
                <a:cubicBezTo>
                  <a:pt x="464171" y="66397"/>
                  <a:pt x="469500" y="61108"/>
                  <a:pt x="473285" y="56628"/>
                </a:cubicBezTo>
                <a:cubicBezTo>
                  <a:pt x="477169" y="52023"/>
                  <a:pt x="479858" y="47791"/>
                  <a:pt x="481352" y="43933"/>
                </a:cubicBezTo>
                <a:cubicBezTo>
                  <a:pt x="482946" y="40012"/>
                  <a:pt x="483743" y="36092"/>
                  <a:pt x="483743" y="32109"/>
                </a:cubicBezTo>
                <a:cubicBezTo>
                  <a:pt x="483743" y="25949"/>
                  <a:pt x="481900" y="21095"/>
                  <a:pt x="478215" y="17610"/>
                </a:cubicBezTo>
                <a:cubicBezTo>
                  <a:pt x="474530" y="14125"/>
                  <a:pt x="469450" y="12383"/>
                  <a:pt x="462977" y="12383"/>
                </a:cubicBezTo>
                <a:cubicBezTo>
                  <a:pt x="452618" y="12383"/>
                  <a:pt x="442957" y="17361"/>
                  <a:pt x="433993" y="27194"/>
                </a:cubicBezTo>
                <a:lnTo>
                  <a:pt x="433993" y="12134"/>
                </a:lnTo>
                <a:cubicBezTo>
                  <a:pt x="442260" y="4044"/>
                  <a:pt x="452070" y="0"/>
                  <a:pt x="463425" y="0"/>
                </a:cubicBezTo>
                <a:cubicBezTo>
                  <a:pt x="474181" y="0"/>
                  <a:pt x="482647" y="2800"/>
                  <a:pt x="488822" y="8401"/>
                </a:cubicBezTo>
                <a:cubicBezTo>
                  <a:pt x="495097" y="13877"/>
                  <a:pt x="498234" y="21344"/>
                  <a:pt x="498234" y="30803"/>
                </a:cubicBezTo>
                <a:cubicBezTo>
                  <a:pt x="498234" y="35657"/>
                  <a:pt x="497437" y="40324"/>
                  <a:pt x="495844" y="44804"/>
                </a:cubicBezTo>
                <a:cubicBezTo>
                  <a:pt x="494350" y="49222"/>
                  <a:pt x="491661" y="53827"/>
                  <a:pt x="487776" y="58681"/>
                </a:cubicBezTo>
                <a:cubicBezTo>
                  <a:pt x="483992" y="63473"/>
                  <a:pt x="478763" y="68887"/>
                  <a:pt x="472090" y="74860"/>
                </a:cubicBezTo>
                <a:cubicBezTo>
                  <a:pt x="465417" y="80835"/>
                  <a:pt x="456951" y="87804"/>
                  <a:pt x="446692" y="95769"/>
                </a:cubicBezTo>
                <a:lnTo>
                  <a:pt x="499429" y="95769"/>
                </a:lnTo>
                <a:lnTo>
                  <a:pt x="499429" y="108588"/>
                </a:lnTo>
                <a:close/>
                <a:moveTo>
                  <a:pt x="530772" y="58992"/>
                </a:moveTo>
                <a:lnTo>
                  <a:pt x="530772" y="46298"/>
                </a:lnTo>
                <a:lnTo>
                  <a:pt x="545114" y="46298"/>
                </a:lnTo>
                <a:cubicBezTo>
                  <a:pt x="550692" y="46298"/>
                  <a:pt x="555223" y="44804"/>
                  <a:pt x="558709" y="41817"/>
                </a:cubicBezTo>
                <a:cubicBezTo>
                  <a:pt x="562295" y="38768"/>
                  <a:pt x="564087" y="34412"/>
                  <a:pt x="564087" y="28812"/>
                </a:cubicBezTo>
                <a:cubicBezTo>
                  <a:pt x="564087" y="23771"/>
                  <a:pt x="562444" y="19788"/>
                  <a:pt x="559157" y="16864"/>
                </a:cubicBezTo>
                <a:cubicBezTo>
                  <a:pt x="555871" y="13877"/>
                  <a:pt x="551140" y="12383"/>
                  <a:pt x="544964" y="12383"/>
                </a:cubicBezTo>
                <a:cubicBezTo>
                  <a:pt x="539785" y="12383"/>
                  <a:pt x="534905" y="13379"/>
                  <a:pt x="530324" y="15246"/>
                </a:cubicBezTo>
                <a:cubicBezTo>
                  <a:pt x="525842" y="17113"/>
                  <a:pt x="521161" y="20162"/>
                  <a:pt x="516280" y="24331"/>
                </a:cubicBezTo>
                <a:lnTo>
                  <a:pt x="516280" y="9707"/>
                </a:lnTo>
                <a:cubicBezTo>
                  <a:pt x="524248" y="3235"/>
                  <a:pt x="533859" y="0"/>
                  <a:pt x="545114" y="0"/>
                </a:cubicBezTo>
                <a:cubicBezTo>
                  <a:pt x="555372" y="0"/>
                  <a:pt x="563390" y="2613"/>
                  <a:pt x="569167" y="7779"/>
                </a:cubicBezTo>
                <a:cubicBezTo>
                  <a:pt x="575043" y="12943"/>
                  <a:pt x="577981" y="19726"/>
                  <a:pt x="577981" y="28065"/>
                </a:cubicBezTo>
                <a:cubicBezTo>
                  <a:pt x="577981" y="34848"/>
                  <a:pt x="576089" y="40262"/>
                  <a:pt x="572304" y="44244"/>
                </a:cubicBezTo>
                <a:cubicBezTo>
                  <a:pt x="568619" y="48227"/>
                  <a:pt x="564187" y="50840"/>
                  <a:pt x="559008" y="52147"/>
                </a:cubicBezTo>
                <a:cubicBezTo>
                  <a:pt x="563191" y="52707"/>
                  <a:pt x="567025" y="54201"/>
                  <a:pt x="570511" y="56441"/>
                </a:cubicBezTo>
                <a:cubicBezTo>
                  <a:pt x="574097" y="58681"/>
                  <a:pt x="576986" y="61543"/>
                  <a:pt x="579177" y="65153"/>
                </a:cubicBezTo>
                <a:cubicBezTo>
                  <a:pt x="581368" y="68700"/>
                  <a:pt x="582463" y="72869"/>
                  <a:pt x="582463" y="77661"/>
                </a:cubicBezTo>
                <a:cubicBezTo>
                  <a:pt x="582463" y="84257"/>
                  <a:pt x="580820" y="89982"/>
                  <a:pt x="577533" y="94836"/>
                </a:cubicBezTo>
                <a:cubicBezTo>
                  <a:pt x="574247" y="99752"/>
                  <a:pt x="569715" y="103486"/>
                  <a:pt x="563938" y="106224"/>
                </a:cubicBezTo>
                <a:cubicBezTo>
                  <a:pt x="558261" y="108775"/>
                  <a:pt x="551638" y="110082"/>
                  <a:pt x="544068" y="110082"/>
                </a:cubicBezTo>
                <a:cubicBezTo>
                  <a:pt x="530921" y="110082"/>
                  <a:pt x="520762" y="107033"/>
                  <a:pt x="513591" y="100997"/>
                </a:cubicBezTo>
                <a:lnTo>
                  <a:pt x="513591" y="86062"/>
                </a:lnTo>
                <a:cubicBezTo>
                  <a:pt x="517376" y="89733"/>
                  <a:pt x="521957" y="92596"/>
                  <a:pt x="527336" y="94711"/>
                </a:cubicBezTo>
                <a:cubicBezTo>
                  <a:pt x="532714" y="96765"/>
                  <a:pt x="538341" y="97823"/>
                  <a:pt x="544217" y="97823"/>
                </a:cubicBezTo>
                <a:cubicBezTo>
                  <a:pt x="551588" y="97823"/>
                  <a:pt x="557364" y="96080"/>
                  <a:pt x="561548" y="92596"/>
                </a:cubicBezTo>
                <a:cubicBezTo>
                  <a:pt x="565830" y="89048"/>
                  <a:pt x="567972" y="84132"/>
                  <a:pt x="567972" y="77972"/>
                </a:cubicBezTo>
                <a:cubicBezTo>
                  <a:pt x="567972" y="71998"/>
                  <a:pt x="566030" y="67393"/>
                  <a:pt x="562145" y="64095"/>
                </a:cubicBezTo>
                <a:cubicBezTo>
                  <a:pt x="558361" y="60673"/>
                  <a:pt x="552484" y="58992"/>
                  <a:pt x="544516" y="58992"/>
                </a:cubicBezTo>
                <a:lnTo>
                  <a:pt x="530772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3" name="Полилиния 1002">
            <a:extLst>
              <a:ext uri="{FF2B5EF4-FFF2-40B4-BE49-F238E27FC236}">
                <a16:creationId xmlns:a16="http://schemas.microsoft.com/office/drawing/2014/main" id="{E0AA3ED2-88D3-2B4F-B15D-38910F72441B}"/>
              </a:ext>
            </a:extLst>
          </p:cNvPr>
          <p:cNvSpPr/>
          <p:nvPr userDrawn="1"/>
        </p:nvSpPr>
        <p:spPr>
          <a:xfrm>
            <a:off x="18445574" y="4513847"/>
            <a:ext cx="1398954" cy="726227"/>
          </a:xfrm>
          <a:custGeom>
            <a:avLst/>
            <a:gdLst>
              <a:gd name="connsiteX0" fmla="*/ 850 w 1198727"/>
              <a:gd name="connsiteY0" fmla="*/ 1122 h 622284"/>
              <a:gd name="connsiteX1" fmla="*/ 1199578 w 1198727"/>
              <a:gd name="connsiteY1" fmla="*/ 1122 h 622284"/>
              <a:gd name="connsiteX2" fmla="*/ 1199578 w 1198727"/>
              <a:gd name="connsiteY2" fmla="*/ 623406 h 622284"/>
              <a:gd name="connsiteX3" fmla="*/ 850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122"/>
                </a:moveTo>
                <a:lnTo>
                  <a:pt x="1199578" y="1122"/>
                </a:lnTo>
                <a:lnTo>
                  <a:pt x="1199578" y="623406"/>
                </a:lnTo>
                <a:lnTo>
                  <a:pt x="850" y="623406"/>
                </a:lnTo>
                <a:close/>
              </a:path>
            </a:pathLst>
          </a:custGeom>
          <a:solidFill>
            <a:srgbClr val="82003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4" name="Полилиния 1003">
            <a:extLst>
              <a:ext uri="{FF2B5EF4-FFF2-40B4-BE49-F238E27FC236}">
                <a16:creationId xmlns:a16="http://schemas.microsoft.com/office/drawing/2014/main" id="{BDA1C494-95DA-1426-2824-491028E515A8}"/>
              </a:ext>
            </a:extLst>
          </p:cNvPr>
          <p:cNvSpPr/>
          <p:nvPr userDrawn="1"/>
        </p:nvSpPr>
        <p:spPr>
          <a:xfrm>
            <a:off x="18568782" y="4815595"/>
            <a:ext cx="678707" cy="128468"/>
          </a:xfrm>
          <a:custGeom>
            <a:avLst/>
            <a:gdLst>
              <a:gd name="connsiteX0" fmla="*/ 22111 w 581566"/>
              <a:gd name="connsiteY0" fmla="*/ 108588 h 110081"/>
              <a:gd name="connsiteX1" fmla="*/ 10159 w 581566"/>
              <a:gd name="connsiteY1" fmla="*/ 108588 h 110081"/>
              <a:gd name="connsiteX2" fmla="*/ 16433 w 581566"/>
              <a:gd name="connsiteY2" fmla="*/ 77661 h 110081"/>
              <a:gd name="connsiteX3" fmla="*/ 0 w 581566"/>
              <a:gd name="connsiteY3" fmla="*/ 77661 h 110081"/>
              <a:gd name="connsiteX4" fmla="*/ 0 w 581566"/>
              <a:gd name="connsiteY4" fmla="*/ 67206 h 110081"/>
              <a:gd name="connsiteX5" fmla="*/ 18675 w 581566"/>
              <a:gd name="connsiteY5" fmla="*/ 67206 h 110081"/>
              <a:gd name="connsiteX6" fmla="*/ 24202 w 581566"/>
              <a:gd name="connsiteY6" fmla="*/ 40012 h 110081"/>
              <a:gd name="connsiteX7" fmla="*/ 4033 w 581566"/>
              <a:gd name="connsiteY7" fmla="*/ 40012 h 110081"/>
              <a:gd name="connsiteX8" fmla="*/ 4033 w 581566"/>
              <a:gd name="connsiteY8" fmla="*/ 29559 h 110081"/>
              <a:gd name="connsiteX9" fmla="*/ 26294 w 581566"/>
              <a:gd name="connsiteY9" fmla="*/ 29559 h 110081"/>
              <a:gd name="connsiteX10" fmla="*/ 32120 w 581566"/>
              <a:gd name="connsiteY10" fmla="*/ 1493 h 110081"/>
              <a:gd name="connsiteX11" fmla="*/ 44072 w 581566"/>
              <a:gd name="connsiteY11" fmla="*/ 1493 h 110081"/>
              <a:gd name="connsiteX12" fmla="*/ 38246 w 581566"/>
              <a:gd name="connsiteY12" fmla="*/ 29559 h 110081"/>
              <a:gd name="connsiteX13" fmla="*/ 60655 w 581566"/>
              <a:gd name="connsiteY13" fmla="*/ 29559 h 110081"/>
              <a:gd name="connsiteX14" fmla="*/ 66482 w 581566"/>
              <a:gd name="connsiteY14" fmla="*/ 1493 h 110081"/>
              <a:gd name="connsiteX15" fmla="*/ 78434 w 581566"/>
              <a:gd name="connsiteY15" fmla="*/ 1493 h 110081"/>
              <a:gd name="connsiteX16" fmla="*/ 72607 w 581566"/>
              <a:gd name="connsiteY16" fmla="*/ 29559 h 110081"/>
              <a:gd name="connsiteX17" fmla="*/ 89340 w 581566"/>
              <a:gd name="connsiteY17" fmla="*/ 29559 h 110081"/>
              <a:gd name="connsiteX18" fmla="*/ 89340 w 581566"/>
              <a:gd name="connsiteY18" fmla="*/ 40012 h 110081"/>
              <a:gd name="connsiteX19" fmla="*/ 70516 w 581566"/>
              <a:gd name="connsiteY19" fmla="*/ 40012 h 110081"/>
              <a:gd name="connsiteX20" fmla="*/ 64988 w 581566"/>
              <a:gd name="connsiteY20" fmla="*/ 67206 h 110081"/>
              <a:gd name="connsiteX21" fmla="*/ 85306 w 581566"/>
              <a:gd name="connsiteY21" fmla="*/ 67206 h 110081"/>
              <a:gd name="connsiteX22" fmla="*/ 85306 w 581566"/>
              <a:gd name="connsiteY22" fmla="*/ 77661 h 110081"/>
              <a:gd name="connsiteX23" fmla="*/ 62747 w 581566"/>
              <a:gd name="connsiteY23" fmla="*/ 77661 h 110081"/>
              <a:gd name="connsiteX24" fmla="*/ 56472 w 581566"/>
              <a:gd name="connsiteY24" fmla="*/ 108588 h 110081"/>
              <a:gd name="connsiteX25" fmla="*/ 44520 w 581566"/>
              <a:gd name="connsiteY25" fmla="*/ 108588 h 110081"/>
              <a:gd name="connsiteX26" fmla="*/ 50795 w 581566"/>
              <a:gd name="connsiteY26" fmla="*/ 77661 h 110081"/>
              <a:gd name="connsiteX27" fmla="*/ 28386 w 581566"/>
              <a:gd name="connsiteY27" fmla="*/ 77661 h 110081"/>
              <a:gd name="connsiteX28" fmla="*/ 22111 w 581566"/>
              <a:gd name="connsiteY28" fmla="*/ 108588 h 110081"/>
              <a:gd name="connsiteX29" fmla="*/ 30626 w 581566"/>
              <a:gd name="connsiteY29" fmla="*/ 67206 h 110081"/>
              <a:gd name="connsiteX30" fmla="*/ 53036 w 581566"/>
              <a:gd name="connsiteY30" fmla="*/ 67206 h 110081"/>
              <a:gd name="connsiteX31" fmla="*/ 58564 w 581566"/>
              <a:gd name="connsiteY31" fmla="*/ 40012 h 110081"/>
              <a:gd name="connsiteX32" fmla="*/ 36154 w 581566"/>
              <a:gd name="connsiteY32" fmla="*/ 40012 h 110081"/>
              <a:gd name="connsiteX33" fmla="*/ 30626 w 581566"/>
              <a:gd name="connsiteY33" fmla="*/ 67206 h 110081"/>
              <a:gd name="connsiteX34" fmla="*/ 136811 w 581566"/>
              <a:gd name="connsiteY34" fmla="*/ 110082 h 110081"/>
              <a:gd name="connsiteX35" fmla="*/ 118136 w 581566"/>
              <a:gd name="connsiteY35" fmla="*/ 106473 h 110081"/>
              <a:gd name="connsiteX36" fmla="*/ 105437 w 581566"/>
              <a:gd name="connsiteY36" fmla="*/ 96205 h 110081"/>
              <a:gd name="connsiteX37" fmla="*/ 100806 w 581566"/>
              <a:gd name="connsiteY37" fmla="*/ 79777 h 110081"/>
              <a:gd name="connsiteX38" fmla="*/ 106184 w 581566"/>
              <a:gd name="connsiteY38" fmla="*/ 62291 h 110081"/>
              <a:gd name="connsiteX39" fmla="*/ 120974 w 581566"/>
              <a:gd name="connsiteY39" fmla="*/ 51711 h 110081"/>
              <a:gd name="connsiteX40" fmla="*/ 109023 w 581566"/>
              <a:gd name="connsiteY40" fmla="*/ 42564 h 110081"/>
              <a:gd name="connsiteX41" fmla="*/ 104690 w 581566"/>
              <a:gd name="connsiteY41" fmla="*/ 27504 h 110081"/>
              <a:gd name="connsiteX42" fmla="*/ 108873 w 581566"/>
              <a:gd name="connsiteY42" fmla="*/ 12570 h 110081"/>
              <a:gd name="connsiteX43" fmla="*/ 120377 w 581566"/>
              <a:gd name="connsiteY43" fmla="*/ 3298 h 110081"/>
              <a:gd name="connsiteX44" fmla="*/ 136811 w 581566"/>
              <a:gd name="connsiteY44" fmla="*/ 186 h 110081"/>
              <a:gd name="connsiteX45" fmla="*/ 152946 w 581566"/>
              <a:gd name="connsiteY45" fmla="*/ 3298 h 110081"/>
              <a:gd name="connsiteX46" fmla="*/ 164300 w 581566"/>
              <a:gd name="connsiteY46" fmla="*/ 12259 h 110081"/>
              <a:gd name="connsiteX47" fmla="*/ 168632 w 581566"/>
              <a:gd name="connsiteY47" fmla="*/ 27194 h 110081"/>
              <a:gd name="connsiteX48" fmla="*/ 164150 w 581566"/>
              <a:gd name="connsiteY48" fmla="*/ 42439 h 110081"/>
              <a:gd name="connsiteX49" fmla="*/ 152348 w 581566"/>
              <a:gd name="connsiteY49" fmla="*/ 51711 h 110081"/>
              <a:gd name="connsiteX50" fmla="*/ 166690 w 581566"/>
              <a:gd name="connsiteY50" fmla="*/ 61855 h 110081"/>
              <a:gd name="connsiteX51" fmla="*/ 172218 w 581566"/>
              <a:gd name="connsiteY51" fmla="*/ 79341 h 110081"/>
              <a:gd name="connsiteX52" fmla="*/ 167587 w 581566"/>
              <a:gd name="connsiteY52" fmla="*/ 95893 h 110081"/>
              <a:gd name="connsiteX53" fmla="*/ 154888 w 581566"/>
              <a:gd name="connsiteY53" fmla="*/ 106473 h 110081"/>
              <a:gd name="connsiteX54" fmla="*/ 136811 w 581566"/>
              <a:gd name="connsiteY54" fmla="*/ 110082 h 110081"/>
              <a:gd name="connsiteX55" fmla="*/ 136811 w 581566"/>
              <a:gd name="connsiteY55" fmla="*/ 46298 h 110081"/>
              <a:gd name="connsiteX56" fmla="*/ 149808 w 581566"/>
              <a:gd name="connsiteY56" fmla="*/ 41817 h 110081"/>
              <a:gd name="connsiteX57" fmla="*/ 155037 w 581566"/>
              <a:gd name="connsiteY57" fmla="*/ 29122 h 110081"/>
              <a:gd name="connsiteX58" fmla="*/ 149808 w 581566"/>
              <a:gd name="connsiteY58" fmla="*/ 16615 h 110081"/>
              <a:gd name="connsiteX59" fmla="*/ 136811 w 581566"/>
              <a:gd name="connsiteY59" fmla="*/ 11947 h 110081"/>
              <a:gd name="connsiteX60" fmla="*/ 123514 w 581566"/>
              <a:gd name="connsiteY60" fmla="*/ 16615 h 110081"/>
              <a:gd name="connsiteX61" fmla="*/ 118285 w 581566"/>
              <a:gd name="connsiteY61" fmla="*/ 29122 h 110081"/>
              <a:gd name="connsiteX62" fmla="*/ 123514 w 581566"/>
              <a:gd name="connsiteY62" fmla="*/ 41817 h 110081"/>
              <a:gd name="connsiteX63" fmla="*/ 136811 w 581566"/>
              <a:gd name="connsiteY63" fmla="*/ 46298 h 110081"/>
              <a:gd name="connsiteX64" fmla="*/ 136811 w 581566"/>
              <a:gd name="connsiteY64" fmla="*/ 98258 h 110081"/>
              <a:gd name="connsiteX65" fmla="*/ 152198 w 581566"/>
              <a:gd name="connsiteY65" fmla="*/ 92907 h 110081"/>
              <a:gd name="connsiteX66" fmla="*/ 158473 w 581566"/>
              <a:gd name="connsiteY66" fmla="*/ 77536 h 110081"/>
              <a:gd name="connsiteX67" fmla="*/ 152198 w 581566"/>
              <a:gd name="connsiteY67" fmla="*/ 62291 h 110081"/>
              <a:gd name="connsiteX68" fmla="*/ 136811 w 581566"/>
              <a:gd name="connsiteY68" fmla="*/ 56752 h 110081"/>
              <a:gd name="connsiteX69" fmla="*/ 120825 w 581566"/>
              <a:gd name="connsiteY69" fmla="*/ 62291 h 110081"/>
              <a:gd name="connsiteX70" fmla="*/ 114550 w 581566"/>
              <a:gd name="connsiteY70" fmla="*/ 77536 h 110081"/>
              <a:gd name="connsiteX71" fmla="*/ 120825 w 581566"/>
              <a:gd name="connsiteY71" fmla="*/ 92907 h 110081"/>
              <a:gd name="connsiteX72" fmla="*/ 136811 w 581566"/>
              <a:gd name="connsiteY72" fmla="*/ 98258 h 110081"/>
              <a:gd name="connsiteX73" fmla="*/ 253011 w 581566"/>
              <a:gd name="connsiteY73" fmla="*/ 108588 h 110081"/>
              <a:gd name="connsiteX74" fmla="*/ 184736 w 581566"/>
              <a:gd name="connsiteY74" fmla="*/ 108588 h 110081"/>
              <a:gd name="connsiteX75" fmla="*/ 184736 w 581566"/>
              <a:gd name="connsiteY75" fmla="*/ 94400 h 110081"/>
              <a:gd name="connsiteX76" fmla="*/ 210880 w 581566"/>
              <a:gd name="connsiteY76" fmla="*/ 72433 h 110081"/>
              <a:gd name="connsiteX77" fmla="*/ 226866 w 581566"/>
              <a:gd name="connsiteY77" fmla="*/ 56628 h 110081"/>
              <a:gd name="connsiteX78" fmla="*/ 234934 w 581566"/>
              <a:gd name="connsiteY78" fmla="*/ 43933 h 110081"/>
              <a:gd name="connsiteX79" fmla="*/ 237324 w 581566"/>
              <a:gd name="connsiteY79" fmla="*/ 32109 h 110081"/>
              <a:gd name="connsiteX80" fmla="*/ 231796 w 581566"/>
              <a:gd name="connsiteY80" fmla="*/ 17610 h 110081"/>
              <a:gd name="connsiteX81" fmla="*/ 216558 w 581566"/>
              <a:gd name="connsiteY81" fmla="*/ 12383 h 110081"/>
              <a:gd name="connsiteX82" fmla="*/ 187575 w 581566"/>
              <a:gd name="connsiteY82" fmla="*/ 27194 h 110081"/>
              <a:gd name="connsiteX83" fmla="*/ 187575 w 581566"/>
              <a:gd name="connsiteY83" fmla="*/ 12134 h 110081"/>
              <a:gd name="connsiteX84" fmla="*/ 217006 w 581566"/>
              <a:gd name="connsiteY84" fmla="*/ 0 h 110081"/>
              <a:gd name="connsiteX85" fmla="*/ 242404 w 581566"/>
              <a:gd name="connsiteY85" fmla="*/ 8401 h 110081"/>
              <a:gd name="connsiteX86" fmla="*/ 251816 w 581566"/>
              <a:gd name="connsiteY86" fmla="*/ 30803 h 110081"/>
              <a:gd name="connsiteX87" fmla="*/ 249425 w 581566"/>
              <a:gd name="connsiteY87" fmla="*/ 44804 h 110081"/>
              <a:gd name="connsiteX88" fmla="*/ 241358 w 581566"/>
              <a:gd name="connsiteY88" fmla="*/ 58681 h 110081"/>
              <a:gd name="connsiteX89" fmla="*/ 225671 w 581566"/>
              <a:gd name="connsiteY89" fmla="*/ 74860 h 110081"/>
              <a:gd name="connsiteX90" fmla="*/ 200273 w 581566"/>
              <a:gd name="connsiteY90" fmla="*/ 95769 h 110081"/>
              <a:gd name="connsiteX91" fmla="*/ 253011 w 581566"/>
              <a:gd name="connsiteY91" fmla="*/ 95769 h 110081"/>
              <a:gd name="connsiteX92" fmla="*/ 253011 w 581566"/>
              <a:gd name="connsiteY92" fmla="*/ 108588 h 110081"/>
              <a:gd name="connsiteX93" fmla="*/ 300936 w 581566"/>
              <a:gd name="connsiteY93" fmla="*/ 110082 h 110081"/>
              <a:gd name="connsiteX94" fmla="*/ 282710 w 581566"/>
              <a:gd name="connsiteY94" fmla="*/ 104233 h 110081"/>
              <a:gd name="connsiteX95" fmla="*/ 270011 w 581566"/>
              <a:gd name="connsiteY95" fmla="*/ 86311 h 110081"/>
              <a:gd name="connsiteX96" fmla="*/ 265529 w 581566"/>
              <a:gd name="connsiteY96" fmla="*/ 54947 h 110081"/>
              <a:gd name="connsiteX97" fmla="*/ 270011 w 581566"/>
              <a:gd name="connsiteY97" fmla="*/ 23584 h 110081"/>
              <a:gd name="connsiteX98" fmla="*/ 282710 w 581566"/>
              <a:gd name="connsiteY98" fmla="*/ 5849 h 110081"/>
              <a:gd name="connsiteX99" fmla="*/ 300936 w 581566"/>
              <a:gd name="connsiteY99" fmla="*/ 186 h 110081"/>
              <a:gd name="connsiteX100" fmla="*/ 319013 w 581566"/>
              <a:gd name="connsiteY100" fmla="*/ 5849 h 110081"/>
              <a:gd name="connsiteX101" fmla="*/ 331413 w 581566"/>
              <a:gd name="connsiteY101" fmla="*/ 23584 h 110081"/>
              <a:gd name="connsiteX102" fmla="*/ 335895 w 581566"/>
              <a:gd name="connsiteY102" fmla="*/ 54698 h 110081"/>
              <a:gd name="connsiteX103" fmla="*/ 331413 w 581566"/>
              <a:gd name="connsiteY103" fmla="*/ 86062 h 110081"/>
              <a:gd name="connsiteX104" fmla="*/ 319013 w 581566"/>
              <a:gd name="connsiteY104" fmla="*/ 104233 h 110081"/>
              <a:gd name="connsiteX105" fmla="*/ 300936 w 581566"/>
              <a:gd name="connsiteY105" fmla="*/ 110082 h 110081"/>
              <a:gd name="connsiteX106" fmla="*/ 300787 w 581566"/>
              <a:gd name="connsiteY106" fmla="*/ 98258 h 110081"/>
              <a:gd name="connsiteX107" fmla="*/ 312141 w 581566"/>
              <a:gd name="connsiteY107" fmla="*/ 94275 h 110081"/>
              <a:gd name="connsiteX108" fmla="*/ 319312 w 581566"/>
              <a:gd name="connsiteY108" fmla="*/ 80648 h 110081"/>
              <a:gd name="connsiteX109" fmla="*/ 321852 w 581566"/>
              <a:gd name="connsiteY109" fmla="*/ 55134 h 110081"/>
              <a:gd name="connsiteX110" fmla="*/ 319462 w 581566"/>
              <a:gd name="connsiteY110" fmla="*/ 29745 h 110081"/>
              <a:gd name="connsiteX111" fmla="*/ 312290 w 581566"/>
              <a:gd name="connsiteY111" fmla="*/ 16117 h 110081"/>
              <a:gd name="connsiteX112" fmla="*/ 300936 w 581566"/>
              <a:gd name="connsiteY112" fmla="*/ 11947 h 110081"/>
              <a:gd name="connsiteX113" fmla="*/ 289433 w 581566"/>
              <a:gd name="connsiteY113" fmla="*/ 16117 h 110081"/>
              <a:gd name="connsiteX114" fmla="*/ 282112 w 581566"/>
              <a:gd name="connsiteY114" fmla="*/ 29745 h 110081"/>
              <a:gd name="connsiteX115" fmla="*/ 279572 w 581566"/>
              <a:gd name="connsiteY115" fmla="*/ 55134 h 110081"/>
              <a:gd name="connsiteX116" fmla="*/ 281963 w 581566"/>
              <a:gd name="connsiteY116" fmla="*/ 80648 h 110081"/>
              <a:gd name="connsiteX117" fmla="*/ 289283 w 581566"/>
              <a:gd name="connsiteY117" fmla="*/ 94275 h 110081"/>
              <a:gd name="connsiteX118" fmla="*/ 300787 w 581566"/>
              <a:gd name="connsiteY118" fmla="*/ 98258 h 110081"/>
              <a:gd name="connsiteX119" fmla="*/ 383080 w 581566"/>
              <a:gd name="connsiteY119" fmla="*/ 110082 h 110081"/>
              <a:gd name="connsiteX120" fmla="*/ 364854 w 581566"/>
              <a:gd name="connsiteY120" fmla="*/ 104233 h 110081"/>
              <a:gd name="connsiteX121" fmla="*/ 352155 w 581566"/>
              <a:gd name="connsiteY121" fmla="*/ 86311 h 110081"/>
              <a:gd name="connsiteX122" fmla="*/ 347673 w 581566"/>
              <a:gd name="connsiteY122" fmla="*/ 54947 h 110081"/>
              <a:gd name="connsiteX123" fmla="*/ 352155 w 581566"/>
              <a:gd name="connsiteY123" fmla="*/ 23584 h 110081"/>
              <a:gd name="connsiteX124" fmla="*/ 364854 w 581566"/>
              <a:gd name="connsiteY124" fmla="*/ 5849 h 110081"/>
              <a:gd name="connsiteX125" fmla="*/ 383080 w 581566"/>
              <a:gd name="connsiteY125" fmla="*/ 186 h 110081"/>
              <a:gd name="connsiteX126" fmla="*/ 401157 w 581566"/>
              <a:gd name="connsiteY126" fmla="*/ 5849 h 110081"/>
              <a:gd name="connsiteX127" fmla="*/ 413557 w 581566"/>
              <a:gd name="connsiteY127" fmla="*/ 23584 h 110081"/>
              <a:gd name="connsiteX128" fmla="*/ 418039 w 581566"/>
              <a:gd name="connsiteY128" fmla="*/ 54698 h 110081"/>
              <a:gd name="connsiteX129" fmla="*/ 413557 w 581566"/>
              <a:gd name="connsiteY129" fmla="*/ 86062 h 110081"/>
              <a:gd name="connsiteX130" fmla="*/ 401157 w 581566"/>
              <a:gd name="connsiteY130" fmla="*/ 104233 h 110081"/>
              <a:gd name="connsiteX131" fmla="*/ 383080 w 581566"/>
              <a:gd name="connsiteY131" fmla="*/ 110082 h 110081"/>
              <a:gd name="connsiteX132" fmla="*/ 382931 w 581566"/>
              <a:gd name="connsiteY132" fmla="*/ 98258 h 110081"/>
              <a:gd name="connsiteX133" fmla="*/ 394285 w 581566"/>
              <a:gd name="connsiteY133" fmla="*/ 94275 h 110081"/>
              <a:gd name="connsiteX134" fmla="*/ 401456 w 581566"/>
              <a:gd name="connsiteY134" fmla="*/ 80648 h 110081"/>
              <a:gd name="connsiteX135" fmla="*/ 403995 w 581566"/>
              <a:gd name="connsiteY135" fmla="*/ 55134 h 110081"/>
              <a:gd name="connsiteX136" fmla="*/ 401605 w 581566"/>
              <a:gd name="connsiteY136" fmla="*/ 29745 h 110081"/>
              <a:gd name="connsiteX137" fmla="*/ 394434 w 581566"/>
              <a:gd name="connsiteY137" fmla="*/ 16117 h 110081"/>
              <a:gd name="connsiteX138" fmla="*/ 383080 w 581566"/>
              <a:gd name="connsiteY138" fmla="*/ 11947 h 110081"/>
              <a:gd name="connsiteX139" fmla="*/ 371576 w 581566"/>
              <a:gd name="connsiteY139" fmla="*/ 16117 h 110081"/>
              <a:gd name="connsiteX140" fmla="*/ 364256 w 581566"/>
              <a:gd name="connsiteY140" fmla="*/ 29745 h 110081"/>
              <a:gd name="connsiteX141" fmla="*/ 361716 w 581566"/>
              <a:gd name="connsiteY141" fmla="*/ 55134 h 110081"/>
              <a:gd name="connsiteX142" fmla="*/ 364107 w 581566"/>
              <a:gd name="connsiteY142" fmla="*/ 80648 h 110081"/>
              <a:gd name="connsiteX143" fmla="*/ 371427 w 581566"/>
              <a:gd name="connsiteY143" fmla="*/ 94275 h 110081"/>
              <a:gd name="connsiteX144" fmla="*/ 382931 w 581566"/>
              <a:gd name="connsiteY144" fmla="*/ 98258 h 110081"/>
              <a:gd name="connsiteX145" fmla="*/ 448634 w 581566"/>
              <a:gd name="connsiteY145" fmla="*/ 58992 h 110081"/>
              <a:gd name="connsiteX146" fmla="*/ 448634 w 581566"/>
              <a:gd name="connsiteY146" fmla="*/ 46298 h 110081"/>
              <a:gd name="connsiteX147" fmla="*/ 462977 w 581566"/>
              <a:gd name="connsiteY147" fmla="*/ 46298 h 110081"/>
              <a:gd name="connsiteX148" fmla="*/ 476571 w 581566"/>
              <a:gd name="connsiteY148" fmla="*/ 41817 h 110081"/>
              <a:gd name="connsiteX149" fmla="*/ 481950 w 581566"/>
              <a:gd name="connsiteY149" fmla="*/ 28812 h 110081"/>
              <a:gd name="connsiteX150" fmla="*/ 477020 w 581566"/>
              <a:gd name="connsiteY150" fmla="*/ 16864 h 110081"/>
              <a:gd name="connsiteX151" fmla="*/ 462827 w 581566"/>
              <a:gd name="connsiteY151" fmla="*/ 12383 h 110081"/>
              <a:gd name="connsiteX152" fmla="*/ 448186 w 581566"/>
              <a:gd name="connsiteY152" fmla="*/ 15246 h 110081"/>
              <a:gd name="connsiteX153" fmla="*/ 434143 w 581566"/>
              <a:gd name="connsiteY153" fmla="*/ 24331 h 110081"/>
              <a:gd name="connsiteX154" fmla="*/ 434143 w 581566"/>
              <a:gd name="connsiteY154" fmla="*/ 9707 h 110081"/>
              <a:gd name="connsiteX155" fmla="*/ 462977 w 581566"/>
              <a:gd name="connsiteY155" fmla="*/ 0 h 110081"/>
              <a:gd name="connsiteX156" fmla="*/ 487029 w 581566"/>
              <a:gd name="connsiteY156" fmla="*/ 7779 h 110081"/>
              <a:gd name="connsiteX157" fmla="*/ 495844 w 581566"/>
              <a:gd name="connsiteY157" fmla="*/ 28065 h 110081"/>
              <a:gd name="connsiteX158" fmla="*/ 490167 w 581566"/>
              <a:gd name="connsiteY158" fmla="*/ 44244 h 110081"/>
              <a:gd name="connsiteX159" fmla="*/ 476870 w 581566"/>
              <a:gd name="connsiteY159" fmla="*/ 52147 h 110081"/>
              <a:gd name="connsiteX160" fmla="*/ 488374 w 581566"/>
              <a:gd name="connsiteY160" fmla="*/ 56441 h 110081"/>
              <a:gd name="connsiteX161" fmla="*/ 497039 w 581566"/>
              <a:gd name="connsiteY161" fmla="*/ 65153 h 110081"/>
              <a:gd name="connsiteX162" fmla="*/ 500326 w 581566"/>
              <a:gd name="connsiteY162" fmla="*/ 77661 h 110081"/>
              <a:gd name="connsiteX163" fmla="*/ 495396 w 581566"/>
              <a:gd name="connsiteY163" fmla="*/ 94836 h 110081"/>
              <a:gd name="connsiteX164" fmla="*/ 481801 w 581566"/>
              <a:gd name="connsiteY164" fmla="*/ 106224 h 110081"/>
              <a:gd name="connsiteX165" fmla="*/ 461931 w 581566"/>
              <a:gd name="connsiteY165" fmla="*/ 110082 h 110081"/>
              <a:gd name="connsiteX166" fmla="*/ 431454 w 581566"/>
              <a:gd name="connsiteY166" fmla="*/ 100997 h 110081"/>
              <a:gd name="connsiteX167" fmla="*/ 431454 w 581566"/>
              <a:gd name="connsiteY167" fmla="*/ 86062 h 110081"/>
              <a:gd name="connsiteX168" fmla="*/ 445198 w 581566"/>
              <a:gd name="connsiteY168" fmla="*/ 94711 h 110081"/>
              <a:gd name="connsiteX169" fmla="*/ 462080 w 581566"/>
              <a:gd name="connsiteY169" fmla="*/ 97823 h 110081"/>
              <a:gd name="connsiteX170" fmla="*/ 479410 w 581566"/>
              <a:gd name="connsiteY170" fmla="*/ 92596 h 110081"/>
              <a:gd name="connsiteX171" fmla="*/ 485834 w 581566"/>
              <a:gd name="connsiteY171" fmla="*/ 77972 h 110081"/>
              <a:gd name="connsiteX172" fmla="*/ 480008 w 581566"/>
              <a:gd name="connsiteY172" fmla="*/ 64095 h 110081"/>
              <a:gd name="connsiteX173" fmla="*/ 462379 w 581566"/>
              <a:gd name="connsiteY173" fmla="*/ 58992 h 110081"/>
              <a:gd name="connsiteX174" fmla="*/ 448634 w 581566"/>
              <a:gd name="connsiteY174" fmla="*/ 58992 h 110081"/>
              <a:gd name="connsiteX175" fmla="*/ 581567 w 581566"/>
              <a:gd name="connsiteY175" fmla="*/ 108588 h 110081"/>
              <a:gd name="connsiteX176" fmla="*/ 513292 w 581566"/>
              <a:gd name="connsiteY176" fmla="*/ 108588 h 110081"/>
              <a:gd name="connsiteX177" fmla="*/ 513292 w 581566"/>
              <a:gd name="connsiteY177" fmla="*/ 94400 h 110081"/>
              <a:gd name="connsiteX178" fmla="*/ 539437 w 581566"/>
              <a:gd name="connsiteY178" fmla="*/ 72433 h 110081"/>
              <a:gd name="connsiteX179" fmla="*/ 555422 w 581566"/>
              <a:gd name="connsiteY179" fmla="*/ 56628 h 110081"/>
              <a:gd name="connsiteX180" fmla="*/ 563490 w 581566"/>
              <a:gd name="connsiteY180" fmla="*/ 43933 h 110081"/>
              <a:gd name="connsiteX181" fmla="*/ 565880 w 581566"/>
              <a:gd name="connsiteY181" fmla="*/ 32109 h 110081"/>
              <a:gd name="connsiteX182" fmla="*/ 560353 w 581566"/>
              <a:gd name="connsiteY182" fmla="*/ 17610 h 110081"/>
              <a:gd name="connsiteX183" fmla="*/ 545114 w 581566"/>
              <a:gd name="connsiteY183" fmla="*/ 12383 h 110081"/>
              <a:gd name="connsiteX184" fmla="*/ 516131 w 581566"/>
              <a:gd name="connsiteY184" fmla="*/ 27194 h 110081"/>
              <a:gd name="connsiteX185" fmla="*/ 516131 w 581566"/>
              <a:gd name="connsiteY185" fmla="*/ 12134 h 110081"/>
              <a:gd name="connsiteX186" fmla="*/ 545562 w 581566"/>
              <a:gd name="connsiteY186" fmla="*/ 0 h 110081"/>
              <a:gd name="connsiteX187" fmla="*/ 570960 w 581566"/>
              <a:gd name="connsiteY187" fmla="*/ 8401 h 110081"/>
              <a:gd name="connsiteX188" fmla="*/ 580372 w 581566"/>
              <a:gd name="connsiteY188" fmla="*/ 30803 h 110081"/>
              <a:gd name="connsiteX189" fmla="*/ 577981 w 581566"/>
              <a:gd name="connsiteY189" fmla="*/ 44804 h 110081"/>
              <a:gd name="connsiteX190" fmla="*/ 569914 w 581566"/>
              <a:gd name="connsiteY190" fmla="*/ 58681 h 110081"/>
              <a:gd name="connsiteX191" fmla="*/ 554227 w 581566"/>
              <a:gd name="connsiteY191" fmla="*/ 74860 h 110081"/>
              <a:gd name="connsiteX192" fmla="*/ 528830 w 581566"/>
              <a:gd name="connsiteY192" fmla="*/ 95769 h 110081"/>
              <a:gd name="connsiteX193" fmla="*/ 581567 w 581566"/>
              <a:gd name="connsiteY193" fmla="*/ 95769 h 110081"/>
              <a:gd name="connsiteX194" fmla="*/ 581567 w 581566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6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811" y="110082"/>
                </a:moveTo>
                <a:cubicBezTo>
                  <a:pt x="129839" y="110082"/>
                  <a:pt x="123614" y="108900"/>
                  <a:pt x="118136" y="106473"/>
                </a:cubicBezTo>
                <a:cubicBezTo>
                  <a:pt x="112757" y="104108"/>
                  <a:pt x="108525" y="100685"/>
                  <a:pt x="105437" y="96205"/>
                </a:cubicBezTo>
                <a:cubicBezTo>
                  <a:pt x="102349" y="91600"/>
                  <a:pt x="100806" y="86124"/>
                  <a:pt x="100806" y="79777"/>
                </a:cubicBezTo>
                <a:cubicBezTo>
                  <a:pt x="100806" y="72869"/>
                  <a:pt x="102599" y="67082"/>
                  <a:pt x="106184" y="62291"/>
                </a:cubicBezTo>
                <a:cubicBezTo>
                  <a:pt x="109869" y="57437"/>
                  <a:pt x="114799" y="53889"/>
                  <a:pt x="120974" y="51711"/>
                </a:cubicBezTo>
                <a:cubicBezTo>
                  <a:pt x="115995" y="49720"/>
                  <a:pt x="112010" y="46671"/>
                  <a:pt x="109023" y="42564"/>
                </a:cubicBezTo>
                <a:cubicBezTo>
                  <a:pt x="106134" y="38519"/>
                  <a:pt x="104690" y="33479"/>
                  <a:pt x="104690" y="27504"/>
                </a:cubicBezTo>
                <a:cubicBezTo>
                  <a:pt x="104690" y="21593"/>
                  <a:pt x="106085" y="16615"/>
                  <a:pt x="108873" y="12570"/>
                </a:cubicBezTo>
                <a:cubicBezTo>
                  <a:pt x="111662" y="8463"/>
                  <a:pt x="115496" y="5414"/>
                  <a:pt x="120377" y="3298"/>
                </a:cubicBezTo>
                <a:cubicBezTo>
                  <a:pt x="125257" y="1182"/>
                  <a:pt x="130735" y="186"/>
                  <a:pt x="136811" y="186"/>
                </a:cubicBezTo>
                <a:cubicBezTo>
                  <a:pt x="142787" y="186"/>
                  <a:pt x="148165" y="1182"/>
                  <a:pt x="152946" y="3298"/>
                </a:cubicBezTo>
                <a:cubicBezTo>
                  <a:pt x="157726" y="5289"/>
                  <a:pt x="161511" y="8276"/>
                  <a:pt x="164300" y="12259"/>
                </a:cubicBezTo>
                <a:cubicBezTo>
                  <a:pt x="167188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2" y="46484"/>
                  <a:pt x="157228" y="49596"/>
                  <a:pt x="152348" y="51711"/>
                </a:cubicBezTo>
                <a:cubicBezTo>
                  <a:pt x="158324" y="53765"/>
                  <a:pt x="163104" y="57188"/>
                  <a:pt x="166690" y="61855"/>
                </a:cubicBezTo>
                <a:cubicBezTo>
                  <a:pt x="170375" y="66522"/>
                  <a:pt x="172218" y="72372"/>
                  <a:pt x="172218" y="79341"/>
                </a:cubicBezTo>
                <a:cubicBezTo>
                  <a:pt x="172218" y="85688"/>
                  <a:pt x="170674" y="91226"/>
                  <a:pt x="167587" y="95893"/>
                </a:cubicBezTo>
                <a:cubicBezTo>
                  <a:pt x="164499" y="100498"/>
                  <a:pt x="160266" y="103983"/>
                  <a:pt x="154888" y="106473"/>
                </a:cubicBezTo>
                <a:cubicBezTo>
                  <a:pt x="149609" y="108900"/>
                  <a:pt x="143583" y="110082"/>
                  <a:pt x="136811" y="110082"/>
                </a:cubicBezTo>
                <a:close/>
                <a:moveTo>
                  <a:pt x="136811" y="46298"/>
                </a:moveTo>
                <a:cubicBezTo>
                  <a:pt x="142089" y="46298"/>
                  <a:pt x="146422" y="44804"/>
                  <a:pt x="149808" y="41817"/>
                </a:cubicBezTo>
                <a:cubicBezTo>
                  <a:pt x="153294" y="38768"/>
                  <a:pt x="155037" y="34536"/>
                  <a:pt x="155037" y="29122"/>
                </a:cubicBezTo>
                <a:cubicBezTo>
                  <a:pt x="155037" y="23771"/>
                  <a:pt x="153294" y="19601"/>
                  <a:pt x="149808" y="16615"/>
                </a:cubicBezTo>
                <a:cubicBezTo>
                  <a:pt x="146422" y="13503"/>
                  <a:pt x="142089" y="11947"/>
                  <a:pt x="136811" y="11947"/>
                </a:cubicBezTo>
                <a:cubicBezTo>
                  <a:pt x="131532" y="11947"/>
                  <a:pt x="127100" y="13503"/>
                  <a:pt x="123514" y="16615"/>
                </a:cubicBezTo>
                <a:cubicBezTo>
                  <a:pt x="120028" y="19601"/>
                  <a:pt x="118285" y="23771"/>
                  <a:pt x="118285" y="29122"/>
                </a:cubicBezTo>
                <a:cubicBezTo>
                  <a:pt x="118285" y="34536"/>
                  <a:pt x="120028" y="38768"/>
                  <a:pt x="123514" y="41817"/>
                </a:cubicBezTo>
                <a:cubicBezTo>
                  <a:pt x="127100" y="44804"/>
                  <a:pt x="131532" y="46298"/>
                  <a:pt x="136811" y="46298"/>
                </a:cubicBezTo>
                <a:close/>
                <a:moveTo>
                  <a:pt x="136811" y="98258"/>
                </a:moveTo>
                <a:cubicBezTo>
                  <a:pt x="142986" y="98258"/>
                  <a:pt x="148115" y="96516"/>
                  <a:pt x="152198" y="92907"/>
                </a:cubicBezTo>
                <a:cubicBezTo>
                  <a:pt x="156381" y="89235"/>
                  <a:pt x="158473" y="84071"/>
                  <a:pt x="158473" y="77536"/>
                </a:cubicBezTo>
                <a:cubicBezTo>
                  <a:pt x="158473" y="70940"/>
                  <a:pt x="156381" y="65900"/>
                  <a:pt x="152198" y="62291"/>
                </a:cubicBezTo>
                <a:cubicBezTo>
                  <a:pt x="148115" y="58619"/>
                  <a:pt x="142986" y="56752"/>
                  <a:pt x="136811" y="56752"/>
                </a:cubicBezTo>
                <a:cubicBezTo>
                  <a:pt x="130436" y="56752"/>
                  <a:pt x="125108" y="58619"/>
                  <a:pt x="120825" y="62291"/>
                </a:cubicBezTo>
                <a:cubicBezTo>
                  <a:pt x="116642" y="65900"/>
                  <a:pt x="114550" y="70940"/>
                  <a:pt x="114550" y="77536"/>
                </a:cubicBezTo>
                <a:cubicBezTo>
                  <a:pt x="114550" y="84071"/>
                  <a:pt x="116642" y="89235"/>
                  <a:pt x="120825" y="92907"/>
                </a:cubicBezTo>
                <a:cubicBezTo>
                  <a:pt x="125108" y="96516"/>
                  <a:pt x="130436" y="98258"/>
                  <a:pt x="136811" y="98258"/>
                </a:cubicBez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0" y="72433"/>
                </a:cubicBezTo>
                <a:cubicBezTo>
                  <a:pt x="217753" y="66397"/>
                  <a:pt x="223081" y="61108"/>
                  <a:pt x="226866" y="56628"/>
                </a:cubicBezTo>
                <a:cubicBezTo>
                  <a:pt x="230750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1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8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3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8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8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5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5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5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0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1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1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0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29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1" y="40262"/>
                  <a:pt x="490167" y="44244"/>
                </a:cubicBezTo>
                <a:cubicBezTo>
                  <a:pt x="486482" y="48227"/>
                  <a:pt x="482049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2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4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0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81567" y="108588"/>
                </a:moveTo>
                <a:lnTo>
                  <a:pt x="513292" y="108588"/>
                </a:lnTo>
                <a:lnTo>
                  <a:pt x="513292" y="94400"/>
                </a:lnTo>
                <a:cubicBezTo>
                  <a:pt x="523949" y="85812"/>
                  <a:pt x="532664" y="78532"/>
                  <a:pt x="539437" y="72433"/>
                </a:cubicBezTo>
                <a:cubicBezTo>
                  <a:pt x="546309" y="66397"/>
                  <a:pt x="551638" y="61108"/>
                  <a:pt x="555422" y="56628"/>
                </a:cubicBezTo>
                <a:cubicBezTo>
                  <a:pt x="559307" y="52023"/>
                  <a:pt x="561996" y="47791"/>
                  <a:pt x="563490" y="43933"/>
                </a:cubicBezTo>
                <a:cubicBezTo>
                  <a:pt x="565083" y="40012"/>
                  <a:pt x="565880" y="36092"/>
                  <a:pt x="565880" y="32109"/>
                </a:cubicBezTo>
                <a:cubicBezTo>
                  <a:pt x="565880" y="25949"/>
                  <a:pt x="564038" y="21095"/>
                  <a:pt x="560353" y="17610"/>
                </a:cubicBezTo>
                <a:cubicBezTo>
                  <a:pt x="556667" y="14125"/>
                  <a:pt x="551588" y="12383"/>
                  <a:pt x="545114" y="12383"/>
                </a:cubicBezTo>
                <a:cubicBezTo>
                  <a:pt x="534756" y="12383"/>
                  <a:pt x="525095" y="17361"/>
                  <a:pt x="516131" y="27194"/>
                </a:cubicBezTo>
                <a:lnTo>
                  <a:pt x="516131" y="12134"/>
                </a:lnTo>
                <a:cubicBezTo>
                  <a:pt x="524398" y="4044"/>
                  <a:pt x="534208" y="0"/>
                  <a:pt x="545562" y="0"/>
                </a:cubicBezTo>
                <a:cubicBezTo>
                  <a:pt x="556319" y="0"/>
                  <a:pt x="564785" y="2800"/>
                  <a:pt x="570960" y="8401"/>
                </a:cubicBezTo>
                <a:cubicBezTo>
                  <a:pt x="577234" y="13877"/>
                  <a:pt x="580372" y="21344"/>
                  <a:pt x="580372" y="30803"/>
                </a:cubicBezTo>
                <a:cubicBezTo>
                  <a:pt x="580372" y="35657"/>
                  <a:pt x="579575" y="40324"/>
                  <a:pt x="577981" y="44804"/>
                </a:cubicBezTo>
                <a:cubicBezTo>
                  <a:pt x="576487" y="49222"/>
                  <a:pt x="573798" y="53827"/>
                  <a:pt x="569914" y="58681"/>
                </a:cubicBezTo>
                <a:cubicBezTo>
                  <a:pt x="566129" y="63473"/>
                  <a:pt x="560900" y="68887"/>
                  <a:pt x="554227" y="74860"/>
                </a:cubicBezTo>
                <a:cubicBezTo>
                  <a:pt x="547554" y="80835"/>
                  <a:pt x="539088" y="87804"/>
                  <a:pt x="528830" y="95769"/>
                </a:cubicBezTo>
                <a:lnTo>
                  <a:pt x="581567" y="95769"/>
                </a:lnTo>
                <a:lnTo>
                  <a:pt x="581567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5" name="Полилиния 1004">
            <a:extLst>
              <a:ext uri="{FF2B5EF4-FFF2-40B4-BE49-F238E27FC236}">
                <a16:creationId xmlns:a16="http://schemas.microsoft.com/office/drawing/2014/main" id="{47E73516-A88F-690D-713E-3354035A8988}"/>
              </a:ext>
            </a:extLst>
          </p:cNvPr>
          <p:cNvSpPr/>
          <p:nvPr userDrawn="1"/>
        </p:nvSpPr>
        <p:spPr>
          <a:xfrm>
            <a:off x="18445574" y="5240073"/>
            <a:ext cx="1398954" cy="726227"/>
          </a:xfrm>
          <a:custGeom>
            <a:avLst/>
            <a:gdLst>
              <a:gd name="connsiteX0" fmla="*/ 850 w 1198727"/>
              <a:gd name="connsiteY0" fmla="*/ 1222 h 622284"/>
              <a:gd name="connsiteX1" fmla="*/ 1199578 w 1198727"/>
              <a:gd name="connsiteY1" fmla="*/ 1222 h 622284"/>
              <a:gd name="connsiteX2" fmla="*/ 1199578 w 1198727"/>
              <a:gd name="connsiteY2" fmla="*/ 623506 h 622284"/>
              <a:gd name="connsiteX3" fmla="*/ 850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222"/>
                </a:moveTo>
                <a:lnTo>
                  <a:pt x="1199578" y="1222"/>
                </a:lnTo>
                <a:lnTo>
                  <a:pt x="1199578" y="623506"/>
                </a:lnTo>
                <a:lnTo>
                  <a:pt x="850" y="623506"/>
                </a:lnTo>
                <a:close/>
              </a:path>
            </a:pathLst>
          </a:custGeom>
          <a:solidFill>
            <a:srgbClr val="AA003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6" name="Полилиния 1005">
            <a:extLst>
              <a:ext uri="{FF2B5EF4-FFF2-40B4-BE49-F238E27FC236}">
                <a16:creationId xmlns:a16="http://schemas.microsoft.com/office/drawing/2014/main" id="{C254DD81-D8DF-D839-0359-A7C2330A13C4}"/>
              </a:ext>
            </a:extLst>
          </p:cNvPr>
          <p:cNvSpPr/>
          <p:nvPr userDrawn="1"/>
        </p:nvSpPr>
        <p:spPr>
          <a:xfrm>
            <a:off x="18568782" y="5541820"/>
            <a:ext cx="721445" cy="128468"/>
          </a:xfrm>
          <a:custGeom>
            <a:avLst/>
            <a:gdLst>
              <a:gd name="connsiteX0" fmla="*/ 22111 w 618187"/>
              <a:gd name="connsiteY0" fmla="*/ 108588 h 110081"/>
              <a:gd name="connsiteX1" fmla="*/ 10159 w 618187"/>
              <a:gd name="connsiteY1" fmla="*/ 108588 h 110081"/>
              <a:gd name="connsiteX2" fmla="*/ 16433 w 618187"/>
              <a:gd name="connsiteY2" fmla="*/ 77661 h 110081"/>
              <a:gd name="connsiteX3" fmla="*/ 0 w 618187"/>
              <a:gd name="connsiteY3" fmla="*/ 77661 h 110081"/>
              <a:gd name="connsiteX4" fmla="*/ 0 w 618187"/>
              <a:gd name="connsiteY4" fmla="*/ 67206 h 110081"/>
              <a:gd name="connsiteX5" fmla="*/ 18675 w 618187"/>
              <a:gd name="connsiteY5" fmla="*/ 67206 h 110081"/>
              <a:gd name="connsiteX6" fmla="*/ 24202 w 618187"/>
              <a:gd name="connsiteY6" fmla="*/ 40012 h 110081"/>
              <a:gd name="connsiteX7" fmla="*/ 4033 w 618187"/>
              <a:gd name="connsiteY7" fmla="*/ 40012 h 110081"/>
              <a:gd name="connsiteX8" fmla="*/ 4033 w 618187"/>
              <a:gd name="connsiteY8" fmla="*/ 29559 h 110081"/>
              <a:gd name="connsiteX9" fmla="*/ 26294 w 618187"/>
              <a:gd name="connsiteY9" fmla="*/ 29559 h 110081"/>
              <a:gd name="connsiteX10" fmla="*/ 32120 w 618187"/>
              <a:gd name="connsiteY10" fmla="*/ 1493 h 110081"/>
              <a:gd name="connsiteX11" fmla="*/ 44072 w 618187"/>
              <a:gd name="connsiteY11" fmla="*/ 1493 h 110081"/>
              <a:gd name="connsiteX12" fmla="*/ 38246 w 618187"/>
              <a:gd name="connsiteY12" fmla="*/ 29559 h 110081"/>
              <a:gd name="connsiteX13" fmla="*/ 60655 w 618187"/>
              <a:gd name="connsiteY13" fmla="*/ 29559 h 110081"/>
              <a:gd name="connsiteX14" fmla="*/ 66482 w 618187"/>
              <a:gd name="connsiteY14" fmla="*/ 1493 h 110081"/>
              <a:gd name="connsiteX15" fmla="*/ 78434 w 618187"/>
              <a:gd name="connsiteY15" fmla="*/ 1493 h 110081"/>
              <a:gd name="connsiteX16" fmla="*/ 72607 w 618187"/>
              <a:gd name="connsiteY16" fmla="*/ 29559 h 110081"/>
              <a:gd name="connsiteX17" fmla="*/ 89340 w 618187"/>
              <a:gd name="connsiteY17" fmla="*/ 29559 h 110081"/>
              <a:gd name="connsiteX18" fmla="*/ 89340 w 618187"/>
              <a:gd name="connsiteY18" fmla="*/ 40012 h 110081"/>
              <a:gd name="connsiteX19" fmla="*/ 70516 w 618187"/>
              <a:gd name="connsiteY19" fmla="*/ 40012 h 110081"/>
              <a:gd name="connsiteX20" fmla="*/ 64988 w 618187"/>
              <a:gd name="connsiteY20" fmla="*/ 67206 h 110081"/>
              <a:gd name="connsiteX21" fmla="*/ 85306 w 618187"/>
              <a:gd name="connsiteY21" fmla="*/ 67206 h 110081"/>
              <a:gd name="connsiteX22" fmla="*/ 85306 w 618187"/>
              <a:gd name="connsiteY22" fmla="*/ 77661 h 110081"/>
              <a:gd name="connsiteX23" fmla="*/ 62747 w 618187"/>
              <a:gd name="connsiteY23" fmla="*/ 77661 h 110081"/>
              <a:gd name="connsiteX24" fmla="*/ 56472 w 618187"/>
              <a:gd name="connsiteY24" fmla="*/ 108588 h 110081"/>
              <a:gd name="connsiteX25" fmla="*/ 44520 w 618187"/>
              <a:gd name="connsiteY25" fmla="*/ 108588 h 110081"/>
              <a:gd name="connsiteX26" fmla="*/ 50795 w 618187"/>
              <a:gd name="connsiteY26" fmla="*/ 77661 h 110081"/>
              <a:gd name="connsiteX27" fmla="*/ 28386 w 618187"/>
              <a:gd name="connsiteY27" fmla="*/ 77661 h 110081"/>
              <a:gd name="connsiteX28" fmla="*/ 22111 w 618187"/>
              <a:gd name="connsiteY28" fmla="*/ 108588 h 110081"/>
              <a:gd name="connsiteX29" fmla="*/ 30626 w 618187"/>
              <a:gd name="connsiteY29" fmla="*/ 67206 h 110081"/>
              <a:gd name="connsiteX30" fmla="*/ 53036 w 618187"/>
              <a:gd name="connsiteY30" fmla="*/ 67206 h 110081"/>
              <a:gd name="connsiteX31" fmla="*/ 58564 w 618187"/>
              <a:gd name="connsiteY31" fmla="*/ 40012 h 110081"/>
              <a:gd name="connsiteX32" fmla="*/ 36154 w 618187"/>
              <a:gd name="connsiteY32" fmla="*/ 40012 h 110081"/>
              <a:gd name="connsiteX33" fmla="*/ 30626 w 618187"/>
              <a:gd name="connsiteY33" fmla="*/ 67206 h 110081"/>
              <a:gd name="connsiteX34" fmla="*/ 189691 w 618187"/>
              <a:gd name="connsiteY34" fmla="*/ 108588 h 110081"/>
              <a:gd name="connsiteX35" fmla="*/ 174751 w 618187"/>
              <a:gd name="connsiteY35" fmla="*/ 108588 h 110081"/>
              <a:gd name="connsiteX36" fmla="*/ 163696 w 618187"/>
              <a:gd name="connsiteY36" fmla="*/ 77972 h 110081"/>
              <a:gd name="connsiteX37" fmla="*/ 116337 w 618187"/>
              <a:gd name="connsiteY37" fmla="*/ 77972 h 110081"/>
              <a:gd name="connsiteX38" fmla="*/ 105431 w 618187"/>
              <a:gd name="connsiteY38" fmla="*/ 108588 h 110081"/>
              <a:gd name="connsiteX39" fmla="*/ 92284 w 618187"/>
              <a:gd name="connsiteY39" fmla="*/ 108588 h 110081"/>
              <a:gd name="connsiteX40" fmla="*/ 130380 w 618187"/>
              <a:gd name="connsiteY40" fmla="*/ 1493 h 110081"/>
              <a:gd name="connsiteX41" fmla="*/ 151296 w 618187"/>
              <a:gd name="connsiteY41" fmla="*/ 1493 h 110081"/>
              <a:gd name="connsiteX42" fmla="*/ 189691 w 618187"/>
              <a:gd name="connsiteY42" fmla="*/ 108588 h 110081"/>
              <a:gd name="connsiteX43" fmla="*/ 120968 w 618187"/>
              <a:gd name="connsiteY43" fmla="*/ 65278 h 110081"/>
              <a:gd name="connsiteX44" fmla="*/ 159214 w 618187"/>
              <a:gd name="connsiteY44" fmla="*/ 65278 h 110081"/>
              <a:gd name="connsiteX45" fmla="*/ 140091 w 618187"/>
              <a:gd name="connsiteY45" fmla="*/ 11947 h 110081"/>
              <a:gd name="connsiteX46" fmla="*/ 120968 w 618187"/>
              <a:gd name="connsiteY46" fmla="*/ 65278 h 110081"/>
              <a:gd name="connsiteX47" fmla="*/ 293130 w 618187"/>
              <a:gd name="connsiteY47" fmla="*/ 108588 h 110081"/>
              <a:gd name="connsiteX48" fmla="*/ 278191 w 618187"/>
              <a:gd name="connsiteY48" fmla="*/ 108588 h 110081"/>
              <a:gd name="connsiteX49" fmla="*/ 267135 w 618187"/>
              <a:gd name="connsiteY49" fmla="*/ 77972 h 110081"/>
              <a:gd name="connsiteX50" fmla="*/ 219776 w 618187"/>
              <a:gd name="connsiteY50" fmla="*/ 77972 h 110081"/>
              <a:gd name="connsiteX51" fmla="*/ 208870 w 618187"/>
              <a:gd name="connsiteY51" fmla="*/ 108588 h 110081"/>
              <a:gd name="connsiteX52" fmla="*/ 195723 w 618187"/>
              <a:gd name="connsiteY52" fmla="*/ 108588 h 110081"/>
              <a:gd name="connsiteX53" fmla="*/ 233819 w 618187"/>
              <a:gd name="connsiteY53" fmla="*/ 1493 h 110081"/>
              <a:gd name="connsiteX54" fmla="*/ 254735 w 618187"/>
              <a:gd name="connsiteY54" fmla="*/ 1493 h 110081"/>
              <a:gd name="connsiteX55" fmla="*/ 293130 w 618187"/>
              <a:gd name="connsiteY55" fmla="*/ 108588 h 110081"/>
              <a:gd name="connsiteX56" fmla="*/ 224407 w 618187"/>
              <a:gd name="connsiteY56" fmla="*/ 65278 h 110081"/>
              <a:gd name="connsiteX57" fmla="*/ 262653 w 618187"/>
              <a:gd name="connsiteY57" fmla="*/ 65278 h 110081"/>
              <a:gd name="connsiteX58" fmla="*/ 243530 w 618187"/>
              <a:gd name="connsiteY58" fmla="*/ 11947 h 110081"/>
              <a:gd name="connsiteX59" fmla="*/ 224407 w 618187"/>
              <a:gd name="connsiteY59" fmla="*/ 65278 h 110081"/>
              <a:gd name="connsiteX60" fmla="*/ 337557 w 618187"/>
              <a:gd name="connsiteY60" fmla="*/ 110082 h 110081"/>
              <a:gd name="connsiteX61" fmla="*/ 319331 w 618187"/>
              <a:gd name="connsiteY61" fmla="*/ 104233 h 110081"/>
              <a:gd name="connsiteX62" fmla="*/ 306632 w 618187"/>
              <a:gd name="connsiteY62" fmla="*/ 86311 h 110081"/>
              <a:gd name="connsiteX63" fmla="*/ 302150 w 618187"/>
              <a:gd name="connsiteY63" fmla="*/ 54947 h 110081"/>
              <a:gd name="connsiteX64" fmla="*/ 306632 w 618187"/>
              <a:gd name="connsiteY64" fmla="*/ 23584 h 110081"/>
              <a:gd name="connsiteX65" fmla="*/ 319331 w 618187"/>
              <a:gd name="connsiteY65" fmla="*/ 5849 h 110081"/>
              <a:gd name="connsiteX66" fmla="*/ 337557 w 618187"/>
              <a:gd name="connsiteY66" fmla="*/ 186 h 110081"/>
              <a:gd name="connsiteX67" fmla="*/ 355634 w 618187"/>
              <a:gd name="connsiteY67" fmla="*/ 5849 h 110081"/>
              <a:gd name="connsiteX68" fmla="*/ 368034 w 618187"/>
              <a:gd name="connsiteY68" fmla="*/ 23584 h 110081"/>
              <a:gd name="connsiteX69" fmla="*/ 372516 w 618187"/>
              <a:gd name="connsiteY69" fmla="*/ 54698 h 110081"/>
              <a:gd name="connsiteX70" fmla="*/ 368034 w 618187"/>
              <a:gd name="connsiteY70" fmla="*/ 86062 h 110081"/>
              <a:gd name="connsiteX71" fmla="*/ 355634 w 618187"/>
              <a:gd name="connsiteY71" fmla="*/ 104233 h 110081"/>
              <a:gd name="connsiteX72" fmla="*/ 337557 w 618187"/>
              <a:gd name="connsiteY72" fmla="*/ 110082 h 110081"/>
              <a:gd name="connsiteX73" fmla="*/ 337408 w 618187"/>
              <a:gd name="connsiteY73" fmla="*/ 98258 h 110081"/>
              <a:gd name="connsiteX74" fmla="*/ 348762 w 618187"/>
              <a:gd name="connsiteY74" fmla="*/ 94275 h 110081"/>
              <a:gd name="connsiteX75" fmla="*/ 355933 w 618187"/>
              <a:gd name="connsiteY75" fmla="*/ 80648 h 110081"/>
              <a:gd name="connsiteX76" fmla="*/ 358473 w 618187"/>
              <a:gd name="connsiteY76" fmla="*/ 55134 h 110081"/>
              <a:gd name="connsiteX77" fmla="*/ 356083 w 618187"/>
              <a:gd name="connsiteY77" fmla="*/ 29745 h 110081"/>
              <a:gd name="connsiteX78" fmla="*/ 348911 w 618187"/>
              <a:gd name="connsiteY78" fmla="*/ 16117 h 110081"/>
              <a:gd name="connsiteX79" fmla="*/ 337557 w 618187"/>
              <a:gd name="connsiteY79" fmla="*/ 11947 h 110081"/>
              <a:gd name="connsiteX80" fmla="*/ 326054 w 618187"/>
              <a:gd name="connsiteY80" fmla="*/ 16117 h 110081"/>
              <a:gd name="connsiteX81" fmla="*/ 318733 w 618187"/>
              <a:gd name="connsiteY81" fmla="*/ 29745 h 110081"/>
              <a:gd name="connsiteX82" fmla="*/ 316193 w 618187"/>
              <a:gd name="connsiteY82" fmla="*/ 55134 h 110081"/>
              <a:gd name="connsiteX83" fmla="*/ 318584 w 618187"/>
              <a:gd name="connsiteY83" fmla="*/ 80648 h 110081"/>
              <a:gd name="connsiteX84" fmla="*/ 325904 w 618187"/>
              <a:gd name="connsiteY84" fmla="*/ 94275 h 110081"/>
              <a:gd name="connsiteX85" fmla="*/ 337408 w 618187"/>
              <a:gd name="connsiteY85" fmla="*/ 98258 h 110081"/>
              <a:gd name="connsiteX86" fmla="*/ 419695 w 618187"/>
              <a:gd name="connsiteY86" fmla="*/ 110082 h 110081"/>
              <a:gd name="connsiteX87" fmla="*/ 401468 w 618187"/>
              <a:gd name="connsiteY87" fmla="*/ 104233 h 110081"/>
              <a:gd name="connsiteX88" fmla="*/ 388769 w 618187"/>
              <a:gd name="connsiteY88" fmla="*/ 86311 h 110081"/>
              <a:gd name="connsiteX89" fmla="*/ 384287 w 618187"/>
              <a:gd name="connsiteY89" fmla="*/ 54947 h 110081"/>
              <a:gd name="connsiteX90" fmla="*/ 388769 w 618187"/>
              <a:gd name="connsiteY90" fmla="*/ 23584 h 110081"/>
              <a:gd name="connsiteX91" fmla="*/ 401468 w 618187"/>
              <a:gd name="connsiteY91" fmla="*/ 5849 h 110081"/>
              <a:gd name="connsiteX92" fmla="*/ 419695 w 618187"/>
              <a:gd name="connsiteY92" fmla="*/ 186 h 110081"/>
              <a:gd name="connsiteX93" fmla="*/ 437772 w 618187"/>
              <a:gd name="connsiteY93" fmla="*/ 5849 h 110081"/>
              <a:gd name="connsiteX94" fmla="*/ 450172 w 618187"/>
              <a:gd name="connsiteY94" fmla="*/ 23584 h 110081"/>
              <a:gd name="connsiteX95" fmla="*/ 454654 w 618187"/>
              <a:gd name="connsiteY95" fmla="*/ 54698 h 110081"/>
              <a:gd name="connsiteX96" fmla="*/ 450172 w 618187"/>
              <a:gd name="connsiteY96" fmla="*/ 86062 h 110081"/>
              <a:gd name="connsiteX97" fmla="*/ 437772 w 618187"/>
              <a:gd name="connsiteY97" fmla="*/ 104233 h 110081"/>
              <a:gd name="connsiteX98" fmla="*/ 419695 w 618187"/>
              <a:gd name="connsiteY98" fmla="*/ 110082 h 110081"/>
              <a:gd name="connsiteX99" fmla="*/ 419545 w 618187"/>
              <a:gd name="connsiteY99" fmla="*/ 98258 h 110081"/>
              <a:gd name="connsiteX100" fmla="*/ 430900 w 618187"/>
              <a:gd name="connsiteY100" fmla="*/ 94275 h 110081"/>
              <a:gd name="connsiteX101" fmla="*/ 438071 w 618187"/>
              <a:gd name="connsiteY101" fmla="*/ 80648 h 110081"/>
              <a:gd name="connsiteX102" fmla="*/ 440610 w 618187"/>
              <a:gd name="connsiteY102" fmla="*/ 55134 h 110081"/>
              <a:gd name="connsiteX103" fmla="*/ 438220 w 618187"/>
              <a:gd name="connsiteY103" fmla="*/ 29745 h 110081"/>
              <a:gd name="connsiteX104" fmla="*/ 431049 w 618187"/>
              <a:gd name="connsiteY104" fmla="*/ 16117 h 110081"/>
              <a:gd name="connsiteX105" fmla="*/ 419695 w 618187"/>
              <a:gd name="connsiteY105" fmla="*/ 11947 h 110081"/>
              <a:gd name="connsiteX106" fmla="*/ 408191 w 618187"/>
              <a:gd name="connsiteY106" fmla="*/ 16117 h 110081"/>
              <a:gd name="connsiteX107" fmla="*/ 400870 w 618187"/>
              <a:gd name="connsiteY107" fmla="*/ 29745 h 110081"/>
              <a:gd name="connsiteX108" fmla="*/ 398331 w 618187"/>
              <a:gd name="connsiteY108" fmla="*/ 55134 h 110081"/>
              <a:gd name="connsiteX109" fmla="*/ 400721 w 618187"/>
              <a:gd name="connsiteY109" fmla="*/ 80648 h 110081"/>
              <a:gd name="connsiteX110" fmla="*/ 408042 w 618187"/>
              <a:gd name="connsiteY110" fmla="*/ 94275 h 110081"/>
              <a:gd name="connsiteX111" fmla="*/ 419545 w 618187"/>
              <a:gd name="connsiteY111" fmla="*/ 98258 h 110081"/>
              <a:gd name="connsiteX112" fmla="*/ 485255 w 618187"/>
              <a:gd name="connsiteY112" fmla="*/ 58992 h 110081"/>
              <a:gd name="connsiteX113" fmla="*/ 485255 w 618187"/>
              <a:gd name="connsiteY113" fmla="*/ 46298 h 110081"/>
              <a:gd name="connsiteX114" fmla="*/ 499598 w 618187"/>
              <a:gd name="connsiteY114" fmla="*/ 46298 h 110081"/>
              <a:gd name="connsiteX115" fmla="*/ 513193 w 618187"/>
              <a:gd name="connsiteY115" fmla="*/ 41817 h 110081"/>
              <a:gd name="connsiteX116" fmla="*/ 518571 w 618187"/>
              <a:gd name="connsiteY116" fmla="*/ 28812 h 110081"/>
              <a:gd name="connsiteX117" fmla="*/ 513641 w 618187"/>
              <a:gd name="connsiteY117" fmla="*/ 16864 h 110081"/>
              <a:gd name="connsiteX118" fmla="*/ 499448 w 618187"/>
              <a:gd name="connsiteY118" fmla="*/ 12383 h 110081"/>
              <a:gd name="connsiteX119" fmla="*/ 484807 w 618187"/>
              <a:gd name="connsiteY119" fmla="*/ 15246 h 110081"/>
              <a:gd name="connsiteX120" fmla="*/ 470764 w 618187"/>
              <a:gd name="connsiteY120" fmla="*/ 24331 h 110081"/>
              <a:gd name="connsiteX121" fmla="*/ 470764 w 618187"/>
              <a:gd name="connsiteY121" fmla="*/ 9707 h 110081"/>
              <a:gd name="connsiteX122" fmla="*/ 499598 w 618187"/>
              <a:gd name="connsiteY122" fmla="*/ 0 h 110081"/>
              <a:gd name="connsiteX123" fmla="*/ 523650 w 618187"/>
              <a:gd name="connsiteY123" fmla="*/ 7779 h 110081"/>
              <a:gd name="connsiteX124" fmla="*/ 532465 w 618187"/>
              <a:gd name="connsiteY124" fmla="*/ 28065 h 110081"/>
              <a:gd name="connsiteX125" fmla="*/ 526788 w 618187"/>
              <a:gd name="connsiteY125" fmla="*/ 44244 h 110081"/>
              <a:gd name="connsiteX126" fmla="*/ 513492 w 618187"/>
              <a:gd name="connsiteY126" fmla="*/ 52147 h 110081"/>
              <a:gd name="connsiteX127" fmla="*/ 524995 w 618187"/>
              <a:gd name="connsiteY127" fmla="*/ 56441 h 110081"/>
              <a:gd name="connsiteX128" fmla="*/ 533660 w 618187"/>
              <a:gd name="connsiteY128" fmla="*/ 65153 h 110081"/>
              <a:gd name="connsiteX129" fmla="*/ 536947 w 618187"/>
              <a:gd name="connsiteY129" fmla="*/ 77661 h 110081"/>
              <a:gd name="connsiteX130" fmla="*/ 532017 w 618187"/>
              <a:gd name="connsiteY130" fmla="*/ 94836 h 110081"/>
              <a:gd name="connsiteX131" fmla="*/ 518422 w 618187"/>
              <a:gd name="connsiteY131" fmla="*/ 106224 h 110081"/>
              <a:gd name="connsiteX132" fmla="*/ 498552 w 618187"/>
              <a:gd name="connsiteY132" fmla="*/ 110082 h 110081"/>
              <a:gd name="connsiteX133" fmla="*/ 468075 w 618187"/>
              <a:gd name="connsiteY133" fmla="*/ 100997 h 110081"/>
              <a:gd name="connsiteX134" fmla="*/ 468075 w 618187"/>
              <a:gd name="connsiteY134" fmla="*/ 86062 h 110081"/>
              <a:gd name="connsiteX135" fmla="*/ 481819 w 618187"/>
              <a:gd name="connsiteY135" fmla="*/ 94711 h 110081"/>
              <a:gd name="connsiteX136" fmla="*/ 498701 w 618187"/>
              <a:gd name="connsiteY136" fmla="*/ 97823 h 110081"/>
              <a:gd name="connsiteX137" fmla="*/ 516031 w 618187"/>
              <a:gd name="connsiteY137" fmla="*/ 92596 h 110081"/>
              <a:gd name="connsiteX138" fmla="*/ 522455 w 618187"/>
              <a:gd name="connsiteY138" fmla="*/ 77972 h 110081"/>
              <a:gd name="connsiteX139" fmla="*/ 516629 w 618187"/>
              <a:gd name="connsiteY139" fmla="*/ 64095 h 110081"/>
              <a:gd name="connsiteX140" fmla="*/ 499000 w 618187"/>
              <a:gd name="connsiteY140" fmla="*/ 58992 h 110081"/>
              <a:gd name="connsiteX141" fmla="*/ 485255 w 618187"/>
              <a:gd name="connsiteY141" fmla="*/ 58992 h 110081"/>
              <a:gd name="connsiteX142" fmla="*/ 618188 w 618187"/>
              <a:gd name="connsiteY142" fmla="*/ 13628 h 110081"/>
              <a:gd name="connsiteX143" fmla="*/ 572771 w 618187"/>
              <a:gd name="connsiteY143" fmla="*/ 108588 h 110081"/>
              <a:gd name="connsiteX144" fmla="*/ 558130 w 618187"/>
              <a:gd name="connsiteY144" fmla="*/ 108588 h 110081"/>
              <a:gd name="connsiteX145" fmla="*/ 603846 w 618187"/>
              <a:gd name="connsiteY145" fmla="*/ 14374 h 110081"/>
              <a:gd name="connsiteX146" fmla="*/ 549316 w 618187"/>
              <a:gd name="connsiteY146" fmla="*/ 14374 h 110081"/>
              <a:gd name="connsiteX147" fmla="*/ 549316 w 618187"/>
              <a:gd name="connsiteY147" fmla="*/ 1493 h 110081"/>
              <a:gd name="connsiteX148" fmla="*/ 618188 w 618187"/>
              <a:gd name="connsiteY148" fmla="*/ 1493 h 110081"/>
              <a:gd name="connsiteX149" fmla="*/ 618188 w 618187"/>
              <a:gd name="connsiteY149" fmla="*/ 1362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818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89691" y="108588"/>
                </a:moveTo>
                <a:lnTo>
                  <a:pt x="174751" y="108588"/>
                </a:lnTo>
                <a:lnTo>
                  <a:pt x="163696" y="77972"/>
                </a:lnTo>
                <a:lnTo>
                  <a:pt x="116337" y="77972"/>
                </a:lnTo>
                <a:lnTo>
                  <a:pt x="105431" y="108588"/>
                </a:lnTo>
                <a:lnTo>
                  <a:pt x="92284" y="108588"/>
                </a:lnTo>
                <a:lnTo>
                  <a:pt x="130380" y="1493"/>
                </a:lnTo>
                <a:lnTo>
                  <a:pt x="151296" y="1493"/>
                </a:lnTo>
                <a:lnTo>
                  <a:pt x="189691" y="108588"/>
                </a:lnTo>
                <a:close/>
                <a:moveTo>
                  <a:pt x="120968" y="65278"/>
                </a:moveTo>
                <a:lnTo>
                  <a:pt x="159214" y="65278"/>
                </a:lnTo>
                <a:lnTo>
                  <a:pt x="140091" y="11947"/>
                </a:lnTo>
                <a:lnTo>
                  <a:pt x="120968" y="65278"/>
                </a:lnTo>
                <a:close/>
                <a:moveTo>
                  <a:pt x="293130" y="108588"/>
                </a:moveTo>
                <a:lnTo>
                  <a:pt x="278191" y="108588"/>
                </a:lnTo>
                <a:lnTo>
                  <a:pt x="267135" y="77972"/>
                </a:lnTo>
                <a:lnTo>
                  <a:pt x="219776" y="77972"/>
                </a:lnTo>
                <a:lnTo>
                  <a:pt x="208870" y="108588"/>
                </a:lnTo>
                <a:lnTo>
                  <a:pt x="195723" y="108588"/>
                </a:lnTo>
                <a:lnTo>
                  <a:pt x="233819" y="1493"/>
                </a:lnTo>
                <a:lnTo>
                  <a:pt x="254735" y="1493"/>
                </a:lnTo>
                <a:lnTo>
                  <a:pt x="293130" y="108588"/>
                </a:lnTo>
                <a:close/>
                <a:moveTo>
                  <a:pt x="224407" y="65278"/>
                </a:moveTo>
                <a:lnTo>
                  <a:pt x="262653" y="65278"/>
                </a:lnTo>
                <a:lnTo>
                  <a:pt x="243530" y="11947"/>
                </a:lnTo>
                <a:lnTo>
                  <a:pt x="224407" y="65278"/>
                </a:lnTo>
                <a:close/>
                <a:moveTo>
                  <a:pt x="337557" y="110082"/>
                </a:moveTo>
                <a:cubicBezTo>
                  <a:pt x="330785" y="110082"/>
                  <a:pt x="324709" y="108153"/>
                  <a:pt x="319331" y="104233"/>
                </a:cubicBezTo>
                <a:cubicBezTo>
                  <a:pt x="313953" y="100374"/>
                  <a:pt x="309720" y="94400"/>
                  <a:pt x="306632" y="86311"/>
                </a:cubicBezTo>
                <a:cubicBezTo>
                  <a:pt x="303644" y="78159"/>
                  <a:pt x="302150" y="67705"/>
                  <a:pt x="302150" y="54947"/>
                </a:cubicBezTo>
                <a:cubicBezTo>
                  <a:pt x="302150" y="42128"/>
                  <a:pt x="303644" y="31674"/>
                  <a:pt x="306632" y="23584"/>
                </a:cubicBezTo>
                <a:cubicBezTo>
                  <a:pt x="309720" y="15557"/>
                  <a:pt x="313953" y="9645"/>
                  <a:pt x="319331" y="5849"/>
                </a:cubicBezTo>
                <a:cubicBezTo>
                  <a:pt x="324709" y="2053"/>
                  <a:pt x="330785" y="186"/>
                  <a:pt x="337557" y="186"/>
                </a:cubicBezTo>
                <a:cubicBezTo>
                  <a:pt x="344330" y="186"/>
                  <a:pt x="350356" y="2053"/>
                  <a:pt x="355634" y="5849"/>
                </a:cubicBezTo>
                <a:cubicBezTo>
                  <a:pt x="360913" y="9645"/>
                  <a:pt x="365047" y="15557"/>
                  <a:pt x="368034" y="23584"/>
                </a:cubicBezTo>
                <a:cubicBezTo>
                  <a:pt x="371022" y="31549"/>
                  <a:pt x="372516" y="41942"/>
                  <a:pt x="372516" y="54698"/>
                </a:cubicBezTo>
                <a:cubicBezTo>
                  <a:pt x="372516" y="67331"/>
                  <a:pt x="371022" y="77786"/>
                  <a:pt x="368034" y="86062"/>
                </a:cubicBezTo>
                <a:cubicBezTo>
                  <a:pt x="365047" y="94213"/>
                  <a:pt x="360913" y="100250"/>
                  <a:pt x="355634" y="104233"/>
                </a:cubicBezTo>
                <a:cubicBezTo>
                  <a:pt x="350356" y="108153"/>
                  <a:pt x="344330" y="110082"/>
                  <a:pt x="337557" y="110082"/>
                </a:cubicBezTo>
                <a:close/>
                <a:moveTo>
                  <a:pt x="337408" y="98258"/>
                </a:moveTo>
                <a:cubicBezTo>
                  <a:pt x="341890" y="98258"/>
                  <a:pt x="345675" y="96952"/>
                  <a:pt x="348762" y="94275"/>
                </a:cubicBezTo>
                <a:cubicBezTo>
                  <a:pt x="351949" y="91475"/>
                  <a:pt x="354340" y="86933"/>
                  <a:pt x="355933" y="80648"/>
                </a:cubicBezTo>
                <a:cubicBezTo>
                  <a:pt x="357626" y="74300"/>
                  <a:pt x="358473" y="65775"/>
                  <a:pt x="358473" y="55134"/>
                </a:cubicBezTo>
                <a:cubicBezTo>
                  <a:pt x="358473" y="44493"/>
                  <a:pt x="357676" y="36030"/>
                  <a:pt x="356083" y="29745"/>
                </a:cubicBezTo>
                <a:cubicBezTo>
                  <a:pt x="354489" y="23336"/>
                  <a:pt x="352099" y="18855"/>
                  <a:pt x="348911" y="16117"/>
                </a:cubicBezTo>
                <a:cubicBezTo>
                  <a:pt x="345824" y="13379"/>
                  <a:pt x="342039" y="11947"/>
                  <a:pt x="337557" y="11947"/>
                </a:cubicBezTo>
                <a:cubicBezTo>
                  <a:pt x="333075" y="11947"/>
                  <a:pt x="329241" y="13379"/>
                  <a:pt x="326054" y="16117"/>
                </a:cubicBezTo>
                <a:cubicBezTo>
                  <a:pt x="322867" y="18855"/>
                  <a:pt x="320426" y="23336"/>
                  <a:pt x="318733" y="29745"/>
                </a:cubicBezTo>
                <a:cubicBezTo>
                  <a:pt x="317040" y="36030"/>
                  <a:pt x="316193" y="44493"/>
                  <a:pt x="316193" y="55134"/>
                </a:cubicBezTo>
                <a:cubicBezTo>
                  <a:pt x="316193" y="65775"/>
                  <a:pt x="316990" y="74300"/>
                  <a:pt x="318584" y="80648"/>
                </a:cubicBezTo>
                <a:cubicBezTo>
                  <a:pt x="320277" y="86933"/>
                  <a:pt x="322717" y="91475"/>
                  <a:pt x="325904" y="94275"/>
                </a:cubicBezTo>
                <a:cubicBezTo>
                  <a:pt x="329092" y="96952"/>
                  <a:pt x="332926" y="98258"/>
                  <a:pt x="337408" y="98258"/>
                </a:cubicBezTo>
                <a:close/>
                <a:moveTo>
                  <a:pt x="419695" y="110082"/>
                </a:moveTo>
                <a:cubicBezTo>
                  <a:pt x="412922" y="110082"/>
                  <a:pt x="406847" y="108153"/>
                  <a:pt x="401468" y="104233"/>
                </a:cubicBezTo>
                <a:cubicBezTo>
                  <a:pt x="396090" y="100374"/>
                  <a:pt x="391857" y="94400"/>
                  <a:pt x="388769" y="86311"/>
                </a:cubicBezTo>
                <a:cubicBezTo>
                  <a:pt x="385782" y="78159"/>
                  <a:pt x="384287" y="67705"/>
                  <a:pt x="384287" y="54947"/>
                </a:cubicBezTo>
                <a:cubicBezTo>
                  <a:pt x="384287" y="42128"/>
                  <a:pt x="385782" y="31674"/>
                  <a:pt x="388769" y="23584"/>
                </a:cubicBezTo>
                <a:cubicBezTo>
                  <a:pt x="391857" y="15557"/>
                  <a:pt x="396090" y="9645"/>
                  <a:pt x="401468" y="5849"/>
                </a:cubicBezTo>
                <a:cubicBezTo>
                  <a:pt x="406847" y="2053"/>
                  <a:pt x="412922" y="186"/>
                  <a:pt x="419695" y="186"/>
                </a:cubicBezTo>
                <a:cubicBezTo>
                  <a:pt x="426467" y="186"/>
                  <a:pt x="432493" y="2053"/>
                  <a:pt x="437772" y="5849"/>
                </a:cubicBezTo>
                <a:cubicBezTo>
                  <a:pt x="443050" y="9645"/>
                  <a:pt x="447184" y="15557"/>
                  <a:pt x="450172" y="23584"/>
                </a:cubicBezTo>
                <a:cubicBezTo>
                  <a:pt x="453160" y="31549"/>
                  <a:pt x="454654" y="41942"/>
                  <a:pt x="454654" y="54698"/>
                </a:cubicBezTo>
                <a:cubicBezTo>
                  <a:pt x="454654" y="67331"/>
                  <a:pt x="453160" y="77786"/>
                  <a:pt x="450172" y="86062"/>
                </a:cubicBezTo>
                <a:cubicBezTo>
                  <a:pt x="447184" y="94213"/>
                  <a:pt x="443050" y="100250"/>
                  <a:pt x="437772" y="104233"/>
                </a:cubicBezTo>
                <a:cubicBezTo>
                  <a:pt x="432493" y="108153"/>
                  <a:pt x="426467" y="110082"/>
                  <a:pt x="419695" y="110082"/>
                </a:cubicBezTo>
                <a:close/>
                <a:moveTo>
                  <a:pt x="419545" y="98258"/>
                </a:moveTo>
                <a:cubicBezTo>
                  <a:pt x="424027" y="98258"/>
                  <a:pt x="427812" y="96952"/>
                  <a:pt x="430900" y="94275"/>
                </a:cubicBezTo>
                <a:cubicBezTo>
                  <a:pt x="434087" y="91475"/>
                  <a:pt x="436477" y="86933"/>
                  <a:pt x="438071" y="80648"/>
                </a:cubicBezTo>
                <a:cubicBezTo>
                  <a:pt x="439764" y="74300"/>
                  <a:pt x="440610" y="65775"/>
                  <a:pt x="440610" y="55134"/>
                </a:cubicBezTo>
                <a:cubicBezTo>
                  <a:pt x="440610" y="44493"/>
                  <a:pt x="439814" y="36030"/>
                  <a:pt x="438220" y="29745"/>
                </a:cubicBezTo>
                <a:cubicBezTo>
                  <a:pt x="436626" y="23336"/>
                  <a:pt x="434236" y="18855"/>
                  <a:pt x="431049" y="16117"/>
                </a:cubicBezTo>
                <a:cubicBezTo>
                  <a:pt x="427962" y="13379"/>
                  <a:pt x="424177" y="11947"/>
                  <a:pt x="419695" y="11947"/>
                </a:cubicBezTo>
                <a:cubicBezTo>
                  <a:pt x="415213" y="11947"/>
                  <a:pt x="411378" y="13379"/>
                  <a:pt x="408191" y="16117"/>
                </a:cubicBezTo>
                <a:cubicBezTo>
                  <a:pt x="405004" y="18855"/>
                  <a:pt x="402564" y="23336"/>
                  <a:pt x="400870" y="29745"/>
                </a:cubicBezTo>
                <a:cubicBezTo>
                  <a:pt x="399177" y="36030"/>
                  <a:pt x="398331" y="44493"/>
                  <a:pt x="398331" y="55134"/>
                </a:cubicBezTo>
                <a:cubicBezTo>
                  <a:pt x="398331" y="65775"/>
                  <a:pt x="399128" y="74300"/>
                  <a:pt x="400721" y="80648"/>
                </a:cubicBezTo>
                <a:cubicBezTo>
                  <a:pt x="402415" y="86933"/>
                  <a:pt x="404854" y="91475"/>
                  <a:pt x="408042" y="94275"/>
                </a:cubicBezTo>
                <a:cubicBezTo>
                  <a:pt x="411229" y="96952"/>
                  <a:pt x="415063" y="98258"/>
                  <a:pt x="419545" y="98258"/>
                </a:cubicBezTo>
                <a:close/>
                <a:moveTo>
                  <a:pt x="485255" y="58992"/>
                </a:moveTo>
                <a:lnTo>
                  <a:pt x="485255" y="46298"/>
                </a:lnTo>
                <a:lnTo>
                  <a:pt x="499598" y="46298"/>
                </a:lnTo>
                <a:cubicBezTo>
                  <a:pt x="505175" y="46298"/>
                  <a:pt x="509707" y="44804"/>
                  <a:pt x="513193" y="41817"/>
                </a:cubicBezTo>
                <a:cubicBezTo>
                  <a:pt x="516778" y="38768"/>
                  <a:pt x="518571" y="34412"/>
                  <a:pt x="518571" y="28812"/>
                </a:cubicBezTo>
                <a:cubicBezTo>
                  <a:pt x="518571" y="23771"/>
                  <a:pt x="516928" y="19788"/>
                  <a:pt x="513641" y="16864"/>
                </a:cubicBezTo>
                <a:cubicBezTo>
                  <a:pt x="510354" y="13877"/>
                  <a:pt x="505623" y="12383"/>
                  <a:pt x="499448" y="12383"/>
                </a:cubicBezTo>
                <a:cubicBezTo>
                  <a:pt x="494269" y="12383"/>
                  <a:pt x="489389" y="13379"/>
                  <a:pt x="484807" y="15246"/>
                </a:cubicBezTo>
                <a:cubicBezTo>
                  <a:pt x="480325" y="17113"/>
                  <a:pt x="475644" y="20162"/>
                  <a:pt x="470764" y="24331"/>
                </a:cubicBezTo>
                <a:lnTo>
                  <a:pt x="470764" y="9707"/>
                </a:lnTo>
                <a:cubicBezTo>
                  <a:pt x="478732" y="3235"/>
                  <a:pt x="488343" y="0"/>
                  <a:pt x="499598" y="0"/>
                </a:cubicBezTo>
                <a:cubicBezTo>
                  <a:pt x="509856" y="0"/>
                  <a:pt x="517874" y="2613"/>
                  <a:pt x="523650" y="7779"/>
                </a:cubicBezTo>
                <a:cubicBezTo>
                  <a:pt x="529527" y="12943"/>
                  <a:pt x="532465" y="19726"/>
                  <a:pt x="532465" y="28065"/>
                </a:cubicBezTo>
                <a:cubicBezTo>
                  <a:pt x="532465" y="34848"/>
                  <a:pt x="530572" y="40262"/>
                  <a:pt x="526788" y="44244"/>
                </a:cubicBezTo>
                <a:cubicBezTo>
                  <a:pt x="523103" y="48227"/>
                  <a:pt x="518670" y="50840"/>
                  <a:pt x="513492" y="52147"/>
                </a:cubicBezTo>
                <a:cubicBezTo>
                  <a:pt x="517675" y="52707"/>
                  <a:pt x="521509" y="54201"/>
                  <a:pt x="524995" y="56441"/>
                </a:cubicBezTo>
                <a:cubicBezTo>
                  <a:pt x="528581" y="58681"/>
                  <a:pt x="531469" y="61543"/>
                  <a:pt x="533660" y="65153"/>
                </a:cubicBezTo>
                <a:cubicBezTo>
                  <a:pt x="535851" y="68700"/>
                  <a:pt x="536947" y="72869"/>
                  <a:pt x="536947" y="77661"/>
                </a:cubicBezTo>
                <a:cubicBezTo>
                  <a:pt x="536947" y="84257"/>
                  <a:pt x="535303" y="89982"/>
                  <a:pt x="532017" y="94836"/>
                </a:cubicBezTo>
                <a:cubicBezTo>
                  <a:pt x="528730" y="99752"/>
                  <a:pt x="524198" y="103486"/>
                  <a:pt x="518422" y="106224"/>
                </a:cubicBezTo>
                <a:cubicBezTo>
                  <a:pt x="512745" y="108775"/>
                  <a:pt x="506121" y="110082"/>
                  <a:pt x="498552" y="110082"/>
                </a:cubicBezTo>
                <a:cubicBezTo>
                  <a:pt x="485405" y="110082"/>
                  <a:pt x="475246" y="107033"/>
                  <a:pt x="468075" y="100997"/>
                </a:cubicBezTo>
                <a:lnTo>
                  <a:pt x="468075" y="86062"/>
                </a:lnTo>
                <a:cubicBezTo>
                  <a:pt x="471860" y="89733"/>
                  <a:pt x="476441" y="92596"/>
                  <a:pt x="481819" y="94711"/>
                </a:cubicBezTo>
                <a:cubicBezTo>
                  <a:pt x="487198" y="96765"/>
                  <a:pt x="492825" y="97823"/>
                  <a:pt x="498701" y="97823"/>
                </a:cubicBezTo>
                <a:cubicBezTo>
                  <a:pt x="506071" y="97823"/>
                  <a:pt x="511848" y="96080"/>
                  <a:pt x="516031" y="92596"/>
                </a:cubicBezTo>
                <a:cubicBezTo>
                  <a:pt x="520314" y="89048"/>
                  <a:pt x="522455" y="84132"/>
                  <a:pt x="522455" y="77972"/>
                </a:cubicBezTo>
                <a:cubicBezTo>
                  <a:pt x="522455" y="71998"/>
                  <a:pt x="520513" y="67393"/>
                  <a:pt x="516629" y="64095"/>
                </a:cubicBezTo>
                <a:cubicBezTo>
                  <a:pt x="512844" y="60673"/>
                  <a:pt x="506968" y="58992"/>
                  <a:pt x="499000" y="58992"/>
                </a:cubicBezTo>
                <a:lnTo>
                  <a:pt x="485255" y="58992"/>
                </a:lnTo>
                <a:close/>
                <a:moveTo>
                  <a:pt x="618188" y="13628"/>
                </a:moveTo>
                <a:lnTo>
                  <a:pt x="572771" y="108588"/>
                </a:lnTo>
                <a:lnTo>
                  <a:pt x="558130" y="108588"/>
                </a:lnTo>
                <a:lnTo>
                  <a:pt x="603846" y="14374"/>
                </a:lnTo>
                <a:lnTo>
                  <a:pt x="549316" y="14374"/>
                </a:lnTo>
                <a:lnTo>
                  <a:pt x="549316" y="1493"/>
                </a:lnTo>
                <a:lnTo>
                  <a:pt x="618188" y="1493"/>
                </a:lnTo>
                <a:lnTo>
                  <a:pt x="618188" y="1362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7" name="Полилиния 1006">
            <a:extLst>
              <a:ext uri="{FF2B5EF4-FFF2-40B4-BE49-F238E27FC236}">
                <a16:creationId xmlns:a16="http://schemas.microsoft.com/office/drawing/2014/main" id="{9BE169EC-01AB-349B-E500-BE23F7EFF621}"/>
              </a:ext>
            </a:extLst>
          </p:cNvPr>
          <p:cNvSpPr/>
          <p:nvPr userDrawn="1"/>
        </p:nvSpPr>
        <p:spPr>
          <a:xfrm>
            <a:off x="18445574" y="5966300"/>
            <a:ext cx="1398954" cy="726227"/>
          </a:xfrm>
          <a:custGeom>
            <a:avLst/>
            <a:gdLst>
              <a:gd name="connsiteX0" fmla="*/ 850 w 1198727"/>
              <a:gd name="connsiteY0" fmla="*/ 1322 h 622284"/>
              <a:gd name="connsiteX1" fmla="*/ 1199578 w 1198727"/>
              <a:gd name="connsiteY1" fmla="*/ 1322 h 622284"/>
              <a:gd name="connsiteX2" fmla="*/ 1199578 w 1198727"/>
              <a:gd name="connsiteY2" fmla="*/ 623606 h 622284"/>
              <a:gd name="connsiteX3" fmla="*/ 850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322"/>
                </a:moveTo>
                <a:lnTo>
                  <a:pt x="1199578" y="1322"/>
                </a:lnTo>
                <a:lnTo>
                  <a:pt x="1199578" y="623606"/>
                </a:lnTo>
                <a:lnTo>
                  <a:pt x="850" y="623606"/>
                </a:lnTo>
                <a:close/>
              </a:path>
            </a:pathLst>
          </a:custGeom>
          <a:solidFill>
            <a:srgbClr val="C8004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8" name="Полилиния 1007">
            <a:extLst>
              <a:ext uri="{FF2B5EF4-FFF2-40B4-BE49-F238E27FC236}">
                <a16:creationId xmlns:a16="http://schemas.microsoft.com/office/drawing/2014/main" id="{FD86A5E3-E9F6-F394-397C-B84FBF0419A5}"/>
              </a:ext>
            </a:extLst>
          </p:cNvPr>
          <p:cNvSpPr/>
          <p:nvPr userDrawn="1"/>
        </p:nvSpPr>
        <p:spPr>
          <a:xfrm>
            <a:off x="18568782" y="6268264"/>
            <a:ext cx="676455" cy="128252"/>
          </a:xfrm>
          <a:custGeom>
            <a:avLst/>
            <a:gdLst>
              <a:gd name="connsiteX0" fmla="*/ 22111 w 579637"/>
              <a:gd name="connsiteY0" fmla="*/ 108402 h 109895"/>
              <a:gd name="connsiteX1" fmla="*/ 10159 w 579637"/>
              <a:gd name="connsiteY1" fmla="*/ 108402 h 109895"/>
              <a:gd name="connsiteX2" fmla="*/ 16433 w 579637"/>
              <a:gd name="connsiteY2" fmla="*/ 77475 h 109895"/>
              <a:gd name="connsiteX3" fmla="*/ 0 w 579637"/>
              <a:gd name="connsiteY3" fmla="*/ 77475 h 109895"/>
              <a:gd name="connsiteX4" fmla="*/ 0 w 579637"/>
              <a:gd name="connsiteY4" fmla="*/ 67020 h 109895"/>
              <a:gd name="connsiteX5" fmla="*/ 18675 w 579637"/>
              <a:gd name="connsiteY5" fmla="*/ 67020 h 109895"/>
              <a:gd name="connsiteX6" fmla="*/ 24202 w 579637"/>
              <a:gd name="connsiteY6" fmla="*/ 39826 h 109895"/>
              <a:gd name="connsiteX7" fmla="*/ 4033 w 579637"/>
              <a:gd name="connsiteY7" fmla="*/ 39826 h 109895"/>
              <a:gd name="connsiteX8" fmla="*/ 4033 w 579637"/>
              <a:gd name="connsiteY8" fmla="*/ 29372 h 109895"/>
              <a:gd name="connsiteX9" fmla="*/ 26294 w 579637"/>
              <a:gd name="connsiteY9" fmla="*/ 29372 h 109895"/>
              <a:gd name="connsiteX10" fmla="*/ 32120 w 579637"/>
              <a:gd name="connsiteY10" fmla="*/ 1307 h 109895"/>
              <a:gd name="connsiteX11" fmla="*/ 44072 w 579637"/>
              <a:gd name="connsiteY11" fmla="*/ 1307 h 109895"/>
              <a:gd name="connsiteX12" fmla="*/ 38246 w 579637"/>
              <a:gd name="connsiteY12" fmla="*/ 29372 h 109895"/>
              <a:gd name="connsiteX13" fmla="*/ 60655 w 579637"/>
              <a:gd name="connsiteY13" fmla="*/ 29372 h 109895"/>
              <a:gd name="connsiteX14" fmla="*/ 66482 w 579637"/>
              <a:gd name="connsiteY14" fmla="*/ 1307 h 109895"/>
              <a:gd name="connsiteX15" fmla="*/ 78434 w 579637"/>
              <a:gd name="connsiteY15" fmla="*/ 1307 h 109895"/>
              <a:gd name="connsiteX16" fmla="*/ 72607 w 579637"/>
              <a:gd name="connsiteY16" fmla="*/ 29372 h 109895"/>
              <a:gd name="connsiteX17" fmla="*/ 89340 w 579637"/>
              <a:gd name="connsiteY17" fmla="*/ 29372 h 109895"/>
              <a:gd name="connsiteX18" fmla="*/ 89340 w 579637"/>
              <a:gd name="connsiteY18" fmla="*/ 39826 h 109895"/>
              <a:gd name="connsiteX19" fmla="*/ 70516 w 579637"/>
              <a:gd name="connsiteY19" fmla="*/ 39826 h 109895"/>
              <a:gd name="connsiteX20" fmla="*/ 64988 w 579637"/>
              <a:gd name="connsiteY20" fmla="*/ 67020 h 109895"/>
              <a:gd name="connsiteX21" fmla="*/ 85306 w 579637"/>
              <a:gd name="connsiteY21" fmla="*/ 67020 h 109895"/>
              <a:gd name="connsiteX22" fmla="*/ 85306 w 579637"/>
              <a:gd name="connsiteY22" fmla="*/ 77475 h 109895"/>
              <a:gd name="connsiteX23" fmla="*/ 62747 w 579637"/>
              <a:gd name="connsiteY23" fmla="*/ 77475 h 109895"/>
              <a:gd name="connsiteX24" fmla="*/ 56472 w 579637"/>
              <a:gd name="connsiteY24" fmla="*/ 108402 h 109895"/>
              <a:gd name="connsiteX25" fmla="*/ 44520 w 579637"/>
              <a:gd name="connsiteY25" fmla="*/ 108402 h 109895"/>
              <a:gd name="connsiteX26" fmla="*/ 50795 w 579637"/>
              <a:gd name="connsiteY26" fmla="*/ 77475 h 109895"/>
              <a:gd name="connsiteX27" fmla="*/ 28386 w 579637"/>
              <a:gd name="connsiteY27" fmla="*/ 77475 h 109895"/>
              <a:gd name="connsiteX28" fmla="*/ 22111 w 579637"/>
              <a:gd name="connsiteY28" fmla="*/ 108402 h 109895"/>
              <a:gd name="connsiteX29" fmla="*/ 30626 w 579637"/>
              <a:gd name="connsiteY29" fmla="*/ 67020 h 109895"/>
              <a:gd name="connsiteX30" fmla="*/ 53036 w 579637"/>
              <a:gd name="connsiteY30" fmla="*/ 67020 h 109895"/>
              <a:gd name="connsiteX31" fmla="*/ 58564 w 579637"/>
              <a:gd name="connsiteY31" fmla="*/ 39826 h 109895"/>
              <a:gd name="connsiteX32" fmla="*/ 36154 w 579637"/>
              <a:gd name="connsiteY32" fmla="*/ 39826 h 109895"/>
              <a:gd name="connsiteX33" fmla="*/ 30626 w 579637"/>
              <a:gd name="connsiteY33" fmla="*/ 67020 h 109895"/>
              <a:gd name="connsiteX34" fmla="*/ 154290 w 579637"/>
              <a:gd name="connsiteY34" fmla="*/ 109896 h 109895"/>
              <a:gd name="connsiteX35" fmla="*/ 126502 w 579637"/>
              <a:gd name="connsiteY35" fmla="*/ 103300 h 109895"/>
              <a:gd name="connsiteX36" fmla="*/ 108126 w 579637"/>
              <a:gd name="connsiteY36" fmla="*/ 84507 h 109895"/>
              <a:gd name="connsiteX37" fmla="*/ 101553 w 579637"/>
              <a:gd name="connsiteY37" fmla="*/ 54948 h 109895"/>
              <a:gd name="connsiteX38" fmla="*/ 115148 w 579637"/>
              <a:gd name="connsiteY38" fmla="*/ 14624 h 109895"/>
              <a:gd name="connsiteX39" fmla="*/ 153991 w 579637"/>
              <a:gd name="connsiteY39" fmla="*/ 0 h 109895"/>
              <a:gd name="connsiteX40" fmla="*/ 171919 w 579637"/>
              <a:gd name="connsiteY40" fmla="*/ 2054 h 109895"/>
              <a:gd name="connsiteX41" fmla="*/ 186560 w 579637"/>
              <a:gd name="connsiteY41" fmla="*/ 7716 h 109895"/>
              <a:gd name="connsiteX42" fmla="*/ 186560 w 579637"/>
              <a:gd name="connsiteY42" fmla="*/ 21158 h 109895"/>
              <a:gd name="connsiteX43" fmla="*/ 171471 w 579637"/>
              <a:gd name="connsiteY43" fmla="*/ 14935 h 109895"/>
              <a:gd name="connsiteX44" fmla="*/ 153842 w 579637"/>
              <a:gd name="connsiteY44" fmla="*/ 12695 h 109895"/>
              <a:gd name="connsiteX45" fmla="*/ 125904 w 579637"/>
              <a:gd name="connsiteY45" fmla="*/ 23273 h 109895"/>
              <a:gd name="connsiteX46" fmla="*/ 116791 w 579637"/>
              <a:gd name="connsiteY46" fmla="*/ 54948 h 109895"/>
              <a:gd name="connsiteX47" fmla="*/ 126652 w 579637"/>
              <a:gd name="connsiteY47" fmla="*/ 86747 h 109895"/>
              <a:gd name="connsiteX48" fmla="*/ 155485 w 579637"/>
              <a:gd name="connsiteY48" fmla="*/ 97201 h 109895"/>
              <a:gd name="connsiteX49" fmla="*/ 186560 w 579637"/>
              <a:gd name="connsiteY49" fmla="*/ 87369 h 109895"/>
              <a:gd name="connsiteX50" fmla="*/ 186560 w 579637"/>
              <a:gd name="connsiteY50" fmla="*/ 100811 h 109895"/>
              <a:gd name="connsiteX51" fmla="*/ 172666 w 579637"/>
              <a:gd name="connsiteY51" fmla="*/ 107531 h 109895"/>
              <a:gd name="connsiteX52" fmla="*/ 154290 w 579637"/>
              <a:gd name="connsiteY52" fmla="*/ 109896 h 109895"/>
              <a:gd name="connsiteX53" fmla="*/ 237038 w 579637"/>
              <a:gd name="connsiteY53" fmla="*/ 109896 h 109895"/>
              <a:gd name="connsiteX54" fmla="*/ 218363 w 579637"/>
              <a:gd name="connsiteY54" fmla="*/ 106287 h 109895"/>
              <a:gd name="connsiteX55" fmla="*/ 205664 w 579637"/>
              <a:gd name="connsiteY55" fmla="*/ 96019 h 109895"/>
              <a:gd name="connsiteX56" fmla="*/ 201033 w 579637"/>
              <a:gd name="connsiteY56" fmla="*/ 79590 h 109895"/>
              <a:gd name="connsiteX57" fmla="*/ 206411 w 579637"/>
              <a:gd name="connsiteY57" fmla="*/ 62105 h 109895"/>
              <a:gd name="connsiteX58" fmla="*/ 221201 w 579637"/>
              <a:gd name="connsiteY58" fmla="*/ 51525 h 109895"/>
              <a:gd name="connsiteX59" fmla="*/ 209250 w 579637"/>
              <a:gd name="connsiteY59" fmla="*/ 42378 h 109895"/>
              <a:gd name="connsiteX60" fmla="*/ 204917 w 579637"/>
              <a:gd name="connsiteY60" fmla="*/ 27318 h 109895"/>
              <a:gd name="connsiteX61" fmla="*/ 209100 w 579637"/>
              <a:gd name="connsiteY61" fmla="*/ 12383 h 109895"/>
              <a:gd name="connsiteX62" fmla="*/ 220604 w 579637"/>
              <a:gd name="connsiteY62" fmla="*/ 3111 h 109895"/>
              <a:gd name="connsiteX63" fmla="*/ 237038 w 579637"/>
              <a:gd name="connsiteY63" fmla="*/ 0 h 109895"/>
              <a:gd name="connsiteX64" fmla="*/ 253172 w 579637"/>
              <a:gd name="connsiteY64" fmla="*/ 3111 h 109895"/>
              <a:gd name="connsiteX65" fmla="*/ 264527 w 579637"/>
              <a:gd name="connsiteY65" fmla="*/ 12073 h 109895"/>
              <a:gd name="connsiteX66" fmla="*/ 268859 w 579637"/>
              <a:gd name="connsiteY66" fmla="*/ 27008 h 109895"/>
              <a:gd name="connsiteX67" fmla="*/ 264378 w 579637"/>
              <a:gd name="connsiteY67" fmla="*/ 42253 h 109895"/>
              <a:gd name="connsiteX68" fmla="*/ 252575 w 579637"/>
              <a:gd name="connsiteY68" fmla="*/ 51525 h 109895"/>
              <a:gd name="connsiteX69" fmla="*/ 266917 w 579637"/>
              <a:gd name="connsiteY69" fmla="*/ 61669 h 109895"/>
              <a:gd name="connsiteX70" fmla="*/ 272445 w 579637"/>
              <a:gd name="connsiteY70" fmla="*/ 79155 h 109895"/>
              <a:gd name="connsiteX71" fmla="*/ 267813 w 579637"/>
              <a:gd name="connsiteY71" fmla="*/ 95707 h 109895"/>
              <a:gd name="connsiteX72" fmla="*/ 255115 w 579637"/>
              <a:gd name="connsiteY72" fmla="*/ 106287 h 109895"/>
              <a:gd name="connsiteX73" fmla="*/ 237038 w 579637"/>
              <a:gd name="connsiteY73" fmla="*/ 109896 h 109895"/>
              <a:gd name="connsiteX74" fmla="*/ 237038 w 579637"/>
              <a:gd name="connsiteY74" fmla="*/ 46111 h 109895"/>
              <a:gd name="connsiteX75" fmla="*/ 250035 w 579637"/>
              <a:gd name="connsiteY75" fmla="*/ 41631 h 109895"/>
              <a:gd name="connsiteX76" fmla="*/ 255264 w 579637"/>
              <a:gd name="connsiteY76" fmla="*/ 28936 h 109895"/>
              <a:gd name="connsiteX77" fmla="*/ 250035 w 579637"/>
              <a:gd name="connsiteY77" fmla="*/ 16428 h 109895"/>
              <a:gd name="connsiteX78" fmla="*/ 237038 w 579637"/>
              <a:gd name="connsiteY78" fmla="*/ 11761 h 109895"/>
              <a:gd name="connsiteX79" fmla="*/ 223741 w 579637"/>
              <a:gd name="connsiteY79" fmla="*/ 16428 h 109895"/>
              <a:gd name="connsiteX80" fmla="*/ 218512 w 579637"/>
              <a:gd name="connsiteY80" fmla="*/ 28936 h 109895"/>
              <a:gd name="connsiteX81" fmla="*/ 223741 w 579637"/>
              <a:gd name="connsiteY81" fmla="*/ 41631 h 109895"/>
              <a:gd name="connsiteX82" fmla="*/ 237038 w 579637"/>
              <a:gd name="connsiteY82" fmla="*/ 46111 h 109895"/>
              <a:gd name="connsiteX83" fmla="*/ 237038 w 579637"/>
              <a:gd name="connsiteY83" fmla="*/ 98072 h 109895"/>
              <a:gd name="connsiteX84" fmla="*/ 252425 w 579637"/>
              <a:gd name="connsiteY84" fmla="*/ 92721 h 109895"/>
              <a:gd name="connsiteX85" fmla="*/ 258700 w 579637"/>
              <a:gd name="connsiteY85" fmla="*/ 77350 h 109895"/>
              <a:gd name="connsiteX86" fmla="*/ 252425 w 579637"/>
              <a:gd name="connsiteY86" fmla="*/ 62105 h 109895"/>
              <a:gd name="connsiteX87" fmla="*/ 237038 w 579637"/>
              <a:gd name="connsiteY87" fmla="*/ 56566 h 109895"/>
              <a:gd name="connsiteX88" fmla="*/ 221052 w 579637"/>
              <a:gd name="connsiteY88" fmla="*/ 62105 h 109895"/>
              <a:gd name="connsiteX89" fmla="*/ 214777 w 579637"/>
              <a:gd name="connsiteY89" fmla="*/ 77350 h 109895"/>
              <a:gd name="connsiteX90" fmla="*/ 221052 w 579637"/>
              <a:gd name="connsiteY90" fmla="*/ 92721 h 109895"/>
              <a:gd name="connsiteX91" fmla="*/ 237038 w 579637"/>
              <a:gd name="connsiteY91" fmla="*/ 98072 h 109895"/>
              <a:gd name="connsiteX92" fmla="*/ 319032 w 579637"/>
              <a:gd name="connsiteY92" fmla="*/ 109896 h 109895"/>
              <a:gd name="connsiteX93" fmla="*/ 300806 w 579637"/>
              <a:gd name="connsiteY93" fmla="*/ 104047 h 109895"/>
              <a:gd name="connsiteX94" fmla="*/ 288107 w 579637"/>
              <a:gd name="connsiteY94" fmla="*/ 86125 h 109895"/>
              <a:gd name="connsiteX95" fmla="*/ 283625 w 579637"/>
              <a:gd name="connsiteY95" fmla="*/ 54761 h 109895"/>
              <a:gd name="connsiteX96" fmla="*/ 288107 w 579637"/>
              <a:gd name="connsiteY96" fmla="*/ 23398 h 109895"/>
              <a:gd name="connsiteX97" fmla="*/ 300806 w 579637"/>
              <a:gd name="connsiteY97" fmla="*/ 5663 h 109895"/>
              <a:gd name="connsiteX98" fmla="*/ 319032 w 579637"/>
              <a:gd name="connsiteY98" fmla="*/ 0 h 109895"/>
              <a:gd name="connsiteX99" fmla="*/ 337109 w 579637"/>
              <a:gd name="connsiteY99" fmla="*/ 5663 h 109895"/>
              <a:gd name="connsiteX100" fmla="*/ 349509 w 579637"/>
              <a:gd name="connsiteY100" fmla="*/ 23398 h 109895"/>
              <a:gd name="connsiteX101" fmla="*/ 353991 w 579637"/>
              <a:gd name="connsiteY101" fmla="*/ 54512 h 109895"/>
              <a:gd name="connsiteX102" fmla="*/ 349509 w 579637"/>
              <a:gd name="connsiteY102" fmla="*/ 85876 h 109895"/>
              <a:gd name="connsiteX103" fmla="*/ 337109 w 579637"/>
              <a:gd name="connsiteY103" fmla="*/ 104047 h 109895"/>
              <a:gd name="connsiteX104" fmla="*/ 319032 w 579637"/>
              <a:gd name="connsiteY104" fmla="*/ 109896 h 109895"/>
              <a:gd name="connsiteX105" fmla="*/ 318883 w 579637"/>
              <a:gd name="connsiteY105" fmla="*/ 98072 h 109895"/>
              <a:gd name="connsiteX106" fmla="*/ 330237 w 579637"/>
              <a:gd name="connsiteY106" fmla="*/ 94089 h 109895"/>
              <a:gd name="connsiteX107" fmla="*/ 337408 w 579637"/>
              <a:gd name="connsiteY107" fmla="*/ 80462 h 109895"/>
              <a:gd name="connsiteX108" fmla="*/ 339948 w 579637"/>
              <a:gd name="connsiteY108" fmla="*/ 54948 h 109895"/>
              <a:gd name="connsiteX109" fmla="*/ 337557 w 579637"/>
              <a:gd name="connsiteY109" fmla="*/ 29559 h 109895"/>
              <a:gd name="connsiteX110" fmla="*/ 330386 w 579637"/>
              <a:gd name="connsiteY110" fmla="*/ 15931 h 109895"/>
              <a:gd name="connsiteX111" fmla="*/ 319032 w 579637"/>
              <a:gd name="connsiteY111" fmla="*/ 11761 h 109895"/>
              <a:gd name="connsiteX112" fmla="*/ 307528 w 579637"/>
              <a:gd name="connsiteY112" fmla="*/ 15931 h 109895"/>
              <a:gd name="connsiteX113" fmla="*/ 300208 w 579637"/>
              <a:gd name="connsiteY113" fmla="*/ 29559 h 109895"/>
              <a:gd name="connsiteX114" fmla="*/ 297668 w 579637"/>
              <a:gd name="connsiteY114" fmla="*/ 54948 h 109895"/>
              <a:gd name="connsiteX115" fmla="*/ 300059 w 579637"/>
              <a:gd name="connsiteY115" fmla="*/ 80462 h 109895"/>
              <a:gd name="connsiteX116" fmla="*/ 307379 w 579637"/>
              <a:gd name="connsiteY116" fmla="*/ 94089 h 109895"/>
              <a:gd name="connsiteX117" fmla="*/ 318883 w 579637"/>
              <a:gd name="connsiteY117" fmla="*/ 98072 h 109895"/>
              <a:gd name="connsiteX118" fmla="*/ 401169 w 579637"/>
              <a:gd name="connsiteY118" fmla="*/ 109896 h 109895"/>
              <a:gd name="connsiteX119" fmla="*/ 382943 w 579637"/>
              <a:gd name="connsiteY119" fmla="*/ 104047 h 109895"/>
              <a:gd name="connsiteX120" fmla="*/ 370244 w 579637"/>
              <a:gd name="connsiteY120" fmla="*/ 86125 h 109895"/>
              <a:gd name="connsiteX121" fmla="*/ 365762 w 579637"/>
              <a:gd name="connsiteY121" fmla="*/ 54761 h 109895"/>
              <a:gd name="connsiteX122" fmla="*/ 370244 w 579637"/>
              <a:gd name="connsiteY122" fmla="*/ 23398 h 109895"/>
              <a:gd name="connsiteX123" fmla="*/ 382943 w 579637"/>
              <a:gd name="connsiteY123" fmla="*/ 5663 h 109895"/>
              <a:gd name="connsiteX124" fmla="*/ 401169 w 579637"/>
              <a:gd name="connsiteY124" fmla="*/ 0 h 109895"/>
              <a:gd name="connsiteX125" fmla="*/ 419247 w 579637"/>
              <a:gd name="connsiteY125" fmla="*/ 5663 h 109895"/>
              <a:gd name="connsiteX126" fmla="*/ 431647 w 579637"/>
              <a:gd name="connsiteY126" fmla="*/ 23398 h 109895"/>
              <a:gd name="connsiteX127" fmla="*/ 436128 w 579637"/>
              <a:gd name="connsiteY127" fmla="*/ 54512 h 109895"/>
              <a:gd name="connsiteX128" fmla="*/ 431647 w 579637"/>
              <a:gd name="connsiteY128" fmla="*/ 85876 h 109895"/>
              <a:gd name="connsiteX129" fmla="*/ 419247 w 579637"/>
              <a:gd name="connsiteY129" fmla="*/ 104047 h 109895"/>
              <a:gd name="connsiteX130" fmla="*/ 401169 w 579637"/>
              <a:gd name="connsiteY130" fmla="*/ 109896 h 109895"/>
              <a:gd name="connsiteX131" fmla="*/ 401020 w 579637"/>
              <a:gd name="connsiteY131" fmla="*/ 98072 h 109895"/>
              <a:gd name="connsiteX132" fmla="*/ 412374 w 579637"/>
              <a:gd name="connsiteY132" fmla="*/ 94089 h 109895"/>
              <a:gd name="connsiteX133" fmla="*/ 419545 w 579637"/>
              <a:gd name="connsiteY133" fmla="*/ 80462 h 109895"/>
              <a:gd name="connsiteX134" fmla="*/ 422085 w 579637"/>
              <a:gd name="connsiteY134" fmla="*/ 54948 h 109895"/>
              <a:gd name="connsiteX135" fmla="*/ 419695 w 579637"/>
              <a:gd name="connsiteY135" fmla="*/ 29559 h 109895"/>
              <a:gd name="connsiteX136" fmla="*/ 412524 w 579637"/>
              <a:gd name="connsiteY136" fmla="*/ 15931 h 109895"/>
              <a:gd name="connsiteX137" fmla="*/ 401169 w 579637"/>
              <a:gd name="connsiteY137" fmla="*/ 11761 h 109895"/>
              <a:gd name="connsiteX138" fmla="*/ 389666 w 579637"/>
              <a:gd name="connsiteY138" fmla="*/ 15931 h 109895"/>
              <a:gd name="connsiteX139" fmla="*/ 382345 w 579637"/>
              <a:gd name="connsiteY139" fmla="*/ 29559 h 109895"/>
              <a:gd name="connsiteX140" fmla="*/ 379806 w 579637"/>
              <a:gd name="connsiteY140" fmla="*/ 54948 h 109895"/>
              <a:gd name="connsiteX141" fmla="*/ 382196 w 579637"/>
              <a:gd name="connsiteY141" fmla="*/ 80462 h 109895"/>
              <a:gd name="connsiteX142" fmla="*/ 389516 w 579637"/>
              <a:gd name="connsiteY142" fmla="*/ 94089 h 109895"/>
              <a:gd name="connsiteX143" fmla="*/ 401020 w 579637"/>
              <a:gd name="connsiteY143" fmla="*/ 98072 h 109895"/>
              <a:gd name="connsiteX144" fmla="*/ 505418 w 579637"/>
              <a:gd name="connsiteY144" fmla="*/ 108402 h 109895"/>
              <a:gd name="connsiteX145" fmla="*/ 492271 w 579637"/>
              <a:gd name="connsiteY145" fmla="*/ 108402 h 109895"/>
              <a:gd name="connsiteX146" fmla="*/ 492271 w 579637"/>
              <a:gd name="connsiteY146" fmla="*/ 83013 h 109895"/>
              <a:gd name="connsiteX147" fmla="*/ 445958 w 579637"/>
              <a:gd name="connsiteY147" fmla="*/ 83013 h 109895"/>
              <a:gd name="connsiteX148" fmla="*/ 445958 w 579637"/>
              <a:gd name="connsiteY148" fmla="*/ 73741 h 109895"/>
              <a:gd name="connsiteX149" fmla="*/ 487789 w 579637"/>
              <a:gd name="connsiteY149" fmla="*/ 1307 h 109895"/>
              <a:gd name="connsiteX150" fmla="*/ 505418 w 579637"/>
              <a:gd name="connsiteY150" fmla="*/ 1307 h 109895"/>
              <a:gd name="connsiteX151" fmla="*/ 505418 w 579637"/>
              <a:gd name="connsiteY151" fmla="*/ 71687 h 109895"/>
              <a:gd name="connsiteX152" fmla="*/ 519909 w 579637"/>
              <a:gd name="connsiteY152" fmla="*/ 71687 h 109895"/>
              <a:gd name="connsiteX153" fmla="*/ 519909 w 579637"/>
              <a:gd name="connsiteY153" fmla="*/ 83013 h 109895"/>
              <a:gd name="connsiteX154" fmla="*/ 505418 w 579637"/>
              <a:gd name="connsiteY154" fmla="*/ 83013 h 109895"/>
              <a:gd name="connsiteX155" fmla="*/ 505418 w 579637"/>
              <a:gd name="connsiteY155" fmla="*/ 108402 h 109895"/>
              <a:gd name="connsiteX156" fmla="*/ 459553 w 579637"/>
              <a:gd name="connsiteY156" fmla="*/ 71687 h 109895"/>
              <a:gd name="connsiteX157" fmla="*/ 492271 w 579637"/>
              <a:gd name="connsiteY157" fmla="*/ 71687 h 109895"/>
              <a:gd name="connsiteX158" fmla="*/ 492271 w 579637"/>
              <a:gd name="connsiteY158" fmla="*/ 15931 h 109895"/>
              <a:gd name="connsiteX159" fmla="*/ 459553 w 579637"/>
              <a:gd name="connsiteY159" fmla="*/ 71687 h 109895"/>
              <a:gd name="connsiteX160" fmla="*/ 579637 w 579637"/>
              <a:gd name="connsiteY160" fmla="*/ 108402 h 109895"/>
              <a:gd name="connsiteX161" fmla="*/ 566042 w 579637"/>
              <a:gd name="connsiteY161" fmla="*/ 108402 h 109895"/>
              <a:gd name="connsiteX162" fmla="*/ 566042 w 579637"/>
              <a:gd name="connsiteY162" fmla="*/ 18171 h 109895"/>
              <a:gd name="connsiteX163" fmla="*/ 536461 w 579637"/>
              <a:gd name="connsiteY163" fmla="*/ 40885 h 109895"/>
              <a:gd name="connsiteX164" fmla="*/ 536461 w 579637"/>
              <a:gd name="connsiteY164" fmla="*/ 25825 h 109895"/>
              <a:gd name="connsiteX165" fmla="*/ 568283 w 579637"/>
              <a:gd name="connsiteY165" fmla="*/ 1307 h 109895"/>
              <a:gd name="connsiteX166" fmla="*/ 579637 w 579637"/>
              <a:gd name="connsiteY166" fmla="*/ 1307 h 109895"/>
              <a:gd name="connsiteX167" fmla="*/ 579637 w 579637"/>
              <a:gd name="connsiteY167" fmla="*/ 10840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579637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54290" y="109896"/>
                </a:moveTo>
                <a:cubicBezTo>
                  <a:pt x="143733" y="109896"/>
                  <a:pt x="134470" y="107718"/>
                  <a:pt x="126502" y="103300"/>
                </a:cubicBezTo>
                <a:cubicBezTo>
                  <a:pt x="118634" y="98943"/>
                  <a:pt x="112509" y="92658"/>
                  <a:pt x="108126" y="84507"/>
                </a:cubicBezTo>
                <a:cubicBezTo>
                  <a:pt x="103744" y="76230"/>
                  <a:pt x="101553" y="66398"/>
                  <a:pt x="101553" y="54948"/>
                </a:cubicBezTo>
                <a:cubicBezTo>
                  <a:pt x="101553" y="37711"/>
                  <a:pt x="106085" y="24269"/>
                  <a:pt x="115148" y="14624"/>
                </a:cubicBezTo>
                <a:cubicBezTo>
                  <a:pt x="124211" y="4854"/>
                  <a:pt x="137159" y="0"/>
                  <a:pt x="153991" y="0"/>
                </a:cubicBezTo>
                <a:cubicBezTo>
                  <a:pt x="160266" y="0"/>
                  <a:pt x="166242" y="684"/>
                  <a:pt x="171919" y="2054"/>
                </a:cubicBezTo>
                <a:cubicBezTo>
                  <a:pt x="177696" y="3361"/>
                  <a:pt x="182576" y="5228"/>
                  <a:pt x="186560" y="7716"/>
                </a:cubicBezTo>
                <a:lnTo>
                  <a:pt x="186560" y="21158"/>
                </a:lnTo>
                <a:cubicBezTo>
                  <a:pt x="182277" y="18482"/>
                  <a:pt x="177248" y="16428"/>
                  <a:pt x="171471" y="14935"/>
                </a:cubicBezTo>
                <a:cubicBezTo>
                  <a:pt x="165794" y="13442"/>
                  <a:pt x="159918" y="12695"/>
                  <a:pt x="153842" y="12695"/>
                </a:cubicBezTo>
                <a:cubicBezTo>
                  <a:pt x="141293" y="12695"/>
                  <a:pt x="131980" y="16180"/>
                  <a:pt x="125904" y="23273"/>
                </a:cubicBezTo>
                <a:cubicBezTo>
                  <a:pt x="119829" y="30368"/>
                  <a:pt x="116791" y="40885"/>
                  <a:pt x="116791" y="54948"/>
                </a:cubicBezTo>
                <a:cubicBezTo>
                  <a:pt x="116791" y="69074"/>
                  <a:pt x="120078" y="79653"/>
                  <a:pt x="126652" y="86747"/>
                </a:cubicBezTo>
                <a:cubicBezTo>
                  <a:pt x="133225" y="93716"/>
                  <a:pt x="142836" y="97201"/>
                  <a:pt x="155485" y="97201"/>
                </a:cubicBezTo>
                <a:cubicBezTo>
                  <a:pt x="167437" y="97201"/>
                  <a:pt x="177795" y="93903"/>
                  <a:pt x="186560" y="87369"/>
                </a:cubicBezTo>
                <a:lnTo>
                  <a:pt x="186560" y="100811"/>
                </a:lnTo>
                <a:cubicBezTo>
                  <a:pt x="183074" y="103548"/>
                  <a:pt x="178443" y="105788"/>
                  <a:pt x="172666" y="107531"/>
                </a:cubicBezTo>
                <a:cubicBezTo>
                  <a:pt x="166889" y="109087"/>
                  <a:pt x="160764" y="109896"/>
                  <a:pt x="154290" y="109896"/>
                </a:cubicBezTo>
                <a:close/>
                <a:moveTo>
                  <a:pt x="237038" y="109896"/>
                </a:moveTo>
                <a:cubicBezTo>
                  <a:pt x="230066" y="109896"/>
                  <a:pt x="223841" y="108714"/>
                  <a:pt x="218363" y="106287"/>
                </a:cubicBezTo>
                <a:cubicBezTo>
                  <a:pt x="212985" y="103922"/>
                  <a:pt x="208752" y="100499"/>
                  <a:pt x="205664" y="96019"/>
                </a:cubicBezTo>
                <a:cubicBezTo>
                  <a:pt x="202577" y="91414"/>
                  <a:pt x="201033" y="85938"/>
                  <a:pt x="201033" y="79590"/>
                </a:cubicBezTo>
                <a:cubicBezTo>
                  <a:pt x="201033" y="72683"/>
                  <a:pt x="202826" y="66896"/>
                  <a:pt x="206411" y="62105"/>
                </a:cubicBezTo>
                <a:cubicBezTo>
                  <a:pt x="210096" y="57251"/>
                  <a:pt x="215026" y="53703"/>
                  <a:pt x="221201" y="51525"/>
                </a:cubicBezTo>
                <a:cubicBezTo>
                  <a:pt x="216222" y="49534"/>
                  <a:pt x="212238" y="46485"/>
                  <a:pt x="209250" y="42378"/>
                </a:cubicBezTo>
                <a:cubicBezTo>
                  <a:pt x="206362" y="38333"/>
                  <a:pt x="204917" y="33293"/>
                  <a:pt x="204917" y="27318"/>
                </a:cubicBezTo>
                <a:cubicBezTo>
                  <a:pt x="204917" y="21407"/>
                  <a:pt x="206312" y="16428"/>
                  <a:pt x="209100" y="12383"/>
                </a:cubicBezTo>
                <a:cubicBezTo>
                  <a:pt x="211889" y="8277"/>
                  <a:pt x="215724" y="5228"/>
                  <a:pt x="220604" y="3111"/>
                </a:cubicBezTo>
                <a:cubicBezTo>
                  <a:pt x="225484" y="996"/>
                  <a:pt x="230962" y="0"/>
                  <a:pt x="237038" y="0"/>
                </a:cubicBezTo>
                <a:cubicBezTo>
                  <a:pt x="243014" y="0"/>
                  <a:pt x="248392" y="996"/>
                  <a:pt x="253172" y="3111"/>
                </a:cubicBezTo>
                <a:cubicBezTo>
                  <a:pt x="257953" y="5103"/>
                  <a:pt x="261738" y="8090"/>
                  <a:pt x="264527" y="12073"/>
                </a:cubicBezTo>
                <a:cubicBezTo>
                  <a:pt x="267415" y="16055"/>
                  <a:pt x="268859" y="21033"/>
                  <a:pt x="268859" y="27008"/>
                </a:cubicBezTo>
                <a:cubicBezTo>
                  <a:pt x="268859" y="33106"/>
                  <a:pt x="267365" y="38146"/>
                  <a:pt x="264378" y="42253"/>
                </a:cubicBezTo>
                <a:cubicBezTo>
                  <a:pt x="261389" y="46298"/>
                  <a:pt x="257455" y="49410"/>
                  <a:pt x="252575" y="51525"/>
                </a:cubicBezTo>
                <a:cubicBezTo>
                  <a:pt x="258551" y="53579"/>
                  <a:pt x="263332" y="57001"/>
                  <a:pt x="266917" y="61669"/>
                </a:cubicBezTo>
                <a:cubicBezTo>
                  <a:pt x="270602" y="66336"/>
                  <a:pt x="272445" y="72186"/>
                  <a:pt x="272445" y="79155"/>
                </a:cubicBezTo>
                <a:cubicBezTo>
                  <a:pt x="272445" y="85502"/>
                  <a:pt x="270901" y="91040"/>
                  <a:pt x="267813" y="95707"/>
                </a:cubicBezTo>
                <a:cubicBezTo>
                  <a:pt x="264726" y="100312"/>
                  <a:pt x="260493" y="103797"/>
                  <a:pt x="255115" y="106287"/>
                </a:cubicBezTo>
                <a:cubicBezTo>
                  <a:pt x="249836" y="108714"/>
                  <a:pt x="243810" y="109896"/>
                  <a:pt x="237038" y="109896"/>
                </a:cubicBezTo>
                <a:close/>
                <a:moveTo>
                  <a:pt x="237038" y="46111"/>
                </a:moveTo>
                <a:cubicBezTo>
                  <a:pt x="242316" y="46111"/>
                  <a:pt x="246649" y="44618"/>
                  <a:pt x="250035" y="41631"/>
                </a:cubicBezTo>
                <a:cubicBezTo>
                  <a:pt x="253521" y="38582"/>
                  <a:pt x="255264" y="34350"/>
                  <a:pt x="255264" y="28936"/>
                </a:cubicBezTo>
                <a:cubicBezTo>
                  <a:pt x="255264" y="23585"/>
                  <a:pt x="253521" y="19415"/>
                  <a:pt x="250035" y="16428"/>
                </a:cubicBezTo>
                <a:cubicBezTo>
                  <a:pt x="246649" y="13317"/>
                  <a:pt x="242316" y="11761"/>
                  <a:pt x="237038" y="11761"/>
                </a:cubicBezTo>
                <a:cubicBezTo>
                  <a:pt x="231759" y="11761"/>
                  <a:pt x="227327" y="13317"/>
                  <a:pt x="223741" y="16428"/>
                </a:cubicBezTo>
                <a:cubicBezTo>
                  <a:pt x="220255" y="19415"/>
                  <a:pt x="218512" y="23585"/>
                  <a:pt x="218512" y="28936"/>
                </a:cubicBezTo>
                <a:cubicBezTo>
                  <a:pt x="218512" y="34350"/>
                  <a:pt x="220255" y="38582"/>
                  <a:pt x="223741" y="41631"/>
                </a:cubicBezTo>
                <a:cubicBezTo>
                  <a:pt x="227327" y="44618"/>
                  <a:pt x="231759" y="46111"/>
                  <a:pt x="237038" y="46111"/>
                </a:cubicBezTo>
                <a:close/>
                <a:moveTo>
                  <a:pt x="237038" y="98072"/>
                </a:moveTo>
                <a:cubicBezTo>
                  <a:pt x="243213" y="98072"/>
                  <a:pt x="248342" y="96330"/>
                  <a:pt x="252425" y="92721"/>
                </a:cubicBezTo>
                <a:cubicBezTo>
                  <a:pt x="256609" y="89049"/>
                  <a:pt x="258700" y="83885"/>
                  <a:pt x="258700" y="77350"/>
                </a:cubicBezTo>
                <a:cubicBezTo>
                  <a:pt x="258700" y="70754"/>
                  <a:pt x="256609" y="65714"/>
                  <a:pt x="252425" y="62105"/>
                </a:cubicBezTo>
                <a:cubicBezTo>
                  <a:pt x="248342" y="58433"/>
                  <a:pt x="243213" y="56566"/>
                  <a:pt x="237038" y="56566"/>
                </a:cubicBezTo>
                <a:cubicBezTo>
                  <a:pt x="230663" y="56566"/>
                  <a:pt x="225335" y="58433"/>
                  <a:pt x="221052" y="62105"/>
                </a:cubicBezTo>
                <a:cubicBezTo>
                  <a:pt x="216869" y="65714"/>
                  <a:pt x="214777" y="70754"/>
                  <a:pt x="214777" y="77350"/>
                </a:cubicBezTo>
                <a:cubicBezTo>
                  <a:pt x="214777" y="83885"/>
                  <a:pt x="216869" y="89049"/>
                  <a:pt x="221052" y="92721"/>
                </a:cubicBezTo>
                <a:cubicBezTo>
                  <a:pt x="225335" y="96330"/>
                  <a:pt x="230663" y="98072"/>
                  <a:pt x="237038" y="98072"/>
                </a:cubicBezTo>
                <a:close/>
                <a:moveTo>
                  <a:pt x="319032" y="109896"/>
                </a:moveTo>
                <a:cubicBezTo>
                  <a:pt x="312259" y="109896"/>
                  <a:pt x="306184" y="107967"/>
                  <a:pt x="300806" y="104047"/>
                </a:cubicBezTo>
                <a:cubicBezTo>
                  <a:pt x="295427" y="100188"/>
                  <a:pt x="291194" y="94214"/>
                  <a:pt x="288107" y="86125"/>
                </a:cubicBezTo>
                <a:cubicBezTo>
                  <a:pt x="285119" y="77972"/>
                  <a:pt x="283625" y="67518"/>
                  <a:pt x="283625" y="54761"/>
                </a:cubicBezTo>
                <a:cubicBezTo>
                  <a:pt x="283625" y="41942"/>
                  <a:pt x="285119" y="31488"/>
                  <a:pt x="288107" y="23398"/>
                </a:cubicBezTo>
                <a:cubicBezTo>
                  <a:pt x="291194" y="15371"/>
                  <a:pt x="295427" y="9459"/>
                  <a:pt x="300806" y="5663"/>
                </a:cubicBezTo>
                <a:cubicBezTo>
                  <a:pt x="306184" y="1867"/>
                  <a:pt x="312259" y="0"/>
                  <a:pt x="319032" y="0"/>
                </a:cubicBezTo>
                <a:cubicBezTo>
                  <a:pt x="325805" y="0"/>
                  <a:pt x="331831" y="1867"/>
                  <a:pt x="337109" y="5663"/>
                </a:cubicBezTo>
                <a:cubicBezTo>
                  <a:pt x="342388" y="9459"/>
                  <a:pt x="346521" y="15371"/>
                  <a:pt x="349509" y="23398"/>
                </a:cubicBezTo>
                <a:cubicBezTo>
                  <a:pt x="352497" y="31363"/>
                  <a:pt x="353991" y="41756"/>
                  <a:pt x="353991" y="54512"/>
                </a:cubicBezTo>
                <a:cubicBezTo>
                  <a:pt x="353991" y="67145"/>
                  <a:pt x="352497" y="77599"/>
                  <a:pt x="349509" y="85876"/>
                </a:cubicBezTo>
                <a:cubicBezTo>
                  <a:pt x="346521" y="94027"/>
                  <a:pt x="342388" y="100064"/>
                  <a:pt x="337109" y="104047"/>
                </a:cubicBezTo>
                <a:cubicBezTo>
                  <a:pt x="331831" y="107967"/>
                  <a:pt x="325805" y="109896"/>
                  <a:pt x="319032" y="109896"/>
                </a:cubicBezTo>
                <a:close/>
                <a:moveTo>
                  <a:pt x="318883" y="98072"/>
                </a:moveTo>
                <a:cubicBezTo>
                  <a:pt x="323364" y="98072"/>
                  <a:pt x="327149" y="96766"/>
                  <a:pt x="330237" y="94089"/>
                </a:cubicBezTo>
                <a:cubicBezTo>
                  <a:pt x="333424" y="91289"/>
                  <a:pt x="335814" y="86747"/>
                  <a:pt x="337408" y="80462"/>
                </a:cubicBezTo>
                <a:cubicBezTo>
                  <a:pt x="339101" y="74114"/>
                  <a:pt x="339948" y="65589"/>
                  <a:pt x="339948" y="54948"/>
                </a:cubicBezTo>
                <a:cubicBezTo>
                  <a:pt x="339948" y="44307"/>
                  <a:pt x="339151" y="35844"/>
                  <a:pt x="337557" y="29559"/>
                </a:cubicBezTo>
                <a:cubicBezTo>
                  <a:pt x="335964" y="23150"/>
                  <a:pt x="333573" y="18669"/>
                  <a:pt x="330386" y="15931"/>
                </a:cubicBezTo>
                <a:cubicBezTo>
                  <a:pt x="327299" y="13192"/>
                  <a:pt x="323514" y="11761"/>
                  <a:pt x="319032" y="11761"/>
                </a:cubicBezTo>
                <a:cubicBezTo>
                  <a:pt x="314550" y="11761"/>
                  <a:pt x="310716" y="13192"/>
                  <a:pt x="307528" y="15931"/>
                </a:cubicBezTo>
                <a:cubicBezTo>
                  <a:pt x="304341" y="18669"/>
                  <a:pt x="301901" y="23150"/>
                  <a:pt x="300208" y="29559"/>
                </a:cubicBezTo>
                <a:cubicBezTo>
                  <a:pt x="298515" y="35844"/>
                  <a:pt x="297668" y="44307"/>
                  <a:pt x="297668" y="54948"/>
                </a:cubicBezTo>
                <a:cubicBezTo>
                  <a:pt x="297668" y="65589"/>
                  <a:pt x="298465" y="74114"/>
                  <a:pt x="300059" y="80462"/>
                </a:cubicBezTo>
                <a:cubicBezTo>
                  <a:pt x="301752" y="86747"/>
                  <a:pt x="304192" y="91289"/>
                  <a:pt x="307379" y="94089"/>
                </a:cubicBezTo>
                <a:cubicBezTo>
                  <a:pt x="310566" y="96766"/>
                  <a:pt x="314401" y="98072"/>
                  <a:pt x="318883" y="98072"/>
                </a:cubicBezTo>
                <a:close/>
                <a:moveTo>
                  <a:pt x="401169" y="109896"/>
                </a:moveTo>
                <a:cubicBezTo>
                  <a:pt x="394397" y="109896"/>
                  <a:pt x="388321" y="107967"/>
                  <a:pt x="382943" y="104047"/>
                </a:cubicBezTo>
                <a:cubicBezTo>
                  <a:pt x="377565" y="100188"/>
                  <a:pt x="373332" y="94214"/>
                  <a:pt x="370244" y="86125"/>
                </a:cubicBezTo>
                <a:cubicBezTo>
                  <a:pt x="367256" y="77972"/>
                  <a:pt x="365762" y="67518"/>
                  <a:pt x="365762" y="54761"/>
                </a:cubicBezTo>
                <a:cubicBezTo>
                  <a:pt x="365762" y="41942"/>
                  <a:pt x="367256" y="31488"/>
                  <a:pt x="370244" y="23398"/>
                </a:cubicBezTo>
                <a:cubicBezTo>
                  <a:pt x="373332" y="15371"/>
                  <a:pt x="377565" y="9459"/>
                  <a:pt x="382943" y="5663"/>
                </a:cubicBezTo>
                <a:cubicBezTo>
                  <a:pt x="388321" y="1867"/>
                  <a:pt x="394397" y="0"/>
                  <a:pt x="401169" y="0"/>
                </a:cubicBezTo>
                <a:cubicBezTo>
                  <a:pt x="407942" y="0"/>
                  <a:pt x="413968" y="1867"/>
                  <a:pt x="419247" y="5663"/>
                </a:cubicBezTo>
                <a:cubicBezTo>
                  <a:pt x="424525" y="9459"/>
                  <a:pt x="428659" y="15371"/>
                  <a:pt x="431647" y="23398"/>
                </a:cubicBezTo>
                <a:cubicBezTo>
                  <a:pt x="434634" y="31363"/>
                  <a:pt x="436128" y="41756"/>
                  <a:pt x="436128" y="54512"/>
                </a:cubicBezTo>
                <a:cubicBezTo>
                  <a:pt x="436128" y="67145"/>
                  <a:pt x="434634" y="77599"/>
                  <a:pt x="431647" y="85876"/>
                </a:cubicBezTo>
                <a:cubicBezTo>
                  <a:pt x="428659" y="94027"/>
                  <a:pt x="424525" y="100064"/>
                  <a:pt x="419247" y="104047"/>
                </a:cubicBezTo>
                <a:cubicBezTo>
                  <a:pt x="413968" y="107967"/>
                  <a:pt x="407942" y="109896"/>
                  <a:pt x="401169" y="109896"/>
                </a:cubicBezTo>
                <a:close/>
                <a:moveTo>
                  <a:pt x="401020" y="98072"/>
                </a:moveTo>
                <a:cubicBezTo>
                  <a:pt x="405502" y="98072"/>
                  <a:pt x="409287" y="96766"/>
                  <a:pt x="412374" y="94089"/>
                </a:cubicBezTo>
                <a:cubicBezTo>
                  <a:pt x="415562" y="91289"/>
                  <a:pt x="417952" y="86747"/>
                  <a:pt x="419545" y="80462"/>
                </a:cubicBezTo>
                <a:cubicBezTo>
                  <a:pt x="421239" y="74114"/>
                  <a:pt x="422085" y="65589"/>
                  <a:pt x="422085" y="54948"/>
                </a:cubicBezTo>
                <a:cubicBezTo>
                  <a:pt x="422085" y="44307"/>
                  <a:pt x="421288" y="35844"/>
                  <a:pt x="419695" y="29559"/>
                </a:cubicBezTo>
                <a:cubicBezTo>
                  <a:pt x="418101" y="23150"/>
                  <a:pt x="415711" y="18669"/>
                  <a:pt x="412524" y="15931"/>
                </a:cubicBezTo>
                <a:cubicBezTo>
                  <a:pt x="409436" y="13192"/>
                  <a:pt x="405651" y="11761"/>
                  <a:pt x="401169" y="11761"/>
                </a:cubicBezTo>
                <a:cubicBezTo>
                  <a:pt x="396687" y="11761"/>
                  <a:pt x="392853" y="13192"/>
                  <a:pt x="389666" y="15931"/>
                </a:cubicBezTo>
                <a:cubicBezTo>
                  <a:pt x="386479" y="18669"/>
                  <a:pt x="384038" y="23150"/>
                  <a:pt x="382345" y="29559"/>
                </a:cubicBezTo>
                <a:cubicBezTo>
                  <a:pt x="380652" y="35844"/>
                  <a:pt x="379806" y="44307"/>
                  <a:pt x="379806" y="54948"/>
                </a:cubicBezTo>
                <a:cubicBezTo>
                  <a:pt x="379806" y="65589"/>
                  <a:pt x="380602" y="74114"/>
                  <a:pt x="382196" y="80462"/>
                </a:cubicBezTo>
                <a:cubicBezTo>
                  <a:pt x="383889" y="86747"/>
                  <a:pt x="386329" y="91289"/>
                  <a:pt x="389516" y="94089"/>
                </a:cubicBezTo>
                <a:cubicBezTo>
                  <a:pt x="392704" y="96766"/>
                  <a:pt x="396538" y="98072"/>
                  <a:pt x="401020" y="98072"/>
                </a:cubicBezTo>
                <a:close/>
                <a:moveTo>
                  <a:pt x="505418" y="108402"/>
                </a:moveTo>
                <a:lnTo>
                  <a:pt x="492271" y="108402"/>
                </a:lnTo>
                <a:lnTo>
                  <a:pt x="492271" y="83013"/>
                </a:lnTo>
                <a:lnTo>
                  <a:pt x="445958" y="83013"/>
                </a:lnTo>
                <a:lnTo>
                  <a:pt x="445958" y="73741"/>
                </a:lnTo>
                <a:lnTo>
                  <a:pt x="487789" y="1307"/>
                </a:lnTo>
                <a:lnTo>
                  <a:pt x="505418" y="1307"/>
                </a:lnTo>
                <a:lnTo>
                  <a:pt x="505418" y="71687"/>
                </a:lnTo>
                <a:lnTo>
                  <a:pt x="519909" y="71687"/>
                </a:lnTo>
                <a:lnTo>
                  <a:pt x="519909" y="83013"/>
                </a:lnTo>
                <a:lnTo>
                  <a:pt x="505418" y="83013"/>
                </a:lnTo>
                <a:lnTo>
                  <a:pt x="505418" y="108402"/>
                </a:lnTo>
                <a:close/>
                <a:moveTo>
                  <a:pt x="459553" y="71687"/>
                </a:moveTo>
                <a:lnTo>
                  <a:pt x="492271" y="71687"/>
                </a:lnTo>
                <a:lnTo>
                  <a:pt x="492271" y="15931"/>
                </a:lnTo>
                <a:lnTo>
                  <a:pt x="459553" y="71687"/>
                </a:lnTo>
                <a:close/>
                <a:moveTo>
                  <a:pt x="579637" y="108402"/>
                </a:moveTo>
                <a:lnTo>
                  <a:pt x="566042" y="108402"/>
                </a:lnTo>
                <a:lnTo>
                  <a:pt x="566042" y="18171"/>
                </a:lnTo>
                <a:lnTo>
                  <a:pt x="536461" y="40885"/>
                </a:lnTo>
                <a:lnTo>
                  <a:pt x="536461" y="25825"/>
                </a:lnTo>
                <a:lnTo>
                  <a:pt x="568283" y="1307"/>
                </a:lnTo>
                <a:lnTo>
                  <a:pt x="579637" y="1307"/>
                </a:lnTo>
                <a:lnTo>
                  <a:pt x="579637" y="10840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9" name="Полилиния 1008">
            <a:extLst>
              <a:ext uri="{FF2B5EF4-FFF2-40B4-BE49-F238E27FC236}">
                <a16:creationId xmlns:a16="http://schemas.microsoft.com/office/drawing/2014/main" id="{CF94E0E4-0FC5-F045-C697-4AB8134B9D79}"/>
              </a:ext>
            </a:extLst>
          </p:cNvPr>
          <p:cNvSpPr/>
          <p:nvPr userDrawn="1"/>
        </p:nvSpPr>
        <p:spPr>
          <a:xfrm>
            <a:off x="18445574" y="6692525"/>
            <a:ext cx="1398954" cy="726227"/>
          </a:xfrm>
          <a:custGeom>
            <a:avLst/>
            <a:gdLst>
              <a:gd name="connsiteX0" fmla="*/ 850 w 1198727"/>
              <a:gd name="connsiteY0" fmla="*/ 1422 h 622284"/>
              <a:gd name="connsiteX1" fmla="*/ 1199578 w 1198727"/>
              <a:gd name="connsiteY1" fmla="*/ 1422 h 622284"/>
              <a:gd name="connsiteX2" fmla="*/ 1199578 w 1198727"/>
              <a:gd name="connsiteY2" fmla="*/ 623706 h 622284"/>
              <a:gd name="connsiteX3" fmla="*/ 850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422"/>
                </a:moveTo>
                <a:lnTo>
                  <a:pt x="1199578" y="1422"/>
                </a:lnTo>
                <a:lnTo>
                  <a:pt x="1199578" y="623706"/>
                </a:lnTo>
                <a:lnTo>
                  <a:pt x="850" y="623706"/>
                </a:lnTo>
                <a:close/>
              </a:path>
            </a:pathLst>
          </a:custGeom>
          <a:solidFill>
            <a:srgbClr val="FA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0" name="Полилиния 1009">
            <a:extLst>
              <a:ext uri="{FF2B5EF4-FFF2-40B4-BE49-F238E27FC236}">
                <a16:creationId xmlns:a16="http://schemas.microsoft.com/office/drawing/2014/main" id="{B65FE01A-B05F-DC7C-7717-E6E4C75E244B}"/>
              </a:ext>
            </a:extLst>
          </p:cNvPr>
          <p:cNvSpPr/>
          <p:nvPr userDrawn="1"/>
        </p:nvSpPr>
        <p:spPr>
          <a:xfrm>
            <a:off x="18568782" y="6994491"/>
            <a:ext cx="696026" cy="128252"/>
          </a:xfrm>
          <a:custGeom>
            <a:avLst/>
            <a:gdLst>
              <a:gd name="connsiteX0" fmla="*/ 22111 w 596407"/>
              <a:gd name="connsiteY0" fmla="*/ 108402 h 109895"/>
              <a:gd name="connsiteX1" fmla="*/ 10159 w 596407"/>
              <a:gd name="connsiteY1" fmla="*/ 108402 h 109895"/>
              <a:gd name="connsiteX2" fmla="*/ 16433 w 596407"/>
              <a:gd name="connsiteY2" fmla="*/ 77475 h 109895"/>
              <a:gd name="connsiteX3" fmla="*/ 0 w 596407"/>
              <a:gd name="connsiteY3" fmla="*/ 77475 h 109895"/>
              <a:gd name="connsiteX4" fmla="*/ 0 w 596407"/>
              <a:gd name="connsiteY4" fmla="*/ 67020 h 109895"/>
              <a:gd name="connsiteX5" fmla="*/ 18675 w 596407"/>
              <a:gd name="connsiteY5" fmla="*/ 67020 h 109895"/>
              <a:gd name="connsiteX6" fmla="*/ 24202 w 596407"/>
              <a:gd name="connsiteY6" fmla="*/ 39826 h 109895"/>
              <a:gd name="connsiteX7" fmla="*/ 4033 w 596407"/>
              <a:gd name="connsiteY7" fmla="*/ 39826 h 109895"/>
              <a:gd name="connsiteX8" fmla="*/ 4033 w 596407"/>
              <a:gd name="connsiteY8" fmla="*/ 29372 h 109895"/>
              <a:gd name="connsiteX9" fmla="*/ 26294 w 596407"/>
              <a:gd name="connsiteY9" fmla="*/ 29372 h 109895"/>
              <a:gd name="connsiteX10" fmla="*/ 32120 w 596407"/>
              <a:gd name="connsiteY10" fmla="*/ 1307 h 109895"/>
              <a:gd name="connsiteX11" fmla="*/ 44072 w 596407"/>
              <a:gd name="connsiteY11" fmla="*/ 1307 h 109895"/>
              <a:gd name="connsiteX12" fmla="*/ 38246 w 596407"/>
              <a:gd name="connsiteY12" fmla="*/ 29372 h 109895"/>
              <a:gd name="connsiteX13" fmla="*/ 60655 w 596407"/>
              <a:gd name="connsiteY13" fmla="*/ 29372 h 109895"/>
              <a:gd name="connsiteX14" fmla="*/ 66482 w 596407"/>
              <a:gd name="connsiteY14" fmla="*/ 1307 h 109895"/>
              <a:gd name="connsiteX15" fmla="*/ 78434 w 596407"/>
              <a:gd name="connsiteY15" fmla="*/ 1307 h 109895"/>
              <a:gd name="connsiteX16" fmla="*/ 72607 w 596407"/>
              <a:gd name="connsiteY16" fmla="*/ 29372 h 109895"/>
              <a:gd name="connsiteX17" fmla="*/ 89340 w 596407"/>
              <a:gd name="connsiteY17" fmla="*/ 29372 h 109895"/>
              <a:gd name="connsiteX18" fmla="*/ 89340 w 596407"/>
              <a:gd name="connsiteY18" fmla="*/ 39826 h 109895"/>
              <a:gd name="connsiteX19" fmla="*/ 70516 w 596407"/>
              <a:gd name="connsiteY19" fmla="*/ 39826 h 109895"/>
              <a:gd name="connsiteX20" fmla="*/ 64988 w 596407"/>
              <a:gd name="connsiteY20" fmla="*/ 67020 h 109895"/>
              <a:gd name="connsiteX21" fmla="*/ 85306 w 596407"/>
              <a:gd name="connsiteY21" fmla="*/ 67020 h 109895"/>
              <a:gd name="connsiteX22" fmla="*/ 85306 w 596407"/>
              <a:gd name="connsiteY22" fmla="*/ 77475 h 109895"/>
              <a:gd name="connsiteX23" fmla="*/ 62747 w 596407"/>
              <a:gd name="connsiteY23" fmla="*/ 77475 h 109895"/>
              <a:gd name="connsiteX24" fmla="*/ 56472 w 596407"/>
              <a:gd name="connsiteY24" fmla="*/ 108402 h 109895"/>
              <a:gd name="connsiteX25" fmla="*/ 44520 w 596407"/>
              <a:gd name="connsiteY25" fmla="*/ 108402 h 109895"/>
              <a:gd name="connsiteX26" fmla="*/ 50795 w 596407"/>
              <a:gd name="connsiteY26" fmla="*/ 77475 h 109895"/>
              <a:gd name="connsiteX27" fmla="*/ 28386 w 596407"/>
              <a:gd name="connsiteY27" fmla="*/ 77475 h 109895"/>
              <a:gd name="connsiteX28" fmla="*/ 22111 w 596407"/>
              <a:gd name="connsiteY28" fmla="*/ 108402 h 109895"/>
              <a:gd name="connsiteX29" fmla="*/ 30626 w 596407"/>
              <a:gd name="connsiteY29" fmla="*/ 67020 h 109895"/>
              <a:gd name="connsiteX30" fmla="*/ 53036 w 596407"/>
              <a:gd name="connsiteY30" fmla="*/ 67020 h 109895"/>
              <a:gd name="connsiteX31" fmla="*/ 58564 w 596407"/>
              <a:gd name="connsiteY31" fmla="*/ 39826 h 109895"/>
              <a:gd name="connsiteX32" fmla="*/ 36154 w 596407"/>
              <a:gd name="connsiteY32" fmla="*/ 39826 h 109895"/>
              <a:gd name="connsiteX33" fmla="*/ 30626 w 596407"/>
              <a:gd name="connsiteY33" fmla="*/ 67020 h 109895"/>
              <a:gd name="connsiteX34" fmla="*/ 107827 w 596407"/>
              <a:gd name="connsiteY34" fmla="*/ 1307 h 109895"/>
              <a:gd name="connsiteX35" fmla="*/ 173264 w 596407"/>
              <a:gd name="connsiteY35" fmla="*/ 1307 h 109895"/>
              <a:gd name="connsiteX36" fmla="*/ 173264 w 596407"/>
              <a:gd name="connsiteY36" fmla="*/ 14188 h 109895"/>
              <a:gd name="connsiteX37" fmla="*/ 121871 w 596407"/>
              <a:gd name="connsiteY37" fmla="*/ 14188 h 109895"/>
              <a:gd name="connsiteX38" fmla="*/ 121871 w 596407"/>
              <a:gd name="connsiteY38" fmla="*/ 49720 h 109895"/>
              <a:gd name="connsiteX39" fmla="*/ 165495 w 596407"/>
              <a:gd name="connsiteY39" fmla="*/ 49720 h 109895"/>
              <a:gd name="connsiteX40" fmla="*/ 165495 w 596407"/>
              <a:gd name="connsiteY40" fmla="*/ 62415 h 109895"/>
              <a:gd name="connsiteX41" fmla="*/ 121871 w 596407"/>
              <a:gd name="connsiteY41" fmla="*/ 62415 h 109895"/>
              <a:gd name="connsiteX42" fmla="*/ 121871 w 596407"/>
              <a:gd name="connsiteY42" fmla="*/ 108402 h 109895"/>
              <a:gd name="connsiteX43" fmla="*/ 107827 w 596407"/>
              <a:gd name="connsiteY43" fmla="*/ 108402 h 109895"/>
              <a:gd name="connsiteX44" fmla="*/ 107827 w 596407"/>
              <a:gd name="connsiteY44" fmla="*/ 1307 h 109895"/>
              <a:gd name="connsiteX45" fmla="*/ 273142 w 596407"/>
              <a:gd name="connsiteY45" fmla="*/ 108402 h 109895"/>
              <a:gd name="connsiteX46" fmla="*/ 258202 w 596407"/>
              <a:gd name="connsiteY46" fmla="*/ 108402 h 109895"/>
              <a:gd name="connsiteX47" fmla="*/ 247147 w 596407"/>
              <a:gd name="connsiteY47" fmla="*/ 77786 h 109895"/>
              <a:gd name="connsiteX48" fmla="*/ 199788 w 596407"/>
              <a:gd name="connsiteY48" fmla="*/ 77786 h 109895"/>
              <a:gd name="connsiteX49" fmla="*/ 188882 w 596407"/>
              <a:gd name="connsiteY49" fmla="*/ 108402 h 109895"/>
              <a:gd name="connsiteX50" fmla="*/ 175735 w 596407"/>
              <a:gd name="connsiteY50" fmla="*/ 108402 h 109895"/>
              <a:gd name="connsiteX51" fmla="*/ 213831 w 596407"/>
              <a:gd name="connsiteY51" fmla="*/ 1307 h 109895"/>
              <a:gd name="connsiteX52" fmla="*/ 234747 w 596407"/>
              <a:gd name="connsiteY52" fmla="*/ 1307 h 109895"/>
              <a:gd name="connsiteX53" fmla="*/ 273142 w 596407"/>
              <a:gd name="connsiteY53" fmla="*/ 108402 h 109895"/>
              <a:gd name="connsiteX54" fmla="*/ 204419 w 596407"/>
              <a:gd name="connsiteY54" fmla="*/ 65091 h 109895"/>
              <a:gd name="connsiteX55" fmla="*/ 242665 w 596407"/>
              <a:gd name="connsiteY55" fmla="*/ 65091 h 109895"/>
              <a:gd name="connsiteX56" fmla="*/ 223542 w 596407"/>
              <a:gd name="connsiteY56" fmla="*/ 11761 h 109895"/>
              <a:gd name="connsiteX57" fmla="*/ 204419 w 596407"/>
              <a:gd name="connsiteY57" fmla="*/ 65091 h 109895"/>
              <a:gd name="connsiteX58" fmla="*/ 317569 w 596407"/>
              <a:gd name="connsiteY58" fmla="*/ 109896 h 109895"/>
              <a:gd name="connsiteX59" fmla="*/ 299342 w 596407"/>
              <a:gd name="connsiteY59" fmla="*/ 104047 h 109895"/>
              <a:gd name="connsiteX60" fmla="*/ 286644 w 596407"/>
              <a:gd name="connsiteY60" fmla="*/ 86125 h 109895"/>
              <a:gd name="connsiteX61" fmla="*/ 282162 w 596407"/>
              <a:gd name="connsiteY61" fmla="*/ 54761 h 109895"/>
              <a:gd name="connsiteX62" fmla="*/ 286644 w 596407"/>
              <a:gd name="connsiteY62" fmla="*/ 23398 h 109895"/>
              <a:gd name="connsiteX63" fmla="*/ 299342 w 596407"/>
              <a:gd name="connsiteY63" fmla="*/ 5663 h 109895"/>
              <a:gd name="connsiteX64" fmla="*/ 317569 w 596407"/>
              <a:gd name="connsiteY64" fmla="*/ 0 h 109895"/>
              <a:gd name="connsiteX65" fmla="*/ 335646 w 596407"/>
              <a:gd name="connsiteY65" fmla="*/ 5663 h 109895"/>
              <a:gd name="connsiteX66" fmla="*/ 348046 w 596407"/>
              <a:gd name="connsiteY66" fmla="*/ 23398 h 109895"/>
              <a:gd name="connsiteX67" fmla="*/ 352528 w 596407"/>
              <a:gd name="connsiteY67" fmla="*/ 54512 h 109895"/>
              <a:gd name="connsiteX68" fmla="*/ 348046 w 596407"/>
              <a:gd name="connsiteY68" fmla="*/ 85876 h 109895"/>
              <a:gd name="connsiteX69" fmla="*/ 335646 w 596407"/>
              <a:gd name="connsiteY69" fmla="*/ 104047 h 109895"/>
              <a:gd name="connsiteX70" fmla="*/ 317569 w 596407"/>
              <a:gd name="connsiteY70" fmla="*/ 109896 h 109895"/>
              <a:gd name="connsiteX71" fmla="*/ 317420 w 596407"/>
              <a:gd name="connsiteY71" fmla="*/ 98072 h 109895"/>
              <a:gd name="connsiteX72" fmla="*/ 328774 w 596407"/>
              <a:gd name="connsiteY72" fmla="*/ 94089 h 109895"/>
              <a:gd name="connsiteX73" fmla="*/ 335945 w 596407"/>
              <a:gd name="connsiteY73" fmla="*/ 80462 h 109895"/>
              <a:gd name="connsiteX74" fmla="*/ 338485 w 596407"/>
              <a:gd name="connsiteY74" fmla="*/ 54948 h 109895"/>
              <a:gd name="connsiteX75" fmla="*/ 336095 w 596407"/>
              <a:gd name="connsiteY75" fmla="*/ 29559 h 109895"/>
              <a:gd name="connsiteX76" fmla="*/ 328923 w 596407"/>
              <a:gd name="connsiteY76" fmla="*/ 15931 h 109895"/>
              <a:gd name="connsiteX77" fmla="*/ 317569 w 596407"/>
              <a:gd name="connsiteY77" fmla="*/ 11761 h 109895"/>
              <a:gd name="connsiteX78" fmla="*/ 306065 w 596407"/>
              <a:gd name="connsiteY78" fmla="*/ 15931 h 109895"/>
              <a:gd name="connsiteX79" fmla="*/ 298745 w 596407"/>
              <a:gd name="connsiteY79" fmla="*/ 29559 h 109895"/>
              <a:gd name="connsiteX80" fmla="*/ 296205 w 596407"/>
              <a:gd name="connsiteY80" fmla="*/ 54948 h 109895"/>
              <a:gd name="connsiteX81" fmla="*/ 298595 w 596407"/>
              <a:gd name="connsiteY81" fmla="*/ 80462 h 109895"/>
              <a:gd name="connsiteX82" fmla="*/ 305916 w 596407"/>
              <a:gd name="connsiteY82" fmla="*/ 94089 h 109895"/>
              <a:gd name="connsiteX83" fmla="*/ 317420 w 596407"/>
              <a:gd name="connsiteY83" fmla="*/ 98072 h 109895"/>
              <a:gd name="connsiteX84" fmla="*/ 399707 w 596407"/>
              <a:gd name="connsiteY84" fmla="*/ 109896 h 109895"/>
              <a:gd name="connsiteX85" fmla="*/ 381480 w 596407"/>
              <a:gd name="connsiteY85" fmla="*/ 104047 h 109895"/>
              <a:gd name="connsiteX86" fmla="*/ 368781 w 596407"/>
              <a:gd name="connsiteY86" fmla="*/ 86125 h 109895"/>
              <a:gd name="connsiteX87" fmla="*/ 364299 w 596407"/>
              <a:gd name="connsiteY87" fmla="*/ 54761 h 109895"/>
              <a:gd name="connsiteX88" fmla="*/ 368781 w 596407"/>
              <a:gd name="connsiteY88" fmla="*/ 23398 h 109895"/>
              <a:gd name="connsiteX89" fmla="*/ 381480 w 596407"/>
              <a:gd name="connsiteY89" fmla="*/ 5663 h 109895"/>
              <a:gd name="connsiteX90" fmla="*/ 399707 w 596407"/>
              <a:gd name="connsiteY90" fmla="*/ 0 h 109895"/>
              <a:gd name="connsiteX91" fmla="*/ 417784 w 596407"/>
              <a:gd name="connsiteY91" fmla="*/ 5663 h 109895"/>
              <a:gd name="connsiteX92" fmla="*/ 430184 w 596407"/>
              <a:gd name="connsiteY92" fmla="*/ 23398 h 109895"/>
              <a:gd name="connsiteX93" fmla="*/ 434666 w 596407"/>
              <a:gd name="connsiteY93" fmla="*/ 54512 h 109895"/>
              <a:gd name="connsiteX94" fmla="*/ 430184 w 596407"/>
              <a:gd name="connsiteY94" fmla="*/ 85876 h 109895"/>
              <a:gd name="connsiteX95" fmla="*/ 417784 w 596407"/>
              <a:gd name="connsiteY95" fmla="*/ 104047 h 109895"/>
              <a:gd name="connsiteX96" fmla="*/ 399707 w 596407"/>
              <a:gd name="connsiteY96" fmla="*/ 109896 h 109895"/>
              <a:gd name="connsiteX97" fmla="*/ 399557 w 596407"/>
              <a:gd name="connsiteY97" fmla="*/ 98072 h 109895"/>
              <a:gd name="connsiteX98" fmla="*/ 410911 w 596407"/>
              <a:gd name="connsiteY98" fmla="*/ 94089 h 109895"/>
              <a:gd name="connsiteX99" fmla="*/ 418082 w 596407"/>
              <a:gd name="connsiteY99" fmla="*/ 80462 h 109895"/>
              <a:gd name="connsiteX100" fmla="*/ 420622 w 596407"/>
              <a:gd name="connsiteY100" fmla="*/ 54948 h 109895"/>
              <a:gd name="connsiteX101" fmla="*/ 418232 w 596407"/>
              <a:gd name="connsiteY101" fmla="*/ 29559 h 109895"/>
              <a:gd name="connsiteX102" fmla="*/ 411061 w 596407"/>
              <a:gd name="connsiteY102" fmla="*/ 15931 h 109895"/>
              <a:gd name="connsiteX103" fmla="*/ 399707 w 596407"/>
              <a:gd name="connsiteY103" fmla="*/ 11761 h 109895"/>
              <a:gd name="connsiteX104" fmla="*/ 388203 w 596407"/>
              <a:gd name="connsiteY104" fmla="*/ 15931 h 109895"/>
              <a:gd name="connsiteX105" fmla="*/ 380882 w 596407"/>
              <a:gd name="connsiteY105" fmla="*/ 29559 h 109895"/>
              <a:gd name="connsiteX106" fmla="*/ 378343 w 596407"/>
              <a:gd name="connsiteY106" fmla="*/ 54948 h 109895"/>
              <a:gd name="connsiteX107" fmla="*/ 380733 w 596407"/>
              <a:gd name="connsiteY107" fmla="*/ 80462 h 109895"/>
              <a:gd name="connsiteX108" fmla="*/ 388054 w 596407"/>
              <a:gd name="connsiteY108" fmla="*/ 94089 h 109895"/>
              <a:gd name="connsiteX109" fmla="*/ 399557 w 596407"/>
              <a:gd name="connsiteY109" fmla="*/ 98072 h 109895"/>
              <a:gd name="connsiteX110" fmla="*/ 476920 w 596407"/>
              <a:gd name="connsiteY110" fmla="*/ 109896 h 109895"/>
              <a:gd name="connsiteX111" fmla="*/ 448385 w 596407"/>
              <a:gd name="connsiteY111" fmla="*/ 102304 h 109895"/>
              <a:gd name="connsiteX112" fmla="*/ 448385 w 596407"/>
              <a:gd name="connsiteY112" fmla="*/ 87618 h 109895"/>
              <a:gd name="connsiteX113" fmla="*/ 461532 w 596407"/>
              <a:gd name="connsiteY113" fmla="*/ 95272 h 109895"/>
              <a:gd name="connsiteX114" fmla="*/ 476920 w 596407"/>
              <a:gd name="connsiteY114" fmla="*/ 97637 h 109895"/>
              <a:gd name="connsiteX115" fmla="*/ 493951 w 596407"/>
              <a:gd name="connsiteY115" fmla="*/ 90916 h 109895"/>
              <a:gd name="connsiteX116" fmla="*/ 500077 w 596407"/>
              <a:gd name="connsiteY116" fmla="*/ 73305 h 109895"/>
              <a:gd name="connsiteX117" fmla="*/ 494101 w 596407"/>
              <a:gd name="connsiteY117" fmla="*/ 56255 h 109895"/>
              <a:gd name="connsiteX118" fmla="*/ 479012 w 596407"/>
              <a:gd name="connsiteY118" fmla="*/ 50903 h 109895"/>
              <a:gd name="connsiteX119" fmla="*/ 468404 w 596407"/>
              <a:gd name="connsiteY119" fmla="*/ 53143 h 109895"/>
              <a:gd name="connsiteX120" fmla="*/ 462279 w 596407"/>
              <a:gd name="connsiteY120" fmla="*/ 57624 h 109895"/>
              <a:gd name="connsiteX121" fmla="*/ 451373 w 596407"/>
              <a:gd name="connsiteY121" fmla="*/ 57624 h 109895"/>
              <a:gd name="connsiteX122" fmla="*/ 451373 w 596407"/>
              <a:gd name="connsiteY122" fmla="*/ 1307 h 109895"/>
              <a:gd name="connsiteX123" fmla="*/ 509340 w 596407"/>
              <a:gd name="connsiteY123" fmla="*/ 1307 h 109895"/>
              <a:gd name="connsiteX124" fmla="*/ 509340 w 596407"/>
              <a:gd name="connsiteY124" fmla="*/ 14188 h 109895"/>
              <a:gd name="connsiteX125" fmla="*/ 463624 w 596407"/>
              <a:gd name="connsiteY125" fmla="*/ 14188 h 109895"/>
              <a:gd name="connsiteX126" fmla="*/ 463624 w 596407"/>
              <a:gd name="connsiteY126" fmla="*/ 44805 h 109895"/>
              <a:gd name="connsiteX127" fmla="*/ 470944 w 596407"/>
              <a:gd name="connsiteY127" fmla="*/ 40885 h 109895"/>
              <a:gd name="connsiteX128" fmla="*/ 481253 w 596407"/>
              <a:gd name="connsiteY128" fmla="*/ 39080 h 109895"/>
              <a:gd name="connsiteX129" fmla="*/ 497985 w 596407"/>
              <a:gd name="connsiteY129" fmla="*/ 43000 h 109895"/>
              <a:gd name="connsiteX130" fmla="*/ 509788 w 596407"/>
              <a:gd name="connsiteY130" fmla="*/ 54326 h 109895"/>
              <a:gd name="connsiteX131" fmla="*/ 514270 w 596407"/>
              <a:gd name="connsiteY131" fmla="*/ 72995 h 109895"/>
              <a:gd name="connsiteX132" fmla="*/ 509638 w 596407"/>
              <a:gd name="connsiteY132" fmla="*/ 92410 h 109895"/>
              <a:gd name="connsiteX133" fmla="*/ 496790 w 596407"/>
              <a:gd name="connsiteY133" fmla="*/ 105415 h 109895"/>
              <a:gd name="connsiteX134" fmla="*/ 476920 w 596407"/>
              <a:gd name="connsiteY134" fmla="*/ 109896 h 109895"/>
              <a:gd name="connsiteX135" fmla="*/ 559058 w 596407"/>
              <a:gd name="connsiteY135" fmla="*/ 109896 h 109895"/>
              <a:gd name="connsiteX136" fmla="*/ 530523 w 596407"/>
              <a:gd name="connsiteY136" fmla="*/ 102304 h 109895"/>
              <a:gd name="connsiteX137" fmla="*/ 530523 w 596407"/>
              <a:gd name="connsiteY137" fmla="*/ 87618 h 109895"/>
              <a:gd name="connsiteX138" fmla="*/ 543670 w 596407"/>
              <a:gd name="connsiteY138" fmla="*/ 95272 h 109895"/>
              <a:gd name="connsiteX139" fmla="*/ 559058 w 596407"/>
              <a:gd name="connsiteY139" fmla="*/ 97637 h 109895"/>
              <a:gd name="connsiteX140" fmla="*/ 576089 w 596407"/>
              <a:gd name="connsiteY140" fmla="*/ 90916 h 109895"/>
              <a:gd name="connsiteX141" fmla="*/ 582214 w 596407"/>
              <a:gd name="connsiteY141" fmla="*/ 73305 h 109895"/>
              <a:gd name="connsiteX142" fmla="*/ 576239 w 596407"/>
              <a:gd name="connsiteY142" fmla="*/ 56255 h 109895"/>
              <a:gd name="connsiteX143" fmla="*/ 561149 w 596407"/>
              <a:gd name="connsiteY143" fmla="*/ 50903 h 109895"/>
              <a:gd name="connsiteX144" fmla="*/ 550542 w 596407"/>
              <a:gd name="connsiteY144" fmla="*/ 53143 h 109895"/>
              <a:gd name="connsiteX145" fmla="*/ 544417 w 596407"/>
              <a:gd name="connsiteY145" fmla="*/ 57624 h 109895"/>
              <a:gd name="connsiteX146" fmla="*/ 533511 w 596407"/>
              <a:gd name="connsiteY146" fmla="*/ 57624 h 109895"/>
              <a:gd name="connsiteX147" fmla="*/ 533511 w 596407"/>
              <a:gd name="connsiteY147" fmla="*/ 1307 h 109895"/>
              <a:gd name="connsiteX148" fmla="*/ 591477 w 596407"/>
              <a:gd name="connsiteY148" fmla="*/ 1307 h 109895"/>
              <a:gd name="connsiteX149" fmla="*/ 591477 w 596407"/>
              <a:gd name="connsiteY149" fmla="*/ 14188 h 109895"/>
              <a:gd name="connsiteX150" fmla="*/ 545761 w 596407"/>
              <a:gd name="connsiteY150" fmla="*/ 14188 h 109895"/>
              <a:gd name="connsiteX151" fmla="*/ 545761 w 596407"/>
              <a:gd name="connsiteY151" fmla="*/ 44805 h 109895"/>
              <a:gd name="connsiteX152" fmla="*/ 553082 w 596407"/>
              <a:gd name="connsiteY152" fmla="*/ 40885 h 109895"/>
              <a:gd name="connsiteX153" fmla="*/ 563390 w 596407"/>
              <a:gd name="connsiteY153" fmla="*/ 39080 h 109895"/>
              <a:gd name="connsiteX154" fmla="*/ 580123 w 596407"/>
              <a:gd name="connsiteY154" fmla="*/ 43000 h 109895"/>
              <a:gd name="connsiteX155" fmla="*/ 591925 w 596407"/>
              <a:gd name="connsiteY155" fmla="*/ 54326 h 109895"/>
              <a:gd name="connsiteX156" fmla="*/ 596407 w 596407"/>
              <a:gd name="connsiteY156" fmla="*/ 72995 h 109895"/>
              <a:gd name="connsiteX157" fmla="*/ 591776 w 596407"/>
              <a:gd name="connsiteY157" fmla="*/ 92410 h 109895"/>
              <a:gd name="connsiteX158" fmla="*/ 578927 w 596407"/>
              <a:gd name="connsiteY158" fmla="*/ 105415 h 109895"/>
              <a:gd name="connsiteX159" fmla="*/ 559058 w 596407"/>
              <a:gd name="connsiteY159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</a:cxnLst>
            <a:rect l="l" t="t" r="r" b="b"/>
            <a:pathLst>
              <a:path w="596407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273142" y="108402"/>
                </a:moveTo>
                <a:lnTo>
                  <a:pt x="258202" y="108402"/>
                </a:lnTo>
                <a:lnTo>
                  <a:pt x="247147" y="77786"/>
                </a:lnTo>
                <a:lnTo>
                  <a:pt x="199788" y="77786"/>
                </a:lnTo>
                <a:lnTo>
                  <a:pt x="188882" y="108402"/>
                </a:lnTo>
                <a:lnTo>
                  <a:pt x="175735" y="108402"/>
                </a:lnTo>
                <a:lnTo>
                  <a:pt x="213831" y="1307"/>
                </a:lnTo>
                <a:lnTo>
                  <a:pt x="234747" y="1307"/>
                </a:lnTo>
                <a:lnTo>
                  <a:pt x="273142" y="108402"/>
                </a:lnTo>
                <a:close/>
                <a:moveTo>
                  <a:pt x="204419" y="65091"/>
                </a:moveTo>
                <a:lnTo>
                  <a:pt x="242665" y="65091"/>
                </a:lnTo>
                <a:lnTo>
                  <a:pt x="223542" y="11761"/>
                </a:lnTo>
                <a:lnTo>
                  <a:pt x="204419" y="65091"/>
                </a:lnTo>
                <a:close/>
                <a:moveTo>
                  <a:pt x="317569" y="109896"/>
                </a:moveTo>
                <a:cubicBezTo>
                  <a:pt x="310796" y="109896"/>
                  <a:pt x="304721" y="107967"/>
                  <a:pt x="299342" y="104047"/>
                </a:cubicBezTo>
                <a:cubicBezTo>
                  <a:pt x="293964" y="100188"/>
                  <a:pt x="289732" y="94214"/>
                  <a:pt x="286644" y="86125"/>
                </a:cubicBezTo>
                <a:cubicBezTo>
                  <a:pt x="283656" y="77972"/>
                  <a:pt x="282162" y="67518"/>
                  <a:pt x="282162" y="54761"/>
                </a:cubicBezTo>
                <a:cubicBezTo>
                  <a:pt x="282162" y="41942"/>
                  <a:pt x="283656" y="31488"/>
                  <a:pt x="286644" y="23398"/>
                </a:cubicBezTo>
                <a:cubicBezTo>
                  <a:pt x="289732" y="15371"/>
                  <a:pt x="293964" y="9459"/>
                  <a:pt x="299342" y="5663"/>
                </a:cubicBezTo>
                <a:cubicBezTo>
                  <a:pt x="304721" y="1867"/>
                  <a:pt x="310796" y="0"/>
                  <a:pt x="317569" y="0"/>
                </a:cubicBezTo>
                <a:cubicBezTo>
                  <a:pt x="324342" y="0"/>
                  <a:pt x="330367" y="1867"/>
                  <a:pt x="335646" y="5663"/>
                </a:cubicBezTo>
                <a:cubicBezTo>
                  <a:pt x="340925" y="9459"/>
                  <a:pt x="345058" y="15371"/>
                  <a:pt x="348046" y="23398"/>
                </a:cubicBezTo>
                <a:cubicBezTo>
                  <a:pt x="351034" y="31363"/>
                  <a:pt x="352528" y="41756"/>
                  <a:pt x="352528" y="54512"/>
                </a:cubicBezTo>
                <a:cubicBezTo>
                  <a:pt x="352528" y="67145"/>
                  <a:pt x="351034" y="77599"/>
                  <a:pt x="348046" y="85876"/>
                </a:cubicBezTo>
                <a:cubicBezTo>
                  <a:pt x="345058" y="94027"/>
                  <a:pt x="340925" y="100064"/>
                  <a:pt x="335646" y="104047"/>
                </a:cubicBezTo>
                <a:cubicBezTo>
                  <a:pt x="330367" y="107967"/>
                  <a:pt x="324342" y="109896"/>
                  <a:pt x="317569" y="109896"/>
                </a:cubicBezTo>
                <a:close/>
                <a:moveTo>
                  <a:pt x="317420" y="98072"/>
                </a:moveTo>
                <a:cubicBezTo>
                  <a:pt x="321902" y="98072"/>
                  <a:pt x="325687" y="96766"/>
                  <a:pt x="328774" y="94089"/>
                </a:cubicBezTo>
                <a:cubicBezTo>
                  <a:pt x="331961" y="91289"/>
                  <a:pt x="334351" y="86747"/>
                  <a:pt x="335945" y="80462"/>
                </a:cubicBezTo>
                <a:cubicBezTo>
                  <a:pt x="337638" y="74114"/>
                  <a:pt x="338485" y="65589"/>
                  <a:pt x="338485" y="54948"/>
                </a:cubicBezTo>
                <a:cubicBezTo>
                  <a:pt x="338485" y="44307"/>
                  <a:pt x="337688" y="35844"/>
                  <a:pt x="336095" y="29559"/>
                </a:cubicBezTo>
                <a:cubicBezTo>
                  <a:pt x="334501" y="23150"/>
                  <a:pt x="332111" y="18669"/>
                  <a:pt x="328923" y="15931"/>
                </a:cubicBezTo>
                <a:cubicBezTo>
                  <a:pt x="325836" y="13192"/>
                  <a:pt x="322051" y="11761"/>
                  <a:pt x="317569" y="11761"/>
                </a:cubicBezTo>
                <a:cubicBezTo>
                  <a:pt x="313087" y="11761"/>
                  <a:pt x="309253" y="13192"/>
                  <a:pt x="306065" y="15931"/>
                </a:cubicBezTo>
                <a:cubicBezTo>
                  <a:pt x="302879" y="18669"/>
                  <a:pt x="300438" y="23150"/>
                  <a:pt x="298745" y="29559"/>
                </a:cubicBezTo>
                <a:cubicBezTo>
                  <a:pt x="297052" y="35844"/>
                  <a:pt x="296205" y="44307"/>
                  <a:pt x="296205" y="54948"/>
                </a:cubicBezTo>
                <a:cubicBezTo>
                  <a:pt x="296205" y="65589"/>
                  <a:pt x="297002" y="74114"/>
                  <a:pt x="298595" y="80462"/>
                </a:cubicBezTo>
                <a:cubicBezTo>
                  <a:pt x="300289" y="86747"/>
                  <a:pt x="302729" y="91289"/>
                  <a:pt x="305916" y="94089"/>
                </a:cubicBezTo>
                <a:cubicBezTo>
                  <a:pt x="309103" y="96766"/>
                  <a:pt x="312938" y="98072"/>
                  <a:pt x="317420" y="98072"/>
                </a:cubicBezTo>
                <a:close/>
                <a:moveTo>
                  <a:pt x="399707" y="109896"/>
                </a:moveTo>
                <a:cubicBezTo>
                  <a:pt x="392934" y="109896"/>
                  <a:pt x="386858" y="107967"/>
                  <a:pt x="381480" y="104047"/>
                </a:cubicBezTo>
                <a:cubicBezTo>
                  <a:pt x="376102" y="100188"/>
                  <a:pt x="371869" y="94214"/>
                  <a:pt x="368781" y="86125"/>
                </a:cubicBezTo>
                <a:cubicBezTo>
                  <a:pt x="365794" y="77972"/>
                  <a:pt x="364299" y="67518"/>
                  <a:pt x="364299" y="54761"/>
                </a:cubicBezTo>
                <a:cubicBezTo>
                  <a:pt x="364299" y="41942"/>
                  <a:pt x="365794" y="31488"/>
                  <a:pt x="368781" y="23398"/>
                </a:cubicBezTo>
                <a:cubicBezTo>
                  <a:pt x="371869" y="15371"/>
                  <a:pt x="376102" y="9459"/>
                  <a:pt x="381480" y="5663"/>
                </a:cubicBezTo>
                <a:cubicBezTo>
                  <a:pt x="386858" y="1867"/>
                  <a:pt x="392934" y="0"/>
                  <a:pt x="399707" y="0"/>
                </a:cubicBezTo>
                <a:cubicBezTo>
                  <a:pt x="406479" y="0"/>
                  <a:pt x="412505" y="1867"/>
                  <a:pt x="417784" y="5663"/>
                </a:cubicBezTo>
                <a:cubicBezTo>
                  <a:pt x="423062" y="9459"/>
                  <a:pt x="427196" y="15371"/>
                  <a:pt x="430184" y="23398"/>
                </a:cubicBezTo>
                <a:cubicBezTo>
                  <a:pt x="433172" y="31363"/>
                  <a:pt x="434666" y="41756"/>
                  <a:pt x="434666" y="54512"/>
                </a:cubicBezTo>
                <a:cubicBezTo>
                  <a:pt x="434666" y="67145"/>
                  <a:pt x="433172" y="77599"/>
                  <a:pt x="430184" y="85876"/>
                </a:cubicBezTo>
                <a:cubicBezTo>
                  <a:pt x="427196" y="94027"/>
                  <a:pt x="423062" y="100064"/>
                  <a:pt x="417784" y="104047"/>
                </a:cubicBezTo>
                <a:cubicBezTo>
                  <a:pt x="412505" y="107967"/>
                  <a:pt x="406479" y="109896"/>
                  <a:pt x="399707" y="109896"/>
                </a:cubicBezTo>
                <a:close/>
                <a:moveTo>
                  <a:pt x="399557" y="98072"/>
                </a:moveTo>
                <a:cubicBezTo>
                  <a:pt x="404039" y="98072"/>
                  <a:pt x="407824" y="96766"/>
                  <a:pt x="410911" y="94089"/>
                </a:cubicBezTo>
                <a:cubicBezTo>
                  <a:pt x="414098" y="91289"/>
                  <a:pt x="416489" y="86747"/>
                  <a:pt x="418082" y="80462"/>
                </a:cubicBezTo>
                <a:cubicBezTo>
                  <a:pt x="419776" y="74114"/>
                  <a:pt x="420622" y="65589"/>
                  <a:pt x="420622" y="54948"/>
                </a:cubicBezTo>
                <a:cubicBezTo>
                  <a:pt x="420622" y="44307"/>
                  <a:pt x="419826" y="35844"/>
                  <a:pt x="418232" y="29559"/>
                </a:cubicBezTo>
                <a:cubicBezTo>
                  <a:pt x="416638" y="23150"/>
                  <a:pt x="414248" y="18669"/>
                  <a:pt x="411061" y="15931"/>
                </a:cubicBezTo>
                <a:cubicBezTo>
                  <a:pt x="407973" y="13192"/>
                  <a:pt x="404188" y="11761"/>
                  <a:pt x="399707" y="11761"/>
                </a:cubicBezTo>
                <a:cubicBezTo>
                  <a:pt x="395225" y="11761"/>
                  <a:pt x="391390" y="13192"/>
                  <a:pt x="388203" y="15931"/>
                </a:cubicBezTo>
                <a:cubicBezTo>
                  <a:pt x="385016" y="18669"/>
                  <a:pt x="382576" y="23150"/>
                  <a:pt x="380882" y="29559"/>
                </a:cubicBezTo>
                <a:cubicBezTo>
                  <a:pt x="379189" y="35844"/>
                  <a:pt x="378343" y="44307"/>
                  <a:pt x="378343" y="54948"/>
                </a:cubicBezTo>
                <a:cubicBezTo>
                  <a:pt x="378343" y="65589"/>
                  <a:pt x="379140" y="74114"/>
                  <a:pt x="380733" y="80462"/>
                </a:cubicBezTo>
                <a:cubicBezTo>
                  <a:pt x="382426" y="86747"/>
                  <a:pt x="384866" y="91289"/>
                  <a:pt x="388054" y="94089"/>
                </a:cubicBezTo>
                <a:cubicBezTo>
                  <a:pt x="391241" y="96766"/>
                  <a:pt x="395075" y="98072"/>
                  <a:pt x="399557" y="98072"/>
                </a:cubicBezTo>
                <a:close/>
                <a:moveTo>
                  <a:pt x="476920" y="109896"/>
                </a:moveTo>
                <a:cubicBezTo>
                  <a:pt x="464969" y="109896"/>
                  <a:pt x="455457" y="107344"/>
                  <a:pt x="448385" y="102304"/>
                </a:cubicBezTo>
                <a:lnTo>
                  <a:pt x="448385" y="87618"/>
                </a:lnTo>
                <a:cubicBezTo>
                  <a:pt x="452569" y="91040"/>
                  <a:pt x="456951" y="93592"/>
                  <a:pt x="461532" y="95272"/>
                </a:cubicBezTo>
                <a:cubicBezTo>
                  <a:pt x="466114" y="96828"/>
                  <a:pt x="471243" y="97637"/>
                  <a:pt x="476920" y="97637"/>
                </a:cubicBezTo>
                <a:cubicBezTo>
                  <a:pt x="484290" y="97637"/>
                  <a:pt x="489968" y="95397"/>
                  <a:pt x="493951" y="90916"/>
                </a:cubicBezTo>
                <a:cubicBezTo>
                  <a:pt x="498035" y="86435"/>
                  <a:pt x="500077" y="80586"/>
                  <a:pt x="500077" y="73305"/>
                </a:cubicBezTo>
                <a:cubicBezTo>
                  <a:pt x="500077" y="65527"/>
                  <a:pt x="498085" y="59864"/>
                  <a:pt x="494101" y="56255"/>
                </a:cubicBezTo>
                <a:cubicBezTo>
                  <a:pt x="490117" y="52708"/>
                  <a:pt x="485087" y="50903"/>
                  <a:pt x="479012" y="50903"/>
                </a:cubicBezTo>
                <a:cubicBezTo>
                  <a:pt x="474629" y="50903"/>
                  <a:pt x="471094" y="51650"/>
                  <a:pt x="468404" y="53143"/>
                </a:cubicBezTo>
                <a:cubicBezTo>
                  <a:pt x="465716" y="54512"/>
                  <a:pt x="463674" y="56006"/>
                  <a:pt x="462279" y="57624"/>
                </a:cubicBezTo>
                <a:lnTo>
                  <a:pt x="451373" y="57624"/>
                </a:lnTo>
                <a:lnTo>
                  <a:pt x="451373" y="1307"/>
                </a:lnTo>
                <a:lnTo>
                  <a:pt x="509340" y="1307"/>
                </a:lnTo>
                <a:lnTo>
                  <a:pt x="509340" y="14188"/>
                </a:lnTo>
                <a:lnTo>
                  <a:pt x="463624" y="14188"/>
                </a:lnTo>
                <a:lnTo>
                  <a:pt x="463624" y="44805"/>
                </a:lnTo>
                <a:cubicBezTo>
                  <a:pt x="465616" y="43312"/>
                  <a:pt x="468056" y="42004"/>
                  <a:pt x="470944" y="40885"/>
                </a:cubicBezTo>
                <a:cubicBezTo>
                  <a:pt x="473833" y="39702"/>
                  <a:pt x="477269" y="39080"/>
                  <a:pt x="481253" y="39080"/>
                </a:cubicBezTo>
                <a:cubicBezTo>
                  <a:pt x="487428" y="39080"/>
                  <a:pt x="493005" y="40386"/>
                  <a:pt x="497985" y="43000"/>
                </a:cubicBezTo>
                <a:cubicBezTo>
                  <a:pt x="502965" y="45489"/>
                  <a:pt x="506899" y="49285"/>
                  <a:pt x="509788" y="54326"/>
                </a:cubicBezTo>
                <a:cubicBezTo>
                  <a:pt x="512776" y="59304"/>
                  <a:pt x="514270" y="65527"/>
                  <a:pt x="514270" y="72995"/>
                </a:cubicBezTo>
                <a:cubicBezTo>
                  <a:pt x="514270" y="80399"/>
                  <a:pt x="512726" y="86871"/>
                  <a:pt x="509638" y="92410"/>
                </a:cubicBezTo>
                <a:cubicBezTo>
                  <a:pt x="506650" y="98010"/>
                  <a:pt x="502368" y="102304"/>
                  <a:pt x="496790" y="105415"/>
                </a:cubicBezTo>
                <a:cubicBezTo>
                  <a:pt x="491212" y="108402"/>
                  <a:pt x="484589" y="109896"/>
                  <a:pt x="476920" y="109896"/>
                </a:cubicBezTo>
                <a:close/>
                <a:moveTo>
                  <a:pt x="559058" y="109896"/>
                </a:moveTo>
                <a:cubicBezTo>
                  <a:pt x="547106" y="109896"/>
                  <a:pt x="537594" y="107344"/>
                  <a:pt x="530523" y="102304"/>
                </a:cubicBezTo>
                <a:lnTo>
                  <a:pt x="530523" y="87618"/>
                </a:lnTo>
                <a:cubicBezTo>
                  <a:pt x="534706" y="91040"/>
                  <a:pt x="539088" y="93592"/>
                  <a:pt x="543670" y="95272"/>
                </a:cubicBezTo>
                <a:cubicBezTo>
                  <a:pt x="548251" y="96828"/>
                  <a:pt x="553380" y="97637"/>
                  <a:pt x="559058" y="97637"/>
                </a:cubicBezTo>
                <a:cubicBezTo>
                  <a:pt x="566428" y="97637"/>
                  <a:pt x="572105" y="95397"/>
                  <a:pt x="576089" y="90916"/>
                </a:cubicBezTo>
                <a:cubicBezTo>
                  <a:pt x="580172" y="86435"/>
                  <a:pt x="582214" y="80586"/>
                  <a:pt x="582214" y="73305"/>
                </a:cubicBezTo>
                <a:cubicBezTo>
                  <a:pt x="582214" y="65527"/>
                  <a:pt x="580222" y="59864"/>
                  <a:pt x="576239" y="56255"/>
                </a:cubicBezTo>
                <a:cubicBezTo>
                  <a:pt x="572255" y="52708"/>
                  <a:pt x="567225" y="50903"/>
                  <a:pt x="561149" y="50903"/>
                </a:cubicBezTo>
                <a:cubicBezTo>
                  <a:pt x="556767" y="50903"/>
                  <a:pt x="553231" y="51650"/>
                  <a:pt x="550542" y="53143"/>
                </a:cubicBezTo>
                <a:cubicBezTo>
                  <a:pt x="547853" y="54512"/>
                  <a:pt x="545811" y="56006"/>
                  <a:pt x="544417" y="57624"/>
                </a:cubicBezTo>
                <a:lnTo>
                  <a:pt x="533511" y="57624"/>
                </a:lnTo>
                <a:lnTo>
                  <a:pt x="533511" y="1307"/>
                </a:lnTo>
                <a:lnTo>
                  <a:pt x="591477" y="1307"/>
                </a:lnTo>
                <a:lnTo>
                  <a:pt x="591477" y="14188"/>
                </a:lnTo>
                <a:lnTo>
                  <a:pt x="545761" y="14188"/>
                </a:lnTo>
                <a:lnTo>
                  <a:pt x="545761" y="44805"/>
                </a:lnTo>
                <a:cubicBezTo>
                  <a:pt x="547753" y="43312"/>
                  <a:pt x="550193" y="42004"/>
                  <a:pt x="553082" y="40885"/>
                </a:cubicBezTo>
                <a:cubicBezTo>
                  <a:pt x="555970" y="39702"/>
                  <a:pt x="559406" y="39080"/>
                  <a:pt x="563390" y="39080"/>
                </a:cubicBezTo>
                <a:cubicBezTo>
                  <a:pt x="569565" y="39080"/>
                  <a:pt x="575143" y="40386"/>
                  <a:pt x="580123" y="43000"/>
                </a:cubicBezTo>
                <a:cubicBezTo>
                  <a:pt x="585103" y="45489"/>
                  <a:pt x="589037" y="49285"/>
                  <a:pt x="591925" y="54326"/>
                </a:cubicBezTo>
                <a:cubicBezTo>
                  <a:pt x="594913" y="59304"/>
                  <a:pt x="596407" y="65527"/>
                  <a:pt x="596407" y="72995"/>
                </a:cubicBezTo>
                <a:cubicBezTo>
                  <a:pt x="596407" y="80399"/>
                  <a:pt x="594863" y="86871"/>
                  <a:pt x="591776" y="92410"/>
                </a:cubicBezTo>
                <a:cubicBezTo>
                  <a:pt x="588788" y="98010"/>
                  <a:pt x="584505" y="102304"/>
                  <a:pt x="578927" y="105415"/>
                </a:cubicBezTo>
                <a:cubicBezTo>
                  <a:pt x="573350" y="108402"/>
                  <a:pt x="566727" y="109896"/>
                  <a:pt x="559058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1" name="Полилиния 1010">
            <a:extLst>
              <a:ext uri="{FF2B5EF4-FFF2-40B4-BE49-F238E27FC236}">
                <a16:creationId xmlns:a16="http://schemas.microsoft.com/office/drawing/2014/main" id="{612866B3-5B09-0B54-04DC-6F3F9465E0E7}"/>
              </a:ext>
            </a:extLst>
          </p:cNvPr>
          <p:cNvSpPr/>
          <p:nvPr userDrawn="1"/>
        </p:nvSpPr>
        <p:spPr>
          <a:xfrm>
            <a:off x="18445574" y="7418752"/>
            <a:ext cx="1398954" cy="726227"/>
          </a:xfrm>
          <a:custGeom>
            <a:avLst/>
            <a:gdLst>
              <a:gd name="connsiteX0" fmla="*/ 850 w 1198727"/>
              <a:gd name="connsiteY0" fmla="*/ 1522 h 622284"/>
              <a:gd name="connsiteX1" fmla="*/ 1199578 w 1198727"/>
              <a:gd name="connsiteY1" fmla="*/ 1522 h 622284"/>
              <a:gd name="connsiteX2" fmla="*/ 1199578 w 1198727"/>
              <a:gd name="connsiteY2" fmla="*/ 623806 h 622284"/>
              <a:gd name="connsiteX3" fmla="*/ 85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522"/>
                </a:moveTo>
                <a:lnTo>
                  <a:pt x="1199578" y="1522"/>
                </a:lnTo>
                <a:lnTo>
                  <a:pt x="1199578" y="623806"/>
                </a:lnTo>
                <a:lnTo>
                  <a:pt x="850" y="623806"/>
                </a:lnTo>
                <a:close/>
              </a:path>
            </a:pathLst>
          </a:custGeom>
          <a:solidFill>
            <a:srgbClr val="FF326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2" name="Полилиния 1011">
            <a:extLst>
              <a:ext uri="{FF2B5EF4-FFF2-40B4-BE49-F238E27FC236}">
                <a16:creationId xmlns:a16="http://schemas.microsoft.com/office/drawing/2014/main" id="{E5107B32-FB8B-D03A-9BBE-7613E0984AAC}"/>
              </a:ext>
            </a:extLst>
          </p:cNvPr>
          <p:cNvSpPr/>
          <p:nvPr userDrawn="1"/>
        </p:nvSpPr>
        <p:spPr>
          <a:xfrm>
            <a:off x="18568782" y="7720500"/>
            <a:ext cx="689887" cy="128468"/>
          </a:xfrm>
          <a:custGeom>
            <a:avLst/>
            <a:gdLst>
              <a:gd name="connsiteX0" fmla="*/ 22111 w 591146"/>
              <a:gd name="connsiteY0" fmla="*/ 108588 h 110081"/>
              <a:gd name="connsiteX1" fmla="*/ 10159 w 591146"/>
              <a:gd name="connsiteY1" fmla="*/ 108588 h 110081"/>
              <a:gd name="connsiteX2" fmla="*/ 16433 w 591146"/>
              <a:gd name="connsiteY2" fmla="*/ 77661 h 110081"/>
              <a:gd name="connsiteX3" fmla="*/ 0 w 591146"/>
              <a:gd name="connsiteY3" fmla="*/ 77661 h 110081"/>
              <a:gd name="connsiteX4" fmla="*/ 0 w 591146"/>
              <a:gd name="connsiteY4" fmla="*/ 67206 h 110081"/>
              <a:gd name="connsiteX5" fmla="*/ 18675 w 591146"/>
              <a:gd name="connsiteY5" fmla="*/ 67206 h 110081"/>
              <a:gd name="connsiteX6" fmla="*/ 24202 w 591146"/>
              <a:gd name="connsiteY6" fmla="*/ 40012 h 110081"/>
              <a:gd name="connsiteX7" fmla="*/ 4033 w 591146"/>
              <a:gd name="connsiteY7" fmla="*/ 40012 h 110081"/>
              <a:gd name="connsiteX8" fmla="*/ 4033 w 591146"/>
              <a:gd name="connsiteY8" fmla="*/ 29559 h 110081"/>
              <a:gd name="connsiteX9" fmla="*/ 26294 w 591146"/>
              <a:gd name="connsiteY9" fmla="*/ 29559 h 110081"/>
              <a:gd name="connsiteX10" fmla="*/ 32120 w 591146"/>
              <a:gd name="connsiteY10" fmla="*/ 1493 h 110081"/>
              <a:gd name="connsiteX11" fmla="*/ 44072 w 591146"/>
              <a:gd name="connsiteY11" fmla="*/ 1493 h 110081"/>
              <a:gd name="connsiteX12" fmla="*/ 38246 w 591146"/>
              <a:gd name="connsiteY12" fmla="*/ 29559 h 110081"/>
              <a:gd name="connsiteX13" fmla="*/ 60655 w 591146"/>
              <a:gd name="connsiteY13" fmla="*/ 29559 h 110081"/>
              <a:gd name="connsiteX14" fmla="*/ 66482 w 591146"/>
              <a:gd name="connsiteY14" fmla="*/ 1493 h 110081"/>
              <a:gd name="connsiteX15" fmla="*/ 78434 w 591146"/>
              <a:gd name="connsiteY15" fmla="*/ 1493 h 110081"/>
              <a:gd name="connsiteX16" fmla="*/ 72607 w 591146"/>
              <a:gd name="connsiteY16" fmla="*/ 29559 h 110081"/>
              <a:gd name="connsiteX17" fmla="*/ 89340 w 591146"/>
              <a:gd name="connsiteY17" fmla="*/ 29559 h 110081"/>
              <a:gd name="connsiteX18" fmla="*/ 89340 w 591146"/>
              <a:gd name="connsiteY18" fmla="*/ 40012 h 110081"/>
              <a:gd name="connsiteX19" fmla="*/ 70516 w 591146"/>
              <a:gd name="connsiteY19" fmla="*/ 40012 h 110081"/>
              <a:gd name="connsiteX20" fmla="*/ 64988 w 591146"/>
              <a:gd name="connsiteY20" fmla="*/ 67206 h 110081"/>
              <a:gd name="connsiteX21" fmla="*/ 85306 w 591146"/>
              <a:gd name="connsiteY21" fmla="*/ 67206 h 110081"/>
              <a:gd name="connsiteX22" fmla="*/ 85306 w 591146"/>
              <a:gd name="connsiteY22" fmla="*/ 77661 h 110081"/>
              <a:gd name="connsiteX23" fmla="*/ 62747 w 591146"/>
              <a:gd name="connsiteY23" fmla="*/ 77661 h 110081"/>
              <a:gd name="connsiteX24" fmla="*/ 56472 w 591146"/>
              <a:gd name="connsiteY24" fmla="*/ 108588 h 110081"/>
              <a:gd name="connsiteX25" fmla="*/ 44520 w 591146"/>
              <a:gd name="connsiteY25" fmla="*/ 108588 h 110081"/>
              <a:gd name="connsiteX26" fmla="*/ 50795 w 591146"/>
              <a:gd name="connsiteY26" fmla="*/ 77661 h 110081"/>
              <a:gd name="connsiteX27" fmla="*/ 28386 w 591146"/>
              <a:gd name="connsiteY27" fmla="*/ 77661 h 110081"/>
              <a:gd name="connsiteX28" fmla="*/ 22111 w 591146"/>
              <a:gd name="connsiteY28" fmla="*/ 108588 h 110081"/>
              <a:gd name="connsiteX29" fmla="*/ 30626 w 591146"/>
              <a:gd name="connsiteY29" fmla="*/ 67206 h 110081"/>
              <a:gd name="connsiteX30" fmla="*/ 53036 w 591146"/>
              <a:gd name="connsiteY30" fmla="*/ 67206 h 110081"/>
              <a:gd name="connsiteX31" fmla="*/ 58564 w 591146"/>
              <a:gd name="connsiteY31" fmla="*/ 40012 h 110081"/>
              <a:gd name="connsiteX32" fmla="*/ 36154 w 591146"/>
              <a:gd name="connsiteY32" fmla="*/ 40012 h 110081"/>
              <a:gd name="connsiteX33" fmla="*/ 30626 w 591146"/>
              <a:gd name="connsiteY33" fmla="*/ 67206 h 110081"/>
              <a:gd name="connsiteX34" fmla="*/ 107827 w 591146"/>
              <a:gd name="connsiteY34" fmla="*/ 1493 h 110081"/>
              <a:gd name="connsiteX35" fmla="*/ 173264 w 591146"/>
              <a:gd name="connsiteY35" fmla="*/ 1493 h 110081"/>
              <a:gd name="connsiteX36" fmla="*/ 173264 w 591146"/>
              <a:gd name="connsiteY36" fmla="*/ 14374 h 110081"/>
              <a:gd name="connsiteX37" fmla="*/ 121871 w 591146"/>
              <a:gd name="connsiteY37" fmla="*/ 14374 h 110081"/>
              <a:gd name="connsiteX38" fmla="*/ 121871 w 591146"/>
              <a:gd name="connsiteY38" fmla="*/ 49907 h 110081"/>
              <a:gd name="connsiteX39" fmla="*/ 165495 w 591146"/>
              <a:gd name="connsiteY39" fmla="*/ 49907 h 110081"/>
              <a:gd name="connsiteX40" fmla="*/ 165495 w 591146"/>
              <a:gd name="connsiteY40" fmla="*/ 62601 h 110081"/>
              <a:gd name="connsiteX41" fmla="*/ 121871 w 591146"/>
              <a:gd name="connsiteY41" fmla="*/ 62601 h 110081"/>
              <a:gd name="connsiteX42" fmla="*/ 121871 w 591146"/>
              <a:gd name="connsiteY42" fmla="*/ 108588 h 110081"/>
              <a:gd name="connsiteX43" fmla="*/ 107827 w 591146"/>
              <a:gd name="connsiteY43" fmla="*/ 108588 h 110081"/>
              <a:gd name="connsiteX44" fmla="*/ 107827 w 591146"/>
              <a:gd name="connsiteY44" fmla="*/ 1493 h 110081"/>
              <a:gd name="connsiteX45" fmla="*/ 192735 w 591146"/>
              <a:gd name="connsiteY45" fmla="*/ 1493 h 110081"/>
              <a:gd name="connsiteX46" fmla="*/ 258171 w 591146"/>
              <a:gd name="connsiteY46" fmla="*/ 1493 h 110081"/>
              <a:gd name="connsiteX47" fmla="*/ 258171 w 591146"/>
              <a:gd name="connsiteY47" fmla="*/ 14374 h 110081"/>
              <a:gd name="connsiteX48" fmla="*/ 206778 w 591146"/>
              <a:gd name="connsiteY48" fmla="*/ 14374 h 110081"/>
              <a:gd name="connsiteX49" fmla="*/ 206778 w 591146"/>
              <a:gd name="connsiteY49" fmla="*/ 49907 h 110081"/>
              <a:gd name="connsiteX50" fmla="*/ 250402 w 591146"/>
              <a:gd name="connsiteY50" fmla="*/ 49907 h 110081"/>
              <a:gd name="connsiteX51" fmla="*/ 250402 w 591146"/>
              <a:gd name="connsiteY51" fmla="*/ 62601 h 110081"/>
              <a:gd name="connsiteX52" fmla="*/ 206778 w 591146"/>
              <a:gd name="connsiteY52" fmla="*/ 62601 h 110081"/>
              <a:gd name="connsiteX53" fmla="*/ 206778 w 591146"/>
              <a:gd name="connsiteY53" fmla="*/ 108588 h 110081"/>
              <a:gd name="connsiteX54" fmla="*/ 192735 w 591146"/>
              <a:gd name="connsiteY54" fmla="*/ 108588 h 110081"/>
              <a:gd name="connsiteX55" fmla="*/ 192735 w 591146"/>
              <a:gd name="connsiteY55" fmla="*/ 1493 h 110081"/>
              <a:gd name="connsiteX56" fmla="*/ 289899 w 591146"/>
              <a:gd name="connsiteY56" fmla="*/ 58992 h 110081"/>
              <a:gd name="connsiteX57" fmla="*/ 289899 w 591146"/>
              <a:gd name="connsiteY57" fmla="*/ 46298 h 110081"/>
              <a:gd name="connsiteX58" fmla="*/ 304242 w 591146"/>
              <a:gd name="connsiteY58" fmla="*/ 46298 h 110081"/>
              <a:gd name="connsiteX59" fmla="*/ 317837 w 591146"/>
              <a:gd name="connsiteY59" fmla="*/ 41817 h 110081"/>
              <a:gd name="connsiteX60" fmla="*/ 323215 w 591146"/>
              <a:gd name="connsiteY60" fmla="*/ 28812 h 110081"/>
              <a:gd name="connsiteX61" fmla="*/ 318285 w 591146"/>
              <a:gd name="connsiteY61" fmla="*/ 16864 h 110081"/>
              <a:gd name="connsiteX62" fmla="*/ 304092 w 591146"/>
              <a:gd name="connsiteY62" fmla="*/ 12383 h 110081"/>
              <a:gd name="connsiteX63" fmla="*/ 289451 w 591146"/>
              <a:gd name="connsiteY63" fmla="*/ 15246 h 110081"/>
              <a:gd name="connsiteX64" fmla="*/ 275408 w 591146"/>
              <a:gd name="connsiteY64" fmla="*/ 24331 h 110081"/>
              <a:gd name="connsiteX65" fmla="*/ 275408 w 591146"/>
              <a:gd name="connsiteY65" fmla="*/ 9707 h 110081"/>
              <a:gd name="connsiteX66" fmla="*/ 304242 w 591146"/>
              <a:gd name="connsiteY66" fmla="*/ 0 h 110081"/>
              <a:gd name="connsiteX67" fmla="*/ 328294 w 591146"/>
              <a:gd name="connsiteY67" fmla="*/ 7779 h 110081"/>
              <a:gd name="connsiteX68" fmla="*/ 337109 w 591146"/>
              <a:gd name="connsiteY68" fmla="*/ 28065 h 110081"/>
              <a:gd name="connsiteX69" fmla="*/ 331432 w 591146"/>
              <a:gd name="connsiteY69" fmla="*/ 44244 h 110081"/>
              <a:gd name="connsiteX70" fmla="*/ 318136 w 591146"/>
              <a:gd name="connsiteY70" fmla="*/ 52147 h 110081"/>
              <a:gd name="connsiteX71" fmla="*/ 329639 w 591146"/>
              <a:gd name="connsiteY71" fmla="*/ 56441 h 110081"/>
              <a:gd name="connsiteX72" fmla="*/ 338304 w 591146"/>
              <a:gd name="connsiteY72" fmla="*/ 65153 h 110081"/>
              <a:gd name="connsiteX73" fmla="*/ 341591 w 591146"/>
              <a:gd name="connsiteY73" fmla="*/ 77661 h 110081"/>
              <a:gd name="connsiteX74" fmla="*/ 336661 w 591146"/>
              <a:gd name="connsiteY74" fmla="*/ 94836 h 110081"/>
              <a:gd name="connsiteX75" fmla="*/ 323066 w 591146"/>
              <a:gd name="connsiteY75" fmla="*/ 106224 h 110081"/>
              <a:gd name="connsiteX76" fmla="*/ 303196 w 591146"/>
              <a:gd name="connsiteY76" fmla="*/ 110082 h 110081"/>
              <a:gd name="connsiteX77" fmla="*/ 272719 w 591146"/>
              <a:gd name="connsiteY77" fmla="*/ 100997 h 110081"/>
              <a:gd name="connsiteX78" fmla="*/ 272719 w 591146"/>
              <a:gd name="connsiteY78" fmla="*/ 86062 h 110081"/>
              <a:gd name="connsiteX79" fmla="*/ 286463 w 591146"/>
              <a:gd name="connsiteY79" fmla="*/ 94711 h 110081"/>
              <a:gd name="connsiteX80" fmla="*/ 303345 w 591146"/>
              <a:gd name="connsiteY80" fmla="*/ 97823 h 110081"/>
              <a:gd name="connsiteX81" fmla="*/ 320675 w 591146"/>
              <a:gd name="connsiteY81" fmla="*/ 92596 h 110081"/>
              <a:gd name="connsiteX82" fmla="*/ 327100 w 591146"/>
              <a:gd name="connsiteY82" fmla="*/ 77972 h 110081"/>
              <a:gd name="connsiteX83" fmla="*/ 321273 w 591146"/>
              <a:gd name="connsiteY83" fmla="*/ 64095 h 110081"/>
              <a:gd name="connsiteX84" fmla="*/ 303644 w 591146"/>
              <a:gd name="connsiteY84" fmla="*/ 58992 h 110081"/>
              <a:gd name="connsiteX85" fmla="*/ 289899 w 591146"/>
              <a:gd name="connsiteY85" fmla="*/ 58992 h 110081"/>
              <a:gd name="connsiteX86" fmla="*/ 422832 w 591146"/>
              <a:gd name="connsiteY86" fmla="*/ 108588 h 110081"/>
              <a:gd name="connsiteX87" fmla="*/ 354558 w 591146"/>
              <a:gd name="connsiteY87" fmla="*/ 108588 h 110081"/>
              <a:gd name="connsiteX88" fmla="*/ 354558 w 591146"/>
              <a:gd name="connsiteY88" fmla="*/ 94400 h 110081"/>
              <a:gd name="connsiteX89" fmla="*/ 380702 w 591146"/>
              <a:gd name="connsiteY89" fmla="*/ 72433 h 110081"/>
              <a:gd name="connsiteX90" fmla="*/ 396687 w 591146"/>
              <a:gd name="connsiteY90" fmla="*/ 56628 h 110081"/>
              <a:gd name="connsiteX91" fmla="*/ 404755 w 591146"/>
              <a:gd name="connsiteY91" fmla="*/ 43933 h 110081"/>
              <a:gd name="connsiteX92" fmla="*/ 407146 w 591146"/>
              <a:gd name="connsiteY92" fmla="*/ 32109 h 110081"/>
              <a:gd name="connsiteX93" fmla="*/ 401618 w 591146"/>
              <a:gd name="connsiteY93" fmla="*/ 17610 h 110081"/>
              <a:gd name="connsiteX94" fmla="*/ 386379 w 591146"/>
              <a:gd name="connsiteY94" fmla="*/ 12383 h 110081"/>
              <a:gd name="connsiteX95" fmla="*/ 357396 w 591146"/>
              <a:gd name="connsiteY95" fmla="*/ 27194 h 110081"/>
              <a:gd name="connsiteX96" fmla="*/ 357396 w 591146"/>
              <a:gd name="connsiteY96" fmla="*/ 12134 h 110081"/>
              <a:gd name="connsiteX97" fmla="*/ 386827 w 591146"/>
              <a:gd name="connsiteY97" fmla="*/ 0 h 110081"/>
              <a:gd name="connsiteX98" fmla="*/ 412225 w 591146"/>
              <a:gd name="connsiteY98" fmla="*/ 8401 h 110081"/>
              <a:gd name="connsiteX99" fmla="*/ 421637 w 591146"/>
              <a:gd name="connsiteY99" fmla="*/ 30803 h 110081"/>
              <a:gd name="connsiteX100" fmla="*/ 419247 w 591146"/>
              <a:gd name="connsiteY100" fmla="*/ 44804 h 110081"/>
              <a:gd name="connsiteX101" fmla="*/ 411179 w 591146"/>
              <a:gd name="connsiteY101" fmla="*/ 58681 h 110081"/>
              <a:gd name="connsiteX102" fmla="*/ 395492 w 591146"/>
              <a:gd name="connsiteY102" fmla="*/ 74860 h 110081"/>
              <a:gd name="connsiteX103" fmla="*/ 370095 w 591146"/>
              <a:gd name="connsiteY103" fmla="*/ 95769 h 110081"/>
              <a:gd name="connsiteX104" fmla="*/ 422832 w 591146"/>
              <a:gd name="connsiteY104" fmla="*/ 95769 h 110081"/>
              <a:gd name="connsiteX105" fmla="*/ 422832 w 591146"/>
              <a:gd name="connsiteY105" fmla="*/ 108588 h 110081"/>
              <a:gd name="connsiteX106" fmla="*/ 507366 w 591146"/>
              <a:gd name="connsiteY106" fmla="*/ 73491 h 110081"/>
              <a:gd name="connsiteX107" fmla="*/ 502585 w 591146"/>
              <a:gd name="connsiteY107" fmla="*/ 92782 h 110081"/>
              <a:gd name="connsiteX108" fmla="*/ 489887 w 591146"/>
              <a:gd name="connsiteY108" fmla="*/ 105601 h 110081"/>
              <a:gd name="connsiteX109" fmla="*/ 471810 w 591146"/>
              <a:gd name="connsiteY109" fmla="*/ 110082 h 110081"/>
              <a:gd name="connsiteX110" fmla="*/ 450147 w 591146"/>
              <a:gd name="connsiteY110" fmla="*/ 104108 h 110081"/>
              <a:gd name="connsiteX111" fmla="*/ 438046 w 591146"/>
              <a:gd name="connsiteY111" fmla="*/ 87555 h 110081"/>
              <a:gd name="connsiteX112" fmla="*/ 434305 w 591146"/>
              <a:gd name="connsiteY112" fmla="*/ 63161 h 110081"/>
              <a:gd name="connsiteX113" fmla="*/ 438793 w 591146"/>
              <a:gd name="connsiteY113" fmla="*/ 30181 h 110081"/>
              <a:gd name="connsiteX114" fmla="*/ 452836 w 591146"/>
              <a:gd name="connsiteY114" fmla="*/ 8089 h 110081"/>
              <a:gd name="connsiteX115" fmla="*/ 477337 w 591146"/>
              <a:gd name="connsiteY115" fmla="*/ 0 h 110081"/>
              <a:gd name="connsiteX116" fmla="*/ 499896 w 591146"/>
              <a:gd name="connsiteY116" fmla="*/ 5538 h 110081"/>
              <a:gd name="connsiteX117" fmla="*/ 499896 w 591146"/>
              <a:gd name="connsiteY117" fmla="*/ 18855 h 110081"/>
              <a:gd name="connsiteX118" fmla="*/ 477337 w 591146"/>
              <a:gd name="connsiteY118" fmla="*/ 12259 h 110081"/>
              <a:gd name="connsiteX119" fmla="*/ 461800 w 591146"/>
              <a:gd name="connsiteY119" fmla="*/ 17361 h 110081"/>
              <a:gd name="connsiteX120" fmla="*/ 451940 w 591146"/>
              <a:gd name="connsiteY120" fmla="*/ 31238 h 110081"/>
              <a:gd name="connsiteX121" fmla="*/ 447757 w 591146"/>
              <a:gd name="connsiteY121" fmla="*/ 50778 h 110081"/>
              <a:gd name="connsiteX122" fmla="*/ 459111 w 591146"/>
              <a:gd name="connsiteY122" fmla="*/ 40759 h 110081"/>
              <a:gd name="connsiteX123" fmla="*/ 473154 w 591146"/>
              <a:gd name="connsiteY123" fmla="*/ 37523 h 110081"/>
              <a:gd name="connsiteX124" fmla="*/ 490484 w 591146"/>
              <a:gd name="connsiteY124" fmla="*/ 41693 h 110081"/>
              <a:gd name="connsiteX125" fmla="*/ 502735 w 591146"/>
              <a:gd name="connsiteY125" fmla="*/ 53952 h 110081"/>
              <a:gd name="connsiteX126" fmla="*/ 507366 w 591146"/>
              <a:gd name="connsiteY126" fmla="*/ 73491 h 110081"/>
              <a:gd name="connsiteX127" fmla="*/ 471361 w 591146"/>
              <a:gd name="connsiteY127" fmla="*/ 98134 h 110081"/>
              <a:gd name="connsiteX128" fmla="*/ 482118 w 591146"/>
              <a:gd name="connsiteY128" fmla="*/ 95458 h 110081"/>
              <a:gd name="connsiteX129" fmla="*/ 490036 w 591146"/>
              <a:gd name="connsiteY129" fmla="*/ 87244 h 110081"/>
              <a:gd name="connsiteX130" fmla="*/ 493173 w 591146"/>
              <a:gd name="connsiteY130" fmla="*/ 73803 h 110081"/>
              <a:gd name="connsiteX131" fmla="*/ 490185 w 591146"/>
              <a:gd name="connsiteY131" fmla="*/ 60174 h 110081"/>
              <a:gd name="connsiteX132" fmla="*/ 482566 w 591146"/>
              <a:gd name="connsiteY132" fmla="*/ 51961 h 110081"/>
              <a:gd name="connsiteX133" fmla="*/ 472855 w 591146"/>
              <a:gd name="connsiteY133" fmla="*/ 49160 h 110081"/>
              <a:gd name="connsiteX134" fmla="*/ 456272 w 591146"/>
              <a:gd name="connsiteY134" fmla="*/ 55570 h 110081"/>
              <a:gd name="connsiteX135" fmla="*/ 449699 w 591146"/>
              <a:gd name="connsiteY135" fmla="*/ 74114 h 110081"/>
              <a:gd name="connsiteX136" fmla="*/ 455525 w 591146"/>
              <a:gd name="connsiteY136" fmla="*/ 91538 h 110081"/>
              <a:gd name="connsiteX137" fmla="*/ 471361 w 591146"/>
              <a:gd name="connsiteY137" fmla="*/ 98134 h 110081"/>
              <a:gd name="connsiteX138" fmla="*/ 524067 w 591146"/>
              <a:gd name="connsiteY138" fmla="*/ 1493 h 110081"/>
              <a:gd name="connsiteX139" fmla="*/ 590400 w 591146"/>
              <a:gd name="connsiteY139" fmla="*/ 1493 h 110081"/>
              <a:gd name="connsiteX140" fmla="*/ 590400 w 591146"/>
              <a:gd name="connsiteY140" fmla="*/ 14374 h 110081"/>
              <a:gd name="connsiteX141" fmla="*/ 538111 w 591146"/>
              <a:gd name="connsiteY141" fmla="*/ 14374 h 110081"/>
              <a:gd name="connsiteX142" fmla="*/ 538111 w 591146"/>
              <a:gd name="connsiteY142" fmla="*/ 46734 h 110081"/>
              <a:gd name="connsiteX143" fmla="*/ 582482 w 591146"/>
              <a:gd name="connsiteY143" fmla="*/ 46734 h 110081"/>
              <a:gd name="connsiteX144" fmla="*/ 582482 w 591146"/>
              <a:gd name="connsiteY144" fmla="*/ 59428 h 110081"/>
              <a:gd name="connsiteX145" fmla="*/ 538111 w 591146"/>
              <a:gd name="connsiteY145" fmla="*/ 59428 h 110081"/>
              <a:gd name="connsiteX146" fmla="*/ 538111 w 591146"/>
              <a:gd name="connsiteY146" fmla="*/ 95893 h 110081"/>
              <a:gd name="connsiteX147" fmla="*/ 591147 w 591146"/>
              <a:gd name="connsiteY147" fmla="*/ 95893 h 110081"/>
              <a:gd name="connsiteX148" fmla="*/ 591147 w 591146"/>
              <a:gd name="connsiteY148" fmla="*/ 108588 h 110081"/>
              <a:gd name="connsiteX149" fmla="*/ 524067 w 591146"/>
              <a:gd name="connsiteY149" fmla="*/ 108588 h 110081"/>
              <a:gd name="connsiteX150" fmla="*/ 524067 w 591146"/>
              <a:gd name="connsiteY150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59114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89899" y="58992"/>
                </a:moveTo>
                <a:lnTo>
                  <a:pt x="289899" y="46298"/>
                </a:lnTo>
                <a:lnTo>
                  <a:pt x="304242" y="46298"/>
                </a:lnTo>
                <a:cubicBezTo>
                  <a:pt x="309819" y="46298"/>
                  <a:pt x="314351" y="44804"/>
                  <a:pt x="317837" y="41817"/>
                </a:cubicBezTo>
                <a:cubicBezTo>
                  <a:pt x="321422" y="38768"/>
                  <a:pt x="323215" y="34412"/>
                  <a:pt x="323215" y="28812"/>
                </a:cubicBezTo>
                <a:cubicBezTo>
                  <a:pt x="323215" y="23771"/>
                  <a:pt x="321572" y="19788"/>
                  <a:pt x="318285" y="16864"/>
                </a:cubicBezTo>
                <a:cubicBezTo>
                  <a:pt x="314998" y="13877"/>
                  <a:pt x="310267" y="12383"/>
                  <a:pt x="304092" y="12383"/>
                </a:cubicBezTo>
                <a:cubicBezTo>
                  <a:pt x="298913" y="12383"/>
                  <a:pt x="294033" y="13379"/>
                  <a:pt x="289451" y="15246"/>
                </a:cubicBezTo>
                <a:cubicBezTo>
                  <a:pt x="284969" y="17113"/>
                  <a:pt x="280288" y="20162"/>
                  <a:pt x="275408" y="24331"/>
                </a:cubicBezTo>
                <a:lnTo>
                  <a:pt x="275408" y="9707"/>
                </a:lnTo>
                <a:cubicBezTo>
                  <a:pt x="283376" y="3235"/>
                  <a:pt x="292987" y="0"/>
                  <a:pt x="304242" y="0"/>
                </a:cubicBezTo>
                <a:cubicBezTo>
                  <a:pt x="314500" y="0"/>
                  <a:pt x="322518" y="2613"/>
                  <a:pt x="328294" y="7779"/>
                </a:cubicBezTo>
                <a:cubicBezTo>
                  <a:pt x="334171" y="12943"/>
                  <a:pt x="337109" y="19726"/>
                  <a:pt x="337109" y="28065"/>
                </a:cubicBezTo>
                <a:cubicBezTo>
                  <a:pt x="337109" y="34848"/>
                  <a:pt x="335217" y="40262"/>
                  <a:pt x="331432" y="44244"/>
                </a:cubicBezTo>
                <a:cubicBezTo>
                  <a:pt x="327747" y="48227"/>
                  <a:pt x="323315" y="50840"/>
                  <a:pt x="318136" y="52147"/>
                </a:cubicBezTo>
                <a:cubicBezTo>
                  <a:pt x="322319" y="52707"/>
                  <a:pt x="326153" y="54201"/>
                  <a:pt x="329639" y="56441"/>
                </a:cubicBezTo>
                <a:cubicBezTo>
                  <a:pt x="333225" y="58681"/>
                  <a:pt x="336113" y="61543"/>
                  <a:pt x="338304" y="65153"/>
                </a:cubicBezTo>
                <a:cubicBezTo>
                  <a:pt x="340495" y="68700"/>
                  <a:pt x="341591" y="72869"/>
                  <a:pt x="341591" y="77661"/>
                </a:cubicBezTo>
                <a:cubicBezTo>
                  <a:pt x="341591" y="84257"/>
                  <a:pt x="339948" y="89982"/>
                  <a:pt x="336661" y="94836"/>
                </a:cubicBezTo>
                <a:cubicBezTo>
                  <a:pt x="333374" y="99752"/>
                  <a:pt x="328842" y="103486"/>
                  <a:pt x="323066" y="106224"/>
                </a:cubicBezTo>
                <a:cubicBezTo>
                  <a:pt x="317389" y="108775"/>
                  <a:pt x="310765" y="110082"/>
                  <a:pt x="303196" y="110082"/>
                </a:cubicBezTo>
                <a:cubicBezTo>
                  <a:pt x="290049" y="110082"/>
                  <a:pt x="279890" y="107033"/>
                  <a:pt x="272719" y="100997"/>
                </a:cubicBezTo>
                <a:lnTo>
                  <a:pt x="272719" y="86062"/>
                </a:lnTo>
                <a:cubicBezTo>
                  <a:pt x="276504" y="89733"/>
                  <a:pt x="281085" y="92596"/>
                  <a:pt x="286463" y="94711"/>
                </a:cubicBezTo>
                <a:cubicBezTo>
                  <a:pt x="291842" y="96765"/>
                  <a:pt x="297469" y="97823"/>
                  <a:pt x="303345" y="97823"/>
                </a:cubicBezTo>
                <a:cubicBezTo>
                  <a:pt x="310716" y="97823"/>
                  <a:pt x="316492" y="96080"/>
                  <a:pt x="320675" y="92596"/>
                </a:cubicBezTo>
                <a:cubicBezTo>
                  <a:pt x="324958" y="89048"/>
                  <a:pt x="327100" y="84132"/>
                  <a:pt x="327100" y="77972"/>
                </a:cubicBezTo>
                <a:cubicBezTo>
                  <a:pt x="327100" y="71998"/>
                  <a:pt x="325157" y="67393"/>
                  <a:pt x="321273" y="64095"/>
                </a:cubicBezTo>
                <a:cubicBezTo>
                  <a:pt x="317488" y="60673"/>
                  <a:pt x="311612" y="58992"/>
                  <a:pt x="303644" y="58992"/>
                </a:cubicBezTo>
                <a:lnTo>
                  <a:pt x="289899" y="58992"/>
                </a:lnTo>
                <a:close/>
                <a:moveTo>
                  <a:pt x="422832" y="108588"/>
                </a:moveTo>
                <a:lnTo>
                  <a:pt x="354558" y="108588"/>
                </a:lnTo>
                <a:lnTo>
                  <a:pt x="354558" y="94400"/>
                </a:lnTo>
                <a:cubicBezTo>
                  <a:pt x="365214" y="85812"/>
                  <a:pt x="373929" y="78532"/>
                  <a:pt x="380702" y="72433"/>
                </a:cubicBezTo>
                <a:cubicBezTo>
                  <a:pt x="387574" y="66397"/>
                  <a:pt x="392903" y="61108"/>
                  <a:pt x="396687" y="56628"/>
                </a:cubicBezTo>
                <a:cubicBezTo>
                  <a:pt x="400572" y="52023"/>
                  <a:pt x="403261" y="47791"/>
                  <a:pt x="404755" y="43933"/>
                </a:cubicBezTo>
                <a:cubicBezTo>
                  <a:pt x="406348" y="40012"/>
                  <a:pt x="407146" y="36092"/>
                  <a:pt x="407146" y="32109"/>
                </a:cubicBezTo>
                <a:cubicBezTo>
                  <a:pt x="407146" y="25949"/>
                  <a:pt x="405303" y="21095"/>
                  <a:pt x="401618" y="17610"/>
                </a:cubicBezTo>
                <a:cubicBezTo>
                  <a:pt x="397932" y="14125"/>
                  <a:pt x="392853" y="12383"/>
                  <a:pt x="386379" y="12383"/>
                </a:cubicBezTo>
                <a:cubicBezTo>
                  <a:pt x="376021" y="12383"/>
                  <a:pt x="366360" y="17361"/>
                  <a:pt x="357396" y="27194"/>
                </a:cubicBezTo>
                <a:lnTo>
                  <a:pt x="357396" y="12134"/>
                </a:lnTo>
                <a:cubicBezTo>
                  <a:pt x="365663" y="4044"/>
                  <a:pt x="375473" y="0"/>
                  <a:pt x="386827" y="0"/>
                </a:cubicBezTo>
                <a:cubicBezTo>
                  <a:pt x="397584" y="0"/>
                  <a:pt x="406050" y="2800"/>
                  <a:pt x="412225" y="8401"/>
                </a:cubicBezTo>
                <a:cubicBezTo>
                  <a:pt x="418500" y="13877"/>
                  <a:pt x="421637" y="21344"/>
                  <a:pt x="421637" y="30803"/>
                </a:cubicBezTo>
                <a:cubicBezTo>
                  <a:pt x="421637" y="35657"/>
                  <a:pt x="420840" y="40324"/>
                  <a:pt x="419247" y="44804"/>
                </a:cubicBezTo>
                <a:cubicBezTo>
                  <a:pt x="417753" y="49222"/>
                  <a:pt x="415063" y="53827"/>
                  <a:pt x="411179" y="58681"/>
                </a:cubicBezTo>
                <a:cubicBezTo>
                  <a:pt x="407394" y="63473"/>
                  <a:pt x="402165" y="68887"/>
                  <a:pt x="395492" y="74860"/>
                </a:cubicBezTo>
                <a:cubicBezTo>
                  <a:pt x="388819" y="80835"/>
                  <a:pt x="380353" y="87804"/>
                  <a:pt x="370095" y="95769"/>
                </a:cubicBezTo>
                <a:lnTo>
                  <a:pt x="422832" y="95769"/>
                </a:lnTo>
                <a:lnTo>
                  <a:pt x="422832" y="108588"/>
                </a:lnTo>
                <a:close/>
                <a:moveTo>
                  <a:pt x="507366" y="73491"/>
                </a:moveTo>
                <a:cubicBezTo>
                  <a:pt x="507366" y="80772"/>
                  <a:pt x="505773" y="87182"/>
                  <a:pt x="502585" y="92782"/>
                </a:cubicBezTo>
                <a:cubicBezTo>
                  <a:pt x="499498" y="98258"/>
                  <a:pt x="495265" y="102490"/>
                  <a:pt x="489887" y="105601"/>
                </a:cubicBezTo>
                <a:cubicBezTo>
                  <a:pt x="484508" y="108588"/>
                  <a:pt x="478483" y="110082"/>
                  <a:pt x="471810" y="110082"/>
                </a:cubicBezTo>
                <a:cubicBezTo>
                  <a:pt x="462846" y="110082"/>
                  <a:pt x="455625" y="108091"/>
                  <a:pt x="450147" y="104108"/>
                </a:cubicBezTo>
                <a:cubicBezTo>
                  <a:pt x="444669" y="100125"/>
                  <a:pt x="440635" y="94587"/>
                  <a:pt x="438046" y="87555"/>
                </a:cubicBezTo>
                <a:cubicBezTo>
                  <a:pt x="435556" y="80461"/>
                  <a:pt x="434305" y="72372"/>
                  <a:pt x="434305" y="63161"/>
                </a:cubicBezTo>
                <a:cubicBezTo>
                  <a:pt x="434305" y="50653"/>
                  <a:pt x="435805" y="39639"/>
                  <a:pt x="438793" y="30181"/>
                </a:cubicBezTo>
                <a:cubicBezTo>
                  <a:pt x="441880" y="20722"/>
                  <a:pt x="446561" y="13379"/>
                  <a:pt x="452836" y="8089"/>
                </a:cubicBezTo>
                <a:cubicBezTo>
                  <a:pt x="459210" y="2675"/>
                  <a:pt x="467377" y="0"/>
                  <a:pt x="477337" y="0"/>
                </a:cubicBezTo>
                <a:cubicBezTo>
                  <a:pt x="485903" y="0"/>
                  <a:pt x="493422" y="1866"/>
                  <a:pt x="499896" y="5538"/>
                </a:cubicBezTo>
                <a:lnTo>
                  <a:pt x="499896" y="18855"/>
                </a:lnTo>
                <a:cubicBezTo>
                  <a:pt x="493422" y="14437"/>
                  <a:pt x="485903" y="12259"/>
                  <a:pt x="477337" y="12259"/>
                </a:cubicBezTo>
                <a:cubicBezTo>
                  <a:pt x="471162" y="12259"/>
                  <a:pt x="465983" y="13939"/>
                  <a:pt x="461800" y="17361"/>
                </a:cubicBezTo>
                <a:cubicBezTo>
                  <a:pt x="457617" y="20722"/>
                  <a:pt x="454330" y="25327"/>
                  <a:pt x="451940" y="31238"/>
                </a:cubicBezTo>
                <a:cubicBezTo>
                  <a:pt x="449649" y="37026"/>
                  <a:pt x="448254" y="43498"/>
                  <a:pt x="447757" y="50778"/>
                </a:cubicBezTo>
                <a:cubicBezTo>
                  <a:pt x="451043" y="46298"/>
                  <a:pt x="454828" y="42999"/>
                  <a:pt x="459111" y="40759"/>
                </a:cubicBezTo>
                <a:cubicBezTo>
                  <a:pt x="463393" y="38581"/>
                  <a:pt x="468075" y="37523"/>
                  <a:pt x="473154" y="37523"/>
                </a:cubicBezTo>
                <a:cubicBezTo>
                  <a:pt x="479628" y="37523"/>
                  <a:pt x="485405" y="38893"/>
                  <a:pt x="490484" y="41693"/>
                </a:cubicBezTo>
                <a:cubicBezTo>
                  <a:pt x="495663" y="44493"/>
                  <a:pt x="499747" y="48538"/>
                  <a:pt x="502735" y="53952"/>
                </a:cubicBezTo>
                <a:cubicBezTo>
                  <a:pt x="505822" y="59179"/>
                  <a:pt x="507366" y="65713"/>
                  <a:pt x="507366" y="73491"/>
                </a:cubicBezTo>
                <a:close/>
                <a:moveTo>
                  <a:pt x="471361" y="98134"/>
                </a:moveTo>
                <a:cubicBezTo>
                  <a:pt x="475246" y="98134"/>
                  <a:pt x="478831" y="97263"/>
                  <a:pt x="482118" y="95458"/>
                </a:cubicBezTo>
                <a:cubicBezTo>
                  <a:pt x="485405" y="93529"/>
                  <a:pt x="488044" y="90791"/>
                  <a:pt x="490036" y="87244"/>
                </a:cubicBezTo>
                <a:cubicBezTo>
                  <a:pt x="492128" y="83635"/>
                  <a:pt x="493173" y="79154"/>
                  <a:pt x="493173" y="73803"/>
                </a:cubicBezTo>
                <a:cubicBezTo>
                  <a:pt x="493173" y="68389"/>
                  <a:pt x="492177" y="63908"/>
                  <a:pt x="490185" y="60174"/>
                </a:cubicBezTo>
                <a:cubicBezTo>
                  <a:pt x="488193" y="56503"/>
                  <a:pt x="485654" y="53765"/>
                  <a:pt x="482566" y="51961"/>
                </a:cubicBezTo>
                <a:cubicBezTo>
                  <a:pt x="479479" y="50093"/>
                  <a:pt x="476242" y="49160"/>
                  <a:pt x="472855" y="49160"/>
                </a:cubicBezTo>
                <a:cubicBezTo>
                  <a:pt x="466282" y="49160"/>
                  <a:pt x="460754" y="51276"/>
                  <a:pt x="456272" y="55570"/>
                </a:cubicBezTo>
                <a:cubicBezTo>
                  <a:pt x="451890" y="59739"/>
                  <a:pt x="449699" y="65900"/>
                  <a:pt x="449699" y="74114"/>
                </a:cubicBezTo>
                <a:cubicBezTo>
                  <a:pt x="449699" y="81270"/>
                  <a:pt x="451641" y="87058"/>
                  <a:pt x="455525" y="91538"/>
                </a:cubicBezTo>
                <a:cubicBezTo>
                  <a:pt x="459410" y="95956"/>
                  <a:pt x="464688" y="98134"/>
                  <a:pt x="471361" y="98134"/>
                </a:cubicBezTo>
                <a:close/>
                <a:moveTo>
                  <a:pt x="524067" y="1493"/>
                </a:moveTo>
                <a:lnTo>
                  <a:pt x="590400" y="1493"/>
                </a:lnTo>
                <a:lnTo>
                  <a:pt x="590400" y="14374"/>
                </a:lnTo>
                <a:lnTo>
                  <a:pt x="538111" y="14374"/>
                </a:lnTo>
                <a:lnTo>
                  <a:pt x="538111" y="46734"/>
                </a:lnTo>
                <a:lnTo>
                  <a:pt x="582482" y="46734"/>
                </a:lnTo>
                <a:lnTo>
                  <a:pt x="582482" y="59428"/>
                </a:lnTo>
                <a:lnTo>
                  <a:pt x="538111" y="59428"/>
                </a:lnTo>
                <a:lnTo>
                  <a:pt x="538111" y="95893"/>
                </a:lnTo>
                <a:lnTo>
                  <a:pt x="591147" y="95893"/>
                </a:lnTo>
                <a:lnTo>
                  <a:pt x="591147" y="108588"/>
                </a:lnTo>
                <a:lnTo>
                  <a:pt x="524067" y="108588"/>
                </a:lnTo>
                <a:lnTo>
                  <a:pt x="52406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3" name="Полилиния 1012">
            <a:extLst>
              <a:ext uri="{FF2B5EF4-FFF2-40B4-BE49-F238E27FC236}">
                <a16:creationId xmlns:a16="http://schemas.microsoft.com/office/drawing/2014/main" id="{57F0F071-FB7F-BD64-A74A-9046B544A6C8}"/>
              </a:ext>
            </a:extLst>
          </p:cNvPr>
          <p:cNvSpPr/>
          <p:nvPr userDrawn="1"/>
        </p:nvSpPr>
        <p:spPr>
          <a:xfrm>
            <a:off x="18445574" y="8144980"/>
            <a:ext cx="1398954" cy="726227"/>
          </a:xfrm>
          <a:custGeom>
            <a:avLst/>
            <a:gdLst>
              <a:gd name="connsiteX0" fmla="*/ 850 w 1198727"/>
              <a:gd name="connsiteY0" fmla="*/ 1622 h 622284"/>
              <a:gd name="connsiteX1" fmla="*/ 1199578 w 1198727"/>
              <a:gd name="connsiteY1" fmla="*/ 1622 h 622284"/>
              <a:gd name="connsiteX2" fmla="*/ 1199578 w 1198727"/>
              <a:gd name="connsiteY2" fmla="*/ 623906 h 622284"/>
              <a:gd name="connsiteX3" fmla="*/ 850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622"/>
                </a:moveTo>
                <a:lnTo>
                  <a:pt x="1199578" y="1622"/>
                </a:lnTo>
                <a:lnTo>
                  <a:pt x="1199578" y="623906"/>
                </a:lnTo>
                <a:lnTo>
                  <a:pt x="850" y="623906"/>
                </a:lnTo>
                <a:close/>
              </a:path>
            </a:pathLst>
          </a:custGeom>
          <a:solidFill>
            <a:srgbClr val="FF64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4" name="Полилиния 1013">
            <a:extLst>
              <a:ext uri="{FF2B5EF4-FFF2-40B4-BE49-F238E27FC236}">
                <a16:creationId xmlns:a16="http://schemas.microsoft.com/office/drawing/2014/main" id="{43FBCFAE-C9AE-0E6A-0E97-48A1116EFED3}"/>
              </a:ext>
            </a:extLst>
          </p:cNvPr>
          <p:cNvSpPr/>
          <p:nvPr userDrawn="1"/>
        </p:nvSpPr>
        <p:spPr>
          <a:xfrm>
            <a:off x="18568782" y="8446726"/>
            <a:ext cx="687970" cy="128468"/>
          </a:xfrm>
          <a:custGeom>
            <a:avLst/>
            <a:gdLst>
              <a:gd name="connsiteX0" fmla="*/ 22111 w 589503"/>
              <a:gd name="connsiteY0" fmla="*/ 108588 h 110081"/>
              <a:gd name="connsiteX1" fmla="*/ 10159 w 589503"/>
              <a:gd name="connsiteY1" fmla="*/ 108588 h 110081"/>
              <a:gd name="connsiteX2" fmla="*/ 16433 w 589503"/>
              <a:gd name="connsiteY2" fmla="*/ 77661 h 110081"/>
              <a:gd name="connsiteX3" fmla="*/ 0 w 589503"/>
              <a:gd name="connsiteY3" fmla="*/ 77661 h 110081"/>
              <a:gd name="connsiteX4" fmla="*/ 0 w 589503"/>
              <a:gd name="connsiteY4" fmla="*/ 67206 h 110081"/>
              <a:gd name="connsiteX5" fmla="*/ 18675 w 589503"/>
              <a:gd name="connsiteY5" fmla="*/ 67206 h 110081"/>
              <a:gd name="connsiteX6" fmla="*/ 24202 w 589503"/>
              <a:gd name="connsiteY6" fmla="*/ 40012 h 110081"/>
              <a:gd name="connsiteX7" fmla="*/ 4033 w 589503"/>
              <a:gd name="connsiteY7" fmla="*/ 40012 h 110081"/>
              <a:gd name="connsiteX8" fmla="*/ 4033 w 589503"/>
              <a:gd name="connsiteY8" fmla="*/ 29559 h 110081"/>
              <a:gd name="connsiteX9" fmla="*/ 26294 w 589503"/>
              <a:gd name="connsiteY9" fmla="*/ 29559 h 110081"/>
              <a:gd name="connsiteX10" fmla="*/ 32120 w 589503"/>
              <a:gd name="connsiteY10" fmla="*/ 1493 h 110081"/>
              <a:gd name="connsiteX11" fmla="*/ 44072 w 589503"/>
              <a:gd name="connsiteY11" fmla="*/ 1493 h 110081"/>
              <a:gd name="connsiteX12" fmla="*/ 38246 w 589503"/>
              <a:gd name="connsiteY12" fmla="*/ 29559 h 110081"/>
              <a:gd name="connsiteX13" fmla="*/ 60655 w 589503"/>
              <a:gd name="connsiteY13" fmla="*/ 29559 h 110081"/>
              <a:gd name="connsiteX14" fmla="*/ 66482 w 589503"/>
              <a:gd name="connsiteY14" fmla="*/ 1493 h 110081"/>
              <a:gd name="connsiteX15" fmla="*/ 78434 w 589503"/>
              <a:gd name="connsiteY15" fmla="*/ 1493 h 110081"/>
              <a:gd name="connsiteX16" fmla="*/ 72607 w 589503"/>
              <a:gd name="connsiteY16" fmla="*/ 29559 h 110081"/>
              <a:gd name="connsiteX17" fmla="*/ 89340 w 589503"/>
              <a:gd name="connsiteY17" fmla="*/ 29559 h 110081"/>
              <a:gd name="connsiteX18" fmla="*/ 89340 w 589503"/>
              <a:gd name="connsiteY18" fmla="*/ 40012 h 110081"/>
              <a:gd name="connsiteX19" fmla="*/ 70516 w 589503"/>
              <a:gd name="connsiteY19" fmla="*/ 40012 h 110081"/>
              <a:gd name="connsiteX20" fmla="*/ 64988 w 589503"/>
              <a:gd name="connsiteY20" fmla="*/ 67206 h 110081"/>
              <a:gd name="connsiteX21" fmla="*/ 85306 w 589503"/>
              <a:gd name="connsiteY21" fmla="*/ 67206 h 110081"/>
              <a:gd name="connsiteX22" fmla="*/ 85306 w 589503"/>
              <a:gd name="connsiteY22" fmla="*/ 77661 h 110081"/>
              <a:gd name="connsiteX23" fmla="*/ 62747 w 589503"/>
              <a:gd name="connsiteY23" fmla="*/ 77661 h 110081"/>
              <a:gd name="connsiteX24" fmla="*/ 56472 w 589503"/>
              <a:gd name="connsiteY24" fmla="*/ 108588 h 110081"/>
              <a:gd name="connsiteX25" fmla="*/ 44520 w 589503"/>
              <a:gd name="connsiteY25" fmla="*/ 108588 h 110081"/>
              <a:gd name="connsiteX26" fmla="*/ 50795 w 589503"/>
              <a:gd name="connsiteY26" fmla="*/ 77661 h 110081"/>
              <a:gd name="connsiteX27" fmla="*/ 28386 w 589503"/>
              <a:gd name="connsiteY27" fmla="*/ 77661 h 110081"/>
              <a:gd name="connsiteX28" fmla="*/ 22111 w 589503"/>
              <a:gd name="connsiteY28" fmla="*/ 108588 h 110081"/>
              <a:gd name="connsiteX29" fmla="*/ 30626 w 589503"/>
              <a:gd name="connsiteY29" fmla="*/ 67206 h 110081"/>
              <a:gd name="connsiteX30" fmla="*/ 53036 w 589503"/>
              <a:gd name="connsiteY30" fmla="*/ 67206 h 110081"/>
              <a:gd name="connsiteX31" fmla="*/ 58564 w 589503"/>
              <a:gd name="connsiteY31" fmla="*/ 40012 h 110081"/>
              <a:gd name="connsiteX32" fmla="*/ 36154 w 589503"/>
              <a:gd name="connsiteY32" fmla="*/ 40012 h 110081"/>
              <a:gd name="connsiteX33" fmla="*/ 30626 w 589503"/>
              <a:gd name="connsiteY33" fmla="*/ 67206 h 110081"/>
              <a:gd name="connsiteX34" fmla="*/ 107827 w 589503"/>
              <a:gd name="connsiteY34" fmla="*/ 1493 h 110081"/>
              <a:gd name="connsiteX35" fmla="*/ 173264 w 589503"/>
              <a:gd name="connsiteY35" fmla="*/ 1493 h 110081"/>
              <a:gd name="connsiteX36" fmla="*/ 173264 w 589503"/>
              <a:gd name="connsiteY36" fmla="*/ 14374 h 110081"/>
              <a:gd name="connsiteX37" fmla="*/ 121871 w 589503"/>
              <a:gd name="connsiteY37" fmla="*/ 14374 h 110081"/>
              <a:gd name="connsiteX38" fmla="*/ 121871 w 589503"/>
              <a:gd name="connsiteY38" fmla="*/ 49907 h 110081"/>
              <a:gd name="connsiteX39" fmla="*/ 165495 w 589503"/>
              <a:gd name="connsiteY39" fmla="*/ 49907 h 110081"/>
              <a:gd name="connsiteX40" fmla="*/ 165495 w 589503"/>
              <a:gd name="connsiteY40" fmla="*/ 62601 h 110081"/>
              <a:gd name="connsiteX41" fmla="*/ 121871 w 589503"/>
              <a:gd name="connsiteY41" fmla="*/ 62601 h 110081"/>
              <a:gd name="connsiteX42" fmla="*/ 121871 w 589503"/>
              <a:gd name="connsiteY42" fmla="*/ 108588 h 110081"/>
              <a:gd name="connsiteX43" fmla="*/ 107827 w 589503"/>
              <a:gd name="connsiteY43" fmla="*/ 108588 h 110081"/>
              <a:gd name="connsiteX44" fmla="*/ 107827 w 589503"/>
              <a:gd name="connsiteY44" fmla="*/ 1493 h 110081"/>
              <a:gd name="connsiteX45" fmla="*/ 192735 w 589503"/>
              <a:gd name="connsiteY45" fmla="*/ 1493 h 110081"/>
              <a:gd name="connsiteX46" fmla="*/ 258171 w 589503"/>
              <a:gd name="connsiteY46" fmla="*/ 1493 h 110081"/>
              <a:gd name="connsiteX47" fmla="*/ 258171 w 589503"/>
              <a:gd name="connsiteY47" fmla="*/ 14374 h 110081"/>
              <a:gd name="connsiteX48" fmla="*/ 206778 w 589503"/>
              <a:gd name="connsiteY48" fmla="*/ 14374 h 110081"/>
              <a:gd name="connsiteX49" fmla="*/ 206778 w 589503"/>
              <a:gd name="connsiteY49" fmla="*/ 49907 h 110081"/>
              <a:gd name="connsiteX50" fmla="*/ 250402 w 589503"/>
              <a:gd name="connsiteY50" fmla="*/ 49907 h 110081"/>
              <a:gd name="connsiteX51" fmla="*/ 250402 w 589503"/>
              <a:gd name="connsiteY51" fmla="*/ 62601 h 110081"/>
              <a:gd name="connsiteX52" fmla="*/ 206778 w 589503"/>
              <a:gd name="connsiteY52" fmla="*/ 62601 h 110081"/>
              <a:gd name="connsiteX53" fmla="*/ 206778 w 589503"/>
              <a:gd name="connsiteY53" fmla="*/ 108588 h 110081"/>
              <a:gd name="connsiteX54" fmla="*/ 192735 w 589503"/>
              <a:gd name="connsiteY54" fmla="*/ 108588 h 110081"/>
              <a:gd name="connsiteX55" fmla="*/ 192735 w 589503"/>
              <a:gd name="connsiteY55" fmla="*/ 1493 h 110081"/>
              <a:gd name="connsiteX56" fmla="*/ 343085 w 589503"/>
              <a:gd name="connsiteY56" fmla="*/ 73491 h 110081"/>
              <a:gd name="connsiteX57" fmla="*/ 338304 w 589503"/>
              <a:gd name="connsiteY57" fmla="*/ 92782 h 110081"/>
              <a:gd name="connsiteX58" fmla="*/ 325606 w 589503"/>
              <a:gd name="connsiteY58" fmla="*/ 105601 h 110081"/>
              <a:gd name="connsiteX59" fmla="*/ 307528 w 589503"/>
              <a:gd name="connsiteY59" fmla="*/ 110082 h 110081"/>
              <a:gd name="connsiteX60" fmla="*/ 285866 w 589503"/>
              <a:gd name="connsiteY60" fmla="*/ 104108 h 110081"/>
              <a:gd name="connsiteX61" fmla="*/ 273765 w 589503"/>
              <a:gd name="connsiteY61" fmla="*/ 87555 h 110081"/>
              <a:gd name="connsiteX62" fmla="*/ 270030 w 589503"/>
              <a:gd name="connsiteY62" fmla="*/ 63161 h 110081"/>
              <a:gd name="connsiteX63" fmla="*/ 274512 w 589503"/>
              <a:gd name="connsiteY63" fmla="*/ 30181 h 110081"/>
              <a:gd name="connsiteX64" fmla="*/ 288555 w 589503"/>
              <a:gd name="connsiteY64" fmla="*/ 8089 h 110081"/>
              <a:gd name="connsiteX65" fmla="*/ 313056 w 589503"/>
              <a:gd name="connsiteY65" fmla="*/ 0 h 110081"/>
              <a:gd name="connsiteX66" fmla="*/ 335615 w 589503"/>
              <a:gd name="connsiteY66" fmla="*/ 5538 h 110081"/>
              <a:gd name="connsiteX67" fmla="*/ 335615 w 589503"/>
              <a:gd name="connsiteY67" fmla="*/ 18855 h 110081"/>
              <a:gd name="connsiteX68" fmla="*/ 313056 w 589503"/>
              <a:gd name="connsiteY68" fmla="*/ 12259 h 110081"/>
              <a:gd name="connsiteX69" fmla="*/ 297519 w 589503"/>
              <a:gd name="connsiteY69" fmla="*/ 17361 h 110081"/>
              <a:gd name="connsiteX70" fmla="*/ 287659 w 589503"/>
              <a:gd name="connsiteY70" fmla="*/ 31238 h 110081"/>
              <a:gd name="connsiteX71" fmla="*/ 283476 w 589503"/>
              <a:gd name="connsiteY71" fmla="*/ 50778 h 110081"/>
              <a:gd name="connsiteX72" fmla="*/ 294830 w 589503"/>
              <a:gd name="connsiteY72" fmla="*/ 40759 h 110081"/>
              <a:gd name="connsiteX73" fmla="*/ 308873 w 589503"/>
              <a:gd name="connsiteY73" fmla="*/ 37523 h 110081"/>
              <a:gd name="connsiteX74" fmla="*/ 326203 w 589503"/>
              <a:gd name="connsiteY74" fmla="*/ 41693 h 110081"/>
              <a:gd name="connsiteX75" fmla="*/ 338454 w 589503"/>
              <a:gd name="connsiteY75" fmla="*/ 53952 h 110081"/>
              <a:gd name="connsiteX76" fmla="*/ 343085 w 589503"/>
              <a:gd name="connsiteY76" fmla="*/ 73491 h 110081"/>
              <a:gd name="connsiteX77" fmla="*/ 307080 w 589503"/>
              <a:gd name="connsiteY77" fmla="*/ 98134 h 110081"/>
              <a:gd name="connsiteX78" fmla="*/ 317837 w 589503"/>
              <a:gd name="connsiteY78" fmla="*/ 95458 h 110081"/>
              <a:gd name="connsiteX79" fmla="*/ 325755 w 589503"/>
              <a:gd name="connsiteY79" fmla="*/ 87244 h 110081"/>
              <a:gd name="connsiteX80" fmla="*/ 328892 w 589503"/>
              <a:gd name="connsiteY80" fmla="*/ 73803 h 110081"/>
              <a:gd name="connsiteX81" fmla="*/ 325904 w 589503"/>
              <a:gd name="connsiteY81" fmla="*/ 60174 h 110081"/>
              <a:gd name="connsiteX82" fmla="*/ 318285 w 589503"/>
              <a:gd name="connsiteY82" fmla="*/ 51961 h 110081"/>
              <a:gd name="connsiteX83" fmla="*/ 308574 w 589503"/>
              <a:gd name="connsiteY83" fmla="*/ 49160 h 110081"/>
              <a:gd name="connsiteX84" fmla="*/ 291991 w 589503"/>
              <a:gd name="connsiteY84" fmla="*/ 55570 h 110081"/>
              <a:gd name="connsiteX85" fmla="*/ 285417 w 589503"/>
              <a:gd name="connsiteY85" fmla="*/ 74114 h 110081"/>
              <a:gd name="connsiteX86" fmla="*/ 291244 w 589503"/>
              <a:gd name="connsiteY86" fmla="*/ 91538 h 110081"/>
              <a:gd name="connsiteX87" fmla="*/ 307080 w 589503"/>
              <a:gd name="connsiteY87" fmla="*/ 98134 h 110081"/>
              <a:gd name="connsiteX88" fmla="*/ 410731 w 589503"/>
              <a:gd name="connsiteY88" fmla="*/ 108588 h 110081"/>
              <a:gd name="connsiteX89" fmla="*/ 397584 w 589503"/>
              <a:gd name="connsiteY89" fmla="*/ 108588 h 110081"/>
              <a:gd name="connsiteX90" fmla="*/ 397584 w 589503"/>
              <a:gd name="connsiteY90" fmla="*/ 83199 h 110081"/>
              <a:gd name="connsiteX91" fmla="*/ 351271 w 589503"/>
              <a:gd name="connsiteY91" fmla="*/ 83199 h 110081"/>
              <a:gd name="connsiteX92" fmla="*/ 351271 w 589503"/>
              <a:gd name="connsiteY92" fmla="*/ 73927 h 110081"/>
              <a:gd name="connsiteX93" fmla="*/ 393102 w 589503"/>
              <a:gd name="connsiteY93" fmla="*/ 1493 h 110081"/>
              <a:gd name="connsiteX94" fmla="*/ 410731 w 589503"/>
              <a:gd name="connsiteY94" fmla="*/ 1493 h 110081"/>
              <a:gd name="connsiteX95" fmla="*/ 410731 w 589503"/>
              <a:gd name="connsiteY95" fmla="*/ 71873 h 110081"/>
              <a:gd name="connsiteX96" fmla="*/ 425223 w 589503"/>
              <a:gd name="connsiteY96" fmla="*/ 71873 h 110081"/>
              <a:gd name="connsiteX97" fmla="*/ 425223 w 589503"/>
              <a:gd name="connsiteY97" fmla="*/ 83199 h 110081"/>
              <a:gd name="connsiteX98" fmla="*/ 410731 w 589503"/>
              <a:gd name="connsiteY98" fmla="*/ 83199 h 110081"/>
              <a:gd name="connsiteX99" fmla="*/ 410731 w 589503"/>
              <a:gd name="connsiteY99" fmla="*/ 108588 h 110081"/>
              <a:gd name="connsiteX100" fmla="*/ 364866 w 589503"/>
              <a:gd name="connsiteY100" fmla="*/ 71873 h 110081"/>
              <a:gd name="connsiteX101" fmla="*/ 397584 w 589503"/>
              <a:gd name="connsiteY101" fmla="*/ 71873 h 110081"/>
              <a:gd name="connsiteX102" fmla="*/ 397584 w 589503"/>
              <a:gd name="connsiteY102" fmla="*/ 16117 h 110081"/>
              <a:gd name="connsiteX103" fmla="*/ 364866 w 589503"/>
              <a:gd name="connsiteY103" fmla="*/ 71873 h 110081"/>
              <a:gd name="connsiteX104" fmla="*/ 434305 w 589503"/>
              <a:gd name="connsiteY104" fmla="*/ 35844 h 110081"/>
              <a:gd name="connsiteX105" fmla="*/ 438942 w 589503"/>
              <a:gd name="connsiteY105" fmla="*/ 17051 h 110081"/>
              <a:gd name="connsiteX106" fmla="*/ 451790 w 589503"/>
              <a:gd name="connsiteY106" fmla="*/ 4480 h 110081"/>
              <a:gd name="connsiteX107" fmla="*/ 469867 w 589503"/>
              <a:gd name="connsiteY107" fmla="*/ 0 h 110081"/>
              <a:gd name="connsiteX108" fmla="*/ 491530 w 589503"/>
              <a:gd name="connsiteY108" fmla="*/ 5849 h 110081"/>
              <a:gd name="connsiteX109" fmla="*/ 503631 w 589503"/>
              <a:gd name="connsiteY109" fmla="*/ 21842 h 110081"/>
              <a:gd name="connsiteX110" fmla="*/ 507366 w 589503"/>
              <a:gd name="connsiteY110" fmla="*/ 45426 h 110081"/>
              <a:gd name="connsiteX111" fmla="*/ 502735 w 589503"/>
              <a:gd name="connsiteY111" fmla="*/ 80088 h 110081"/>
              <a:gd name="connsiteX112" fmla="*/ 488393 w 589503"/>
              <a:gd name="connsiteY112" fmla="*/ 102303 h 110081"/>
              <a:gd name="connsiteX113" fmla="*/ 463891 w 589503"/>
              <a:gd name="connsiteY113" fmla="*/ 110082 h 110081"/>
              <a:gd name="connsiteX114" fmla="*/ 440884 w 589503"/>
              <a:gd name="connsiteY114" fmla="*/ 104543 h 110081"/>
              <a:gd name="connsiteX115" fmla="*/ 440884 w 589503"/>
              <a:gd name="connsiteY115" fmla="*/ 91413 h 110081"/>
              <a:gd name="connsiteX116" fmla="*/ 463891 w 589503"/>
              <a:gd name="connsiteY116" fmla="*/ 98010 h 110081"/>
              <a:gd name="connsiteX117" fmla="*/ 479429 w 589503"/>
              <a:gd name="connsiteY117" fmla="*/ 92907 h 110081"/>
              <a:gd name="connsiteX118" fmla="*/ 489140 w 589503"/>
              <a:gd name="connsiteY118" fmla="*/ 79154 h 110081"/>
              <a:gd name="connsiteX119" fmla="*/ 493472 w 589503"/>
              <a:gd name="connsiteY119" fmla="*/ 59739 h 110081"/>
              <a:gd name="connsiteX120" fmla="*/ 482417 w 589503"/>
              <a:gd name="connsiteY120" fmla="*/ 68389 h 110081"/>
              <a:gd name="connsiteX121" fmla="*/ 468523 w 589503"/>
              <a:gd name="connsiteY121" fmla="*/ 71127 h 110081"/>
              <a:gd name="connsiteX122" fmla="*/ 451193 w 589503"/>
              <a:gd name="connsiteY122" fmla="*/ 67082 h 110081"/>
              <a:gd name="connsiteX123" fmla="*/ 438793 w 589503"/>
              <a:gd name="connsiteY123" fmla="*/ 55134 h 110081"/>
              <a:gd name="connsiteX124" fmla="*/ 434305 w 589503"/>
              <a:gd name="connsiteY124" fmla="*/ 35844 h 110081"/>
              <a:gd name="connsiteX125" fmla="*/ 470315 w 589503"/>
              <a:gd name="connsiteY125" fmla="*/ 12134 h 110081"/>
              <a:gd name="connsiteX126" fmla="*/ 459559 w 589503"/>
              <a:gd name="connsiteY126" fmla="*/ 14810 h 110081"/>
              <a:gd name="connsiteX127" fmla="*/ 451491 w 589503"/>
              <a:gd name="connsiteY127" fmla="*/ 22589 h 110081"/>
              <a:gd name="connsiteX128" fmla="*/ 448504 w 589503"/>
              <a:gd name="connsiteY128" fmla="*/ 35532 h 110081"/>
              <a:gd name="connsiteX129" fmla="*/ 451491 w 589503"/>
              <a:gd name="connsiteY129" fmla="*/ 48725 h 110081"/>
              <a:gd name="connsiteX130" fmla="*/ 459111 w 589503"/>
              <a:gd name="connsiteY130" fmla="*/ 56752 h 110081"/>
              <a:gd name="connsiteX131" fmla="*/ 468815 w 589503"/>
              <a:gd name="connsiteY131" fmla="*/ 59428 h 110081"/>
              <a:gd name="connsiteX132" fmla="*/ 485255 w 589503"/>
              <a:gd name="connsiteY132" fmla="*/ 53329 h 110081"/>
              <a:gd name="connsiteX133" fmla="*/ 491978 w 589503"/>
              <a:gd name="connsiteY133" fmla="*/ 35283 h 110081"/>
              <a:gd name="connsiteX134" fmla="*/ 486152 w 589503"/>
              <a:gd name="connsiteY134" fmla="*/ 18544 h 110081"/>
              <a:gd name="connsiteX135" fmla="*/ 470315 w 589503"/>
              <a:gd name="connsiteY135" fmla="*/ 12134 h 110081"/>
              <a:gd name="connsiteX136" fmla="*/ 589504 w 589503"/>
              <a:gd name="connsiteY136" fmla="*/ 73491 h 110081"/>
              <a:gd name="connsiteX137" fmla="*/ 584723 w 589503"/>
              <a:gd name="connsiteY137" fmla="*/ 92782 h 110081"/>
              <a:gd name="connsiteX138" fmla="*/ 572024 w 589503"/>
              <a:gd name="connsiteY138" fmla="*/ 105601 h 110081"/>
              <a:gd name="connsiteX139" fmla="*/ 553947 w 589503"/>
              <a:gd name="connsiteY139" fmla="*/ 110082 h 110081"/>
              <a:gd name="connsiteX140" fmla="*/ 532284 w 589503"/>
              <a:gd name="connsiteY140" fmla="*/ 104108 h 110081"/>
              <a:gd name="connsiteX141" fmla="*/ 520183 w 589503"/>
              <a:gd name="connsiteY141" fmla="*/ 87555 h 110081"/>
              <a:gd name="connsiteX142" fmla="*/ 516448 w 589503"/>
              <a:gd name="connsiteY142" fmla="*/ 63161 h 110081"/>
              <a:gd name="connsiteX143" fmla="*/ 520930 w 589503"/>
              <a:gd name="connsiteY143" fmla="*/ 30181 h 110081"/>
              <a:gd name="connsiteX144" fmla="*/ 534974 w 589503"/>
              <a:gd name="connsiteY144" fmla="*/ 8089 h 110081"/>
              <a:gd name="connsiteX145" fmla="*/ 559475 w 589503"/>
              <a:gd name="connsiteY145" fmla="*/ 0 h 110081"/>
              <a:gd name="connsiteX146" fmla="*/ 582034 w 589503"/>
              <a:gd name="connsiteY146" fmla="*/ 5538 h 110081"/>
              <a:gd name="connsiteX147" fmla="*/ 582034 w 589503"/>
              <a:gd name="connsiteY147" fmla="*/ 18855 h 110081"/>
              <a:gd name="connsiteX148" fmla="*/ 559475 w 589503"/>
              <a:gd name="connsiteY148" fmla="*/ 12259 h 110081"/>
              <a:gd name="connsiteX149" fmla="*/ 543937 w 589503"/>
              <a:gd name="connsiteY149" fmla="*/ 17361 h 110081"/>
              <a:gd name="connsiteX150" fmla="*/ 534077 w 589503"/>
              <a:gd name="connsiteY150" fmla="*/ 31238 h 110081"/>
              <a:gd name="connsiteX151" fmla="*/ 529894 w 589503"/>
              <a:gd name="connsiteY151" fmla="*/ 50778 h 110081"/>
              <a:gd name="connsiteX152" fmla="*/ 541248 w 589503"/>
              <a:gd name="connsiteY152" fmla="*/ 40759 h 110081"/>
              <a:gd name="connsiteX153" fmla="*/ 555291 w 589503"/>
              <a:gd name="connsiteY153" fmla="*/ 37523 h 110081"/>
              <a:gd name="connsiteX154" fmla="*/ 572622 w 589503"/>
              <a:gd name="connsiteY154" fmla="*/ 41693 h 110081"/>
              <a:gd name="connsiteX155" fmla="*/ 584872 w 589503"/>
              <a:gd name="connsiteY155" fmla="*/ 53952 h 110081"/>
              <a:gd name="connsiteX156" fmla="*/ 589504 w 589503"/>
              <a:gd name="connsiteY156" fmla="*/ 73491 h 110081"/>
              <a:gd name="connsiteX157" fmla="*/ 553499 w 589503"/>
              <a:gd name="connsiteY157" fmla="*/ 98134 h 110081"/>
              <a:gd name="connsiteX158" fmla="*/ 564255 w 589503"/>
              <a:gd name="connsiteY158" fmla="*/ 95458 h 110081"/>
              <a:gd name="connsiteX159" fmla="*/ 572174 w 589503"/>
              <a:gd name="connsiteY159" fmla="*/ 87244 h 110081"/>
              <a:gd name="connsiteX160" fmla="*/ 575311 w 589503"/>
              <a:gd name="connsiteY160" fmla="*/ 73803 h 110081"/>
              <a:gd name="connsiteX161" fmla="*/ 572323 w 589503"/>
              <a:gd name="connsiteY161" fmla="*/ 60174 h 110081"/>
              <a:gd name="connsiteX162" fmla="*/ 564704 w 589503"/>
              <a:gd name="connsiteY162" fmla="*/ 51961 h 110081"/>
              <a:gd name="connsiteX163" fmla="*/ 554993 w 589503"/>
              <a:gd name="connsiteY163" fmla="*/ 49160 h 110081"/>
              <a:gd name="connsiteX164" fmla="*/ 538410 w 589503"/>
              <a:gd name="connsiteY164" fmla="*/ 55570 h 110081"/>
              <a:gd name="connsiteX165" fmla="*/ 531836 w 589503"/>
              <a:gd name="connsiteY165" fmla="*/ 74114 h 110081"/>
              <a:gd name="connsiteX166" fmla="*/ 537663 w 589503"/>
              <a:gd name="connsiteY166" fmla="*/ 91538 h 110081"/>
              <a:gd name="connsiteX167" fmla="*/ 553499 w 589503"/>
              <a:gd name="connsiteY167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58950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343085" y="73491"/>
                </a:moveTo>
                <a:cubicBezTo>
                  <a:pt x="343085" y="80772"/>
                  <a:pt x="341491" y="87182"/>
                  <a:pt x="338304" y="92782"/>
                </a:cubicBezTo>
                <a:cubicBezTo>
                  <a:pt x="335217" y="98258"/>
                  <a:pt x="330984" y="102490"/>
                  <a:pt x="325606" y="105601"/>
                </a:cubicBezTo>
                <a:cubicBezTo>
                  <a:pt x="320227" y="108588"/>
                  <a:pt x="314201" y="110082"/>
                  <a:pt x="307528" y="110082"/>
                </a:cubicBezTo>
                <a:cubicBezTo>
                  <a:pt x="298564" y="110082"/>
                  <a:pt x="291344" y="108091"/>
                  <a:pt x="285866" y="104108"/>
                </a:cubicBezTo>
                <a:cubicBezTo>
                  <a:pt x="280388" y="100125"/>
                  <a:pt x="276354" y="94587"/>
                  <a:pt x="273765" y="87555"/>
                </a:cubicBezTo>
                <a:cubicBezTo>
                  <a:pt x="271275" y="80461"/>
                  <a:pt x="270030" y="72372"/>
                  <a:pt x="270030" y="63161"/>
                </a:cubicBezTo>
                <a:cubicBezTo>
                  <a:pt x="270030" y="50653"/>
                  <a:pt x="271523" y="39639"/>
                  <a:pt x="274512" y="30181"/>
                </a:cubicBezTo>
                <a:cubicBezTo>
                  <a:pt x="277599" y="20722"/>
                  <a:pt x="282280" y="13379"/>
                  <a:pt x="288555" y="8089"/>
                </a:cubicBezTo>
                <a:cubicBezTo>
                  <a:pt x="294929" y="2675"/>
                  <a:pt x="303096" y="0"/>
                  <a:pt x="313056" y="0"/>
                </a:cubicBezTo>
                <a:cubicBezTo>
                  <a:pt x="321622" y="0"/>
                  <a:pt x="329141" y="1866"/>
                  <a:pt x="335615" y="5538"/>
                </a:cubicBezTo>
                <a:lnTo>
                  <a:pt x="335615" y="18855"/>
                </a:lnTo>
                <a:cubicBezTo>
                  <a:pt x="329141" y="14437"/>
                  <a:pt x="321622" y="12259"/>
                  <a:pt x="313056" y="12259"/>
                </a:cubicBezTo>
                <a:cubicBezTo>
                  <a:pt x="306881" y="12259"/>
                  <a:pt x="301702" y="13939"/>
                  <a:pt x="297519" y="17361"/>
                </a:cubicBezTo>
                <a:cubicBezTo>
                  <a:pt x="293336" y="20722"/>
                  <a:pt x="290049" y="25327"/>
                  <a:pt x="287659" y="31238"/>
                </a:cubicBezTo>
                <a:cubicBezTo>
                  <a:pt x="285368" y="37026"/>
                  <a:pt x="283973" y="43498"/>
                  <a:pt x="283476" y="50778"/>
                </a:cubicBezTo>
                <a:cubicBezTo>
                  <a:pt x="286762" y="46298"/>
                  <a:pt x="290547" y="42999"/>
                  <a:pt x="294830" y="40759"/>
                </a:cubicBezTo>
                <a:cubicBezTo>
                  <a:pt x="299112" y="38581"/>
                  <a:pt x="303793" y="37523"/>
                  <a:pt x="308873" y="37523"/>
                </a:cubicBezTo>
                <a:cubicBezTo>
                  <a:pt x="315347" y="37523"/>
                  <a:pt x="321124" y="38893"/>
                  <a:pt x="326203" y="41693"/>
                </a:cubicBezTo>
                <a:cubicBezTo>
                  <a:pt x="331382" y="44493"/>
                  <a:pt x="335466" y="48538"/>
                  <a:pt x="338454" y="53952"/>
                </a:cubicBezTo>
                <a:cubicBezTo>
                  <a:pt x="341541" y="59179"/>
                  <a:pt x="343085" y="65713"/>
                  <a:pt x="343085" y="73491"/>
                </a:cubicBezTo>
                <a:close/>
                <a:moveTo>
                  <a:pt x="307080" y="98134"/>
                </a:moveTo>
                <a:cubicBezTo>
                  <a:pt x="310964" y="98134"/>
                  <a:pt x="314550" y="97263"/>
                  <a:pt x="317837" y="95458"/>
                </a:cubicBezTo>
                <a:cubicBezTo>
                  <a:pt x="321124" y="93529"/>
                  <a:pt x="323763" y="90791"/>
                  <a:pt x="325755" y="87244"/>
                </a:cubicBezTo>
                <a:cubicBezTo>
                  <a:pt x="327847" y="83635"/>
                  <a:pt x="328892" y="79154"/>
                  <a:pt x="328892" y="73803"/>
                </a:cubicBezTo>
                <a:cubicBezTo>
                  <a:pt x="328892" y="68389"/>
                  <a:pt x="327896" y="63908"/>
                  <a:pt x="325904" y="60174"/>
                </a:cubicBezTo>
                <a:cubicBezTo>
                  <a:pt x="323912" y="56503"/>
                  <a:pt x="321372" y="53765"/>
                  <a:pt x="318285" y="51961"/>
                </a:cubicBezTo>
                <a:cubicBezTo>
                  <a:pt x="315197" y="50093"/>
                  <a:pt x="311961" y="49160"/>
                  <a:pt x="308574" y="49160"/>
                </a:cubicBezTo>
                <a:cubicBezTo>
                  <a:pt x="302000" y="49160"/>
                  <a:pt x="296473" y="51276"/>
                  <a:pt x="291991" y="55570"/>
                </a:cubicBezTo>
                <a:cubicBezTo>
                  <a:pt x="287609" y="59739"/>
                  <a:pt x="285417" y="65900"/>
                  <a:pt x="285417" y="74114"/>
                </a:cubicBezTo>
                <a:cubicBezTo>
                  <a:pt x="285417" y="81270"/>
                  <a:pt x="287360" y="87058"/>
                  <a:pt x="291244" y="91538"/>
                </a:cubicBezTo>
                <a:cubicBezTo>
                  <a:pt x="295128" y="95956"/>
                  <a:pt x="300407" y="98134"/>
                  <a:pt x="307080" y="98134"/>
                </a:cubicBezTo>
                <a:close/>
                <a:moveTo>
                  <a:pt x="410731" y="108588"/>
                </a:moveTo>
                <a:lnTo>
                  <a:pt x="397584" y="108588"/>
                </a:lnTo>
                <a:lnTo>
                  <a:pt x="397584" y="83199"/>
                </a:lnTo>
                <a:lnTo>
                  <a:pt x="351271" y="83199"/>
                </a:lnTo>
                <a:lnTo>
                  <a:pt x="351271" y="73927"/>
                </a:lnTo>
                <a:lnTo>
                  <a:pt x="393102" y="1493"/>
                </a:lnTo>
                <a:lnTo>
                  <a:pt x="410731" y="1493"/>
                </a:lnTo>
                <a:lnTo>
                  <a:pt x="410731" y="71873"/>
                </a:lnTo>
                <a:lnTo>
                  <a:pt x="425223" y="71873"/>
                </a:lnTo>
                <a:lnTo>
                  <a:pt x="425223" y="83199"/>
                </a:lnTo>
                <a:lnTo>
                  <a:pt x="410731" y="83199"/>
                </a:lnTo>
                <a:lnTo>
                  <a:pt x="410731" y="108588"/>
                </a:lnTo>
                <a:close/>
                <a:moveTo>
                  <a:pt x="364866" y="71873"/>
                </a:moveTo>
                <a:lnTo>
                  <a:pt x="397584" y="71873"/>
                </a:lnTo>
                <a:lnTo>
                  <a:pt x="397584" y="16117"/>
                </a:lnTo>
                <a:lnTo>
                  <a:pt x="364866" y="71873"/>
                </a:lnTo>
                <a:close/>
                <a:moveTo>
                  <a:pt x="434305" y="35844"/>
                </a:moveTo>
                <a:cubicBezTo>
                  <a:pt x="434305" y="28687"/>
                  <a:pt x="435855" y="22402"/>
                  <a:pt x="438942" y="17051"/>
                </a:cubicBezTo>
                <a:cubicBezTo>
                  <a:pt x="442129" y="11637"/>
                  <a:pt x="446412" y="7467"/>
                  <a:pt x="451790" y="4480"/>
                </a:cubicBezTo>
                <a:cubicBezTo>
                  <a:pt x="457168" y="1493"/>
                  <a:pt x="463194" y="0"/>
                  <a:pt x="469867" y="0"/>
                </a:cubicBezTo>
                <a:cubicBezTo>
                  <a:pt x="478831" y="0"/>
                  <a:pt x="486052" y="1929"/>
                  <a:pt x="491530" y="5849"/>
                </a:cubicBezTo>
                <a:cubicBezTo>
                  <a:pt x="497107" y="9645"/>
                  <a:pt x="501141" y="14934"/>
                  <a:pt x="503631" y="21842"/>
                </a:cubicBezTo>
                <a:cubicBezTo>
                  <a:pt x="506121" y="28563"/>
                  <a:pt x="507366" y="36466"/>
                  <a:pt x="507366" y="45426"/>
                </a:cubicBezTo>
                <a:cubicBezTo>
                  <a:pt x="507366" y="58868"/>
                  <a:pt x="505822" y="70380"/>
                  <a:pt x="502735" y="80088"/>
                </a:cubicBezTo>
                <a:cubicBezTo>
                  <a:pt x="499647" y="89733"/>
                  <a:pt x="494867" y="97138"/>
                  <a:pt x="488393" y="102303"/>
                </a:cubicBezTo>
                <a:cubicBezTo>
                  <a:pt x="482018" y="107468"/>
                  <a:pt x="473851" y="110082"/>
                  <a:pt x="463891" y="110082"/>
                </a:cubicBezTo>
                <a:cubicBezTo>
                  <a:pt x="454928" y="110082"/>
                  <a:pt x="447259" y="108215"/>
                  <a:pt x="440884" y="104543"/>
                </a:cubicBezTo>
                <a:lnTo>
                  <a:pt x="440884" y="91413"/>
                </a:lnTo>
                <a:cubicBezTo>
                  <a:pt x="447657" y="95769"/>
                  <a:pt x="455326" y="98010"/>
                  <a:pt x="463891" y="98010"/>
                </a:cubicBezTo>
                <a:cubicBezTo>
                  <a:pt x="470067" y="98010"/>
                  <a:pt x="475246" y="96267"/>
                  <a:pt x="479429" y="92907"/>
                </a:cubicBezTo>
                <a:cubicBezTo>
                  <a:pt x="483612" y="89546"/>
                  <a:pt x="486849" y="84941"/>
                  <a:pt x="489140" y="79154"/>
                </a:cubicBezTo>
                <a:cubicBezTo>
                  <a:pt x="491530" y="73367"/>
                  <a:pt x="492974" y="66896"/>
                  <a:pt x="493472" y="59739"/>
                </a:cubicBezTo>
                <a:cubicBezTo>
                  <a:pt x="490384" y="63660"/>
                  <a:pt x="486699" y="66522"/>
                  <a:pt x="482417" y="68389"/>
                </a:cubicBezTo>
                <a:cubicBezTo>
                  <a:pt x="478134" y="70193"/>
                  <a:pt x="473503" y="71127"/>
                  <a:pt x="468523" y="71127"/>
                </a:cubicBezTo>
                <a:cubicBezTo>
                  <a:pt x="462149" y="71127"/>
                  <a:pt x="456372" y="69758"/>
                  <a:pt x="451193" y="67082"/>
                </a:cubicBezTo>
                <a:cubicBezTo>
                  <a:pt x="446013" y="64406"/>
                  <a:pt x="441880" y="60424"/>
                  <a:pt x="438793" y="55134"/>
                </a:cubicBezTo>
                <a:cubicBezTo>
                  <a:pt x="435805" y="49845"/>
                  <a:pt x="434305" y="43435"/>
                  <a:pt x="434305" y="35844"/>
                </a:cubicBezTo>
                <a:close/>
                <a:moveTo>
                  <a:pt x="470315" y="12134"/>
                </a:moveTo>
                <a:cubicBezTo>
                  <a:pt x="466531" y="12134"/>
                  <a:pt x="462945" y="13006"/>
                  <a:pt x="459559" y="14810"/>
                </a:cubicBezTo>
                <a:cubicBezTo>
                  <a:pt x="456272" y="16490"/>
                  <a:pt x="453583" y="19104"/>
                  <a:pt x="451491" y="22589"/>
                </a:cubicBezTo>
                <a:cubicBezTo>
                  <a:pt x="449499" y="25949"/>
                  <a:pt x="448504" y="30305"/>
                  <a:pt x="448504" y="35532"/>
                </a:cubicBezTo>
                <a:cubicBezTo>
                  <a:pt x="448504" y="40759"/>
                  <a:pt x="449499" y="45116"/>
                  <a:pt x="451491" y="48725"/>
                </a:cubicBezTo>
                <a:cubicBezTo>
                  <a:pt x="453483" y="52271"/>
                  <a:pt x="456023" y="54947"/>
                  <a:pt x="459111" y="56752"/>
                </a:cubicBezTo>
                <a:cubicBezTo>
                  <a:pt x="462198" y="58556"/>
                  <a:pt x="465435" y="59428"/>
                  <a:pt x="468815" y="59428"/>
                </a:cubicBezTo>
                <a:cubicBezTo>
                  <a:pt x="475395" y="59428"/>
                  <a:pt x="480873" y="57437"/>
                  <a:pt x="485255" y="53329"/>
                </a:cubicBezTo>
                <a:cubicBezTo>
                  <a:pt x="489737" y="49160"/>
                  <a:pt x="491978" y="43124"/>
                  <a:pt x="491978" y="35283"/>
                </a:cubicBezTo>
                <a:cubicBezTo>
                  <a:pt x="491978" y="28313"/>
                  <a:pt x="490036" y="22713"/>
                  <a:pt x="486152" y="18544"/>
                </a:cubicBezTo>
                <a:cubicBezTo>
                  <a:pt x="482268" y="14250"/>
                  <a:pt x="476989" y="12134"/>
                  <a:pt x="470315" y="12134"/>
                </a:cubicBezTo>
                <a:close/>
                <a:moveTo>
                  <a:pt x="589504" y="73491"/>
                </a:moveTo>
                <a:cubicBezTo>
                  <a:pt x="589504" y="80772"/>
                  <a:pt x="587910" y="87182"/>
                  <a:pt x="584723" y="92782"/>
                </a:cubicBezTo>
                <a:cubicBezTo>
                  <a:pt x="581635" y="98258"/>
                  <a:pt x="577402" y="102490"/>
                  <a:pt x="572024" y="105601"/>
                </a:cubicBezTo>
                <a:cubicBezTo>
                  <a:pt x="566646" y="108588"/>
                  <a:pt x="560620" y="110082"/>
                  <a:pt x="553947" y="110082"/>
                </a:cubicBezTo>
                <a:cubicBezTo>
                  <a:pt x="544983" y="110082"/>
                  <a:pt x="537762" y="108091"/>
                  <a:pt x="532284" y="104108"/>
                </a:cubicBezTo>
                <a:cubicBezTo>
                  <a:pt x="526806" y="100125"/>
                  <a:pt x="522773" y="94587"/>
                  <a:pt x="520183" y="87555"/>
                </a:cubicBezTo>
                <a:cubicBezTo>
                  <a:pt x="517693" y="80461"/>
                  <a:pt x="516448" y="72372"/>
                  <a:pt x="516448" y="63161"/>
                </a:cubicBezTo>
                <a:cubicBezTo>
                  <a:pt x="516448" y="50653"/>
                  <a:pt x="517942" y="39639"/>
                  <a:pt x="520930" y="30181"/>
                </a:cubicBezTo>
                <a:cubicBezTo>
                  <a:pt x="524018" y="20722"/>
                  <a:pt x="528699" y="13379"/>
                  <a:pt x="534974" y="8089"/>
                </a:cubicBezTo>
                <a:cubicBezTo>
                  <a:pt x="541348" y="2675"/>
                  <a:pt x="549515" y="0"/>
                  <a:pt x="559475" y="0"/>
                </a:cubicBezTo>
                <a:cubicBezTo>
                  <a:pt x="568040" y="0"/>
                  <a:pt x="575560" y="1866"/>
                  <a:pt x="582034" y="5538"/>
                </a:cubicBezTo>
                <a:lnTo>
                  <a:pt x="582034" y="18855"/>
                </a:lnTo>
                <a:cubicBezTo>
                  <a:pt x="575560" y="14437"/>
                  <a:pt x="568040" y="12259"/>
                  <a:pt x="559475" y="12259"/>
                </a:cubicBezTo>
                <a:cubicBezTo>
                  <a:pt x="553299" y="12259"/>
                  <a:pt x="548121" y="13939"/>
                  <a:pt x="543937" y="17361"/>
                </a:cubicBezTo>
                <a:cubicBezTo>
                  <a:pt x="539754" y="20722"/>
                  <a:pt x="536467" y="25327"/>
                  <a:pt x="534077" y="31238"/>
                </a:cubicBezTo>
                <a:cubicBezTo>
                  <a:pt x="531786" y="37026"/>
                  <a:pt x="530392" y="43498"/>
                  <a:pt x="529894" y="50778"/>
                </a:cubicBezTo>
                <a:cubicBezTo>
                  <a:pt x="533181" y="46298"/>
                  <a:pt x="536966" y="42999"/>
                  <a:pt x="541248" y="40759"/>
                </a:cubicBezTo>
                <a:cubicBezTo>
                  <a:pt x="545531" y="38581"/>
                  <a:pt x="550212" y="37523"/>
                  <a:pt x="555291" y="37523"/>
                </a:cubicBezTo>
                <a:cubicBezTo>
                  <a:pt x="561766" y="37523"/>
                  <a:pt x="567542" y="38893"/>
                  <a:pt x="572622" y="41693"/>
                </a:cubicBezTo>
                <a:cubicBezTo>
                  <a:pt x="577801" y="44493"/>
                  <a:pt x="581884" y="48538"/>
                  <a:pt x="584872" y="53952"/>
                </a:cubicBezTo>
                <a:cubicBezTo>
                  <a:pt x="587960" y="59179"/>
                  <a:pt x="589504" y="65713"/>
                  <a:pt x="589504" y="73491"/>
                </a:cubicBezTo>
                <a:close/>
                <a:moveTo>
                  <a:pt x="553499" y="98134"/>
                </a:moveTo>
                <a:cubicBezTo>
                  <a:pt x="557383" y="98134"/>
                  <a:pt x="560969" y="97263"/>
                  <a:pt x="564255" y="95458"/>
                </a:cubicBezTo>
                <a:cubicBezTo>
                  <a:pt x="567542" y="93529"/>
                  <a:pt x="570182" y="90791"/>
                  <a:pt x="572174" y="87244"/>
                </a:cubicBezTo>
                <a:cubicBezTo>
                  <a:pt x="574265" y="83635"/>
                  <a:pt x="575311" y="79154"/>
                  <a:pt x="575311" y="73803"/>
                </a:cubicBezTo>
                <a:cubicBezTo>
                  <a:pt x="575311" y="68389"/>
                  <a:pt x="574315" y="63908"/>
                  <a:pt x="572323" y="60174"/>
                </a:cubicBezTo>
                <a:cubicBezTo>
                  <a:pt x="570331" y="56503"/>
                  <a:pt x="567791" y="53765"/>
                  <a:pt x="564704" y="51961"/>
                </a:cubicBezTo>
                <a:cubicBezTo>
                  <a:pt x="561616" y="50093"/>
                  <a:pt x="558379" y="49160"/>
                  <a:pt x="554993" y="49160"/>
                </a:cubicBezTo>
                <a:cubicBezTo>
                  <a:pt x="548419" y="49160"/>
                  <a:pt x="542891" y="51276"/>
                  <a:pt x="538410" y="55570"/>
                </a:cubicBezTo>
                <a:cubicBezTo>
                  <a:pt x="534028" y="59739"/>
                  <a:pt x="531836" y="65900"/>
                  <a:pt x="531836" y="74114"/>
                </a:cubicBezTo>
                <a:cubicBezTo>
                  <a:pt x="531836" y="81270"/>
                  <a:pt x="533778" y="87058"/>
                  <a:pt x="537663" y="91538"/>
                </a:cubicBezTo>
                <a:cubicBezTo>
                  <a:pt x="541547" y="95956"/>
                  <a:pt x="546826" y="98134"/>
                  <a:pt x="553499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5" name="Полилиния 1014">
            <a:extLst>
              <a:ext uri="{FF2B5EF4-FFF2-40B4-BE49-F238E27FC236}">
                <a16:creationId xmlns:a16="http://schemas.microsoft.com/office/drawing/2014/main" id="{7C6E3AA4-042A-DE8A-7540-CB0B4C0B248E}"/>
              </a:ext>
            </a:extLst>
          </p:cNvPr>
          <p:cNvSpPr/>
          <p:nvPr userDrawn="1"/>
        </p:nvSpPr>
        <p:spPr>
          <a:xfrm>
            <a:off x="18445574" y="8871205"/>
            <a:ext cx="1398954" cy="726227"/>
          </a:xfrm>
          <a:custGeom>
            <a:avLst/>
            <a:gdLst>
              <a:gd name="connsiteX0" fmla="*/ 850 w 1198727"/>
              <a:gd name="connsiteY0" fmla="*/ 1722 h 622284"/>
              <a:gd name="connsiteX1" fmla="*/ 1199578 w 1198727"/>
              <a:gd name="connsiteY1" fmla="*/ 1722 h 622284"/>
              <a:gd name="connsiteX2" fmla="*/ 1199578 w 1198727"/>
              <a:gd name="connsiteY2" fmla="*/ 624006 h 622284"/>
              <a:gd name="connsiteX3" fmla="*/ 850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722"/>
                </a:moveTo>
                <a:lnTo>
                  <a:pt x="1199578" y="1722"/>
                </a:lnTo>
                <a:lnTo>
                  <a:pt x="1199578" y="624006"/>
                </a:lnTo>
                <a:lnTo>
                  <a:pt x="850" y="624006"/>
                </a:lnTo>
                <a:close/>
              </a:path>
            </a:pathLst>
          </a:custGeom>
          <a:solidFill>
            <a:srgbClr val="FF8C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6" name="Полилиния 1015">
            <a:extLst>
              <a:ext uri="{FF2B5EF4-FFF2-40B4-BE49-F238E27FC236}">
                <a16:creationId xmlns:a16="http://schemas.microsoft.com/office/drawing/2014/main" id="{E4BFB07F-C93F-EC68-3EB8-B13B3014677E}"/>
              </a:ext>
            </a:extLst>
          </p:cNvPr>
          <p:cNvSpPr/>
          <p:nvPr userDrawn="1"/>
        </p:nvSpPr>
        <p:spPr>
          <a:xfrm>
            <a:off x="18568782" y="9173169"/>
            <a:ext cx="732241" cy="128252"/>
          </a:xfrm>
          <a:custGeom>
            <a:avLst/>
            <a:gdLst>
              <a:gd name="connsiteX0" fmla="*/ 22111 w 627438"/>
              <a:gd name="connsiteY0" fmla="*/ 108402 h 109895"/>
              <a:gd name="connsiteX1" fmla="*/ 10159 w 627438"/>
              <a:gd name="connsiteY1" fmla="*/ 108402 h 109895"/>
              <a:gd name="connsiteX2" fmla="*/ 16433 w 627438"/>
              <a:gd name="connsiteY2" fmla="*/ 77475 h 109895"/>
              <a:gd name="connsiteX3" fmla="*/ 0 w 627438"/>
              <a:gd name="connsiteY3" fmla="*/ 77475 h 109895"/>
              <a:gd name="connsiteX4" fmla="*/ 0 w 627438"/>
              <a:gd name="connsiteY4" fmla="*/ 67020 h 109895"/>
              <a:gd name="connsiteX5" fmla="*/ 18675 w 627438"/>
              <a:gd name="connsiteY5" fmla="*/ 67020 h 109895"/>
              <a:gd name="connsiteX6" fmla="*/ 24202 w 627438"/>
              <a:gd name="connsiteY6" fmla="*/ 39826 h 109895"/>
              <a:gd name="connsiteX7" fmla="*/ 4033 w 627438"/>
              <a:gd name="connsiteY7" fmla="*/ 39826 h 109895"/>
              <a:gd name="connsiteX8" fmla="*/ 4033 w 627438"/>
              <a:gd name="connsiteY8" fmla="*/ 29372 h 109895"/>
              <a:gd name="connsiteX9" fmla="*/ 26294 w 627438"/>
              <a:gd name="connsiteY9" fmla="*/ 29372 h 109895"/>
              <a:gd name="connsiteX10" fmla="*/ 32120 w 627438"/>
              <a:gd name="connsiteY10" fmla="*/ 1307 h 109895"/>
              <a:gd name="connsiteX11" fmla="*/ 44072 w 627438"/>
              <a:gd name="connsiteY11" fmla="*/ 1307 h 109895"/>
              <a:gd name="connsiteX12" fmla="*/ 38246 w 627438"/>
              <a:gd name="connsiteY12" fmla="*/ 29372 h 109895"/>
              <a:gd name="connsiteX13" fmla="*/ 60655 w 627438"/>
              <a:gd name="connsiteY13" fmla="*/ 29372 h 109895"/>
              <a:gd name="connsiteX14" fmla="*/ 66482 w 627438"/>
              <a:gd name="connsiteY14" fmla="*/ 1307 h 109895"/>
              <a:gd name="connsiteX15" fmla="*/ 78434 w 627438"/>
              <a:gd name="connsiteY15" fmla="*/ 1307 h 109895"/>
              <a:gd name="connsiteX16" fmla="*/ 72607 w 627438"/>
              <a:gd name="connsiteY16" fmla="*/ 29372 h 109895"/>
              <a:gd name="connsiteX17" fmla="*/ 89340 w 627438"/>
              <a:gd name="connsiteY17" fmla="*/ 29372 h 109895"/>
              <a:gd name="connsiteX18" fmla="*/ 89340 w 627438"/>
              <a:gd name="connsiteY18" fmla="*/ 39826 h 109895"/>
              <a:gd name="connsiteX19" fmla="*/ 70516 w 627438"/>
              <a:gd name="connsiteY19" fmla="*/ 39826 h 109895"/>
              <a:gd name="connsiteX20" fmla="*/ 64988 w 627438"/>
              <a:gd name="connsiteY20" fmla="*/ 67020 h 109895"/>
              <a:gd name="connsiteX21" fmla="*/ 85306 w 627438"/>
              <a:gd name="connsiteY21" fmla="*/ 67020 h 109895"/>
              <a:gd name="connsiteX22" fmla="*/ 85306 w 627438"/>
              <a:gd name="connsiteY22" fmla="*/ 77475 h 109895"/>
              <a:gd name="connsiteX23" fmla="*/ 62747 w 627438"/>
              <a:gd name="connsiteY23" fmla="*/ 77475 h 109895"/>
              <a:gd name="connsiteX24" fmla="*/ 56472 w 627438"/>
              <a:gd name="connsiteY24" fmla="*/ 108402 h 109895"/>
              <a:gd name="connsiteX25" fmla="*/ 44520 w 627438"/>
              <a:gd name="connsiteY25" fmla="*/ 108402 h 109895"/>
              <a:gd name="connsiteX26" fmla="*/ 50795 w 627438"/>
              <a:gd name="connsiteY26" fmla="*/ 77475 h 109895"/>
              <a:gd name="connsiteX27" fmla="*/ 28386 w 627438"/>
              <a:gd name="connsiteY27" fmla="*/ 77475 h 109895"/>
              <a:gd name="connsiteX28" fmla="*/ 22111 w 627438"/>
              <a:gd name="connsiteY28" fmla="*/ 108402 h 109895"/>
              <a:gd name="connsiteX29" fmla="*/ 30626 w 627438"/>
              <a:gd name="connsiteY29" fmla="*/ 67020 h 109895"/>
              <a:gd name="connsiteX30" fmla="*/ 53036 w 627438"/>
              <a:gd name="connsiteY30" fmla="*/ 67020 h 109895"/>
              <a:gd name="connsiteX31" fmla="*/ 58564 w 627438"/>
              <a:gd name="connsiteY31" fmla="*/ 39826 h 109895"/>
              <a:gd name="connsiteX32" fmla="*/ 36154 w 627438"/>
              <a:gd name="connsiteY32" fmla="*/ 39826 h 109895"/>
              <a:gd name="connsiteX33" fmla="*/ 30626 w 627438"/>
              <a:gd name="connsiteY33" fmla="*/ 67020 h 109895"/>
              <a:gd name="connsiteX34" fmla="*/ 107827 w 627438"/>
              <a:gd name="connsiteY34" fmla="*/ 1307 h 109895"/>
              <a:gd name="connsiteX35" fmla="*/ 173264 w 627438"/>
              <a:gd name="connsiteY35" fmla="*/ 1307 h 109895"/>
              <a:gd name="connsiteX36" fmla="*/ 173264 w 627438"/>
              <a:gd name="connsiteY36" fmla="*/ 14188 h 109895"/>
              <a:gd name="connsiteX37" fmla="*/ 121871 w 627438"/>
              <a:gd name="connsiteY37" fmla="*/ 14188 h 109895"/>
              <a:gd name="connsiteX38" fmla="*/ 121871 w 627438"/>
              <a:gd name="connsiteY38" fmla="*/ 49720 h 109895"/>
              <a:gd name="connsiteX39" fmla="*/ 165495 w 627438"/>
              <a:gd name="connsiteY39" fmla="*/ 49720 h 109895"/>
              <a:gd name="connsiteX40" fmla="*/ 165495 w 627438"/>
              <a:gd name="connsiteY40" fmla="*/ 62415 h 109895"/>
              <a:gd name="connsiteX41" fmla="*/ 121871 w 627438"/>
              <a:gd name="connsiteY41" fmla="*/ 62415 h 109895"/>
              <a:gd name="connsiteX42" fmla="*/ 121871 w 627438"/>
              <a:gd name="connsiteY42" fmla="*/ 108402 h 109895"/>
              <a:gd name="connsiteX43" fmla="*/ 107827 w 627438"/>
              <a:gd name="connsiteY43" fmla="*/ 108402 h 109895"/>
              <a:gd name="connsiteX44" fmla="*/ 107827 w 627438"/>
              <a:gd name="connsiteY44" fmla="*/ 1307 h 109895"/>
              <a:gd name="connsiteX45" fmla="*/ 192735 w 627438"/>
              <a:gd name="connsiteY45" fmla="*/ 1307 h 109895"/>
              <a:gd name="connsiteX46" fmla="*/ 258171 w 627438"/>
              <a:gd name="connsiteY46" fmla="*/ 1307 h 109895"/>
              <a:gd name="connsiteX47" fmla="*/ 258171 w 627438"/>
              <a:gd name="connsiteY47" fmla="*/ 14188 h 109895"/>
              <a:gd name="connsiteX48" fmla="*/ 206778 w 627438"/>
              <a:gd name="connsiteY48" fmla="*/ 14188 h 109895"/>
              <a:gd name="connsiteX49" fmla="*/ 206778 w 627438"/>
              <a:gd name="connsiteY49" fmla="*/ 49720 h 109895"/>
              <a:gd name="connsiteX50" fmla="*/ 250402 w 627438"/>
              <a:gd name="connsiteY50" fmla="*/ 49720 h 109895"/>
              <a:gd name="connsiteX51" fmla="*/ 250402 w 627438"/>
              <a:gd name="connsiteY51" fmla="*/ 62415 h 109895"/>
              <a:gd name="connsiteX52" fmla="*/ 206778 w 627438"/>
              <a:gd name="connsiteY52" fmla="*/ 62415 h 109895"/>
              <a:gd name="connsiteX53" fmla="*/ 206778 w 627438"/>
              <a:gd name="connsiteY53" fmla="*/ 108402 h 109895"/>
              <a:gd name="connsiteX54" fmla="*/ 192735 w 627438"/>
              <a:gd name="connsiteY54" fmla="*/ 108402 h 109895"/>
              <a:gd name="connsiteX55" fmla="*/ 192735 w 627438"/>
              <a:gd name="connsiteY55" fmla="*/ 1307 h 109895"/>
              <a:gd name="connsiteX56" fmla="*/ 306632 w 627438"/>
              <a:gd name="connsiteY56" fmla="*/ 109896 h 109895"/>
              <a:gd name="connsiteX57" fmla="*/ 287957 w 627438"/>
              <a:gd name="connsiteY57" fmla="*/ 106287 h 109895"/>
              <a:gd name="connsiteX58" fmla="*/ 275259 w 627438"/>
              <a:gd name="connsiteY58" fmla="*/ 96019 h 109895"/>
              <a:gd name="connsiteX59" fmla="*/ 270627 w 627438"/>
              <a:gd name="connsiteY59" fmla="*/ 79590 h 109895"/>
              <a:gd name="connsiteX60" fmla="*/ 276006 w 627438"/>
              <a:gd name="connsiteY60" fmla="*/ 62105 h 109895"/>
              <a:gd name="connsiteX61" fmla="*/ 290796 w 627438"/>
              <a:gd name="connsiteY61" fmla="*/ 51525 h 109895"/>
              <a:gd name="connsiteX62" fmla="*/ 278844 w 627438"/>
              <a:gd name="connsiteY62" fmla="*/ 42378 h 109895"/>
              <a:gd name="connsiteX63" fmla="*/ 274512 w 627438"/>
              <a:gd name="connsiteY63" fmla="*/ 27318 h 109895"/>
              <a:gd name="connsiteX64" fmla="*/ 278695 w 627438"/>
              <a:gd name="connsiteY64" fmla="*/ 12383 h 109895"/>
              <a:gd name="connsiteX65" fmla="*/ 290198 w 627438"/>
              <a:gd name="connsiteY65" fmla="*/ 3111 h 109895"/>
              <a:gd name="connsiteX66" fmla="*/ 306632 w 627438"/>
              <a:gd name="connsiteY66" fmla="*/ 0 h 109895"/>
              <a:gd name="connsiteX67" fmla="*/ 322767 w 627438"/>
              <a:gd name="connsiteY67" fmla="*/ 3111 h 109895"/>
              <a:gd name="connsiteX68" fmla="*/ 334121 w 627438"/>
              <a:gd name="connsiteY68" fmla="*/ 12073 h 109895"/>
              <a:gd name="connsiteX69" fmla="*/ 338454 w 627438"/>
              <a:gd name="connsiteY69" fmla="*/ 27008 h 109895"/>
              <a:gd name="connsiteX70" fmla="*/ 333972 w 627438"/>
              <a:gd name="connsiteY70" fmla="*/ 42253 h 109895"/>
              <a:gd name="connsiteX71" fmla="*/ 322169 w 627438"/>
              <a:gd name="connsiteY71" fmla="*/ 51525 h 109895"/>
              <a:gd name="connsiteX72" fmla="*/ 336511 w 627438"/>
              <a:gd name="connsiteY72" fmla="*/ 61669 h 109895"/>
              <a:gd name="connsiteX73" fmla="*/ 342039 w 627438"/>
              <a:gd name="connsiteY73" fmla="*/ 79155 h 109895"/>
              <a:gd name="connsiteX74" fmla="*/ 337408 w 627438"/>
              <a:gd name="connsiteY74" fmla="*/ 95707 h 109895"/>
              <a:gd name="connsiteX75" fmla="*/ 324709 w 627438"/>
              <a:gd name="connsiteY75" fmla="*/ 106287 h 109895"/>
              <a:gd name="connsiteX76" fmla="*/ 306632 w 627438"/>
              <a:gd name="connsiteY76" fmla="*/ 109896 h 109895"/>
              <a:gd name="connsiteX77" fmla="*/ 306632 w 627438"/>
              <a:gd name="connsiteY77" fmla="*/ 46111 h 109895"/>
              <a:gd name="connsiteX78" fmla="*/ 319630 w 627438"/>
              <a:gd name="connsiteY78" fmla="*/ 41631 h 109895"/>
              <a:gd name="connsiteX79" fmla="*/ 324858 w 627438"/>
              <a:gd name="connsiteY79" fmla="*/ 28936 h 109895"/>
              <a:gd name="connsiteX80" fmla="*/ 319630 w 627438"/>
              <a:gd name="connsiteY80" fmla="*/ 16428 h 109895"/>
              <a:gd name="connsiteX81" fmla="*/ 306632 w 627438"/>
              <a:gd name="connsiteY81" fmla="*/ 11761 h 109895"/>
              <a:gd name="connsiteX82" fmla="*/ 293336 w 627438"/>
              <a:gd name="connsiteY82" fmla="*/ 16428 h 109895"/>
              <a:gd name="connsiteX83" fmla="*/ 288107 w 627438"/>
              <a:gd name="connsiteY83" fmla="*/ 28936 h 109895"/>
              <a:gd name="connsiteX84" fmla="*/ 293336 w 627438"/>
              <a:gd name="connsiteY84" fmla="*/ 41631 h 109895"/>
              <a:gd name="connsiteX85" fmla="*/ 306632 w 627438"/>
              <a:gd name="connsiteY85" fmla="*/ 46111 h 109895"/>
              <a:gd name="connsiteX86" fmla="*/ 306632 w 627438"/>
              <a:gd name="connsiteY86" fmla="*/ 98072 h 109895"/>
              <a:gd name="connsiteX87" fmla="*/ 322020 w 627438"/>
              <a:gd name="connsiteY87" fmla="*/ 92721 h 109895"/>
              <a:gd name="connsiteX88" fmla="*/ 328294 w 627438"/>
              <a:gd name="connsiteY88" fmla="*/ 77350 h 109895"/>
              <a:gd name="connsiteX89" fmla="*/ 322020 w 627438"/>
              <a:gd name="connsiteY89" fmla="*/ 62105 h 109895"/>
              <a:gd name="connsiteX90" fmla="*/ 306632 w 627438"/>
              <a:gd name="connsiteY90" fmla="*/ 56566 h 109895"/>
              <a:gd name="connsiteX91" fmla="*/ 290646 w 627438"/>
              <a:gd name="connsiteY91" fmla="*/ 62105 h 109895"/>
              <a:gd name="connsiteX92" fmla="*/ 284372 w 627438"/>
              <a:gd name="connsiteY92" fmla="*/ 77350 h 109895"/>
              <a:gd name="connsiteX93" fmla="*/ 290646 w 627438"/>
              <a:gd name="connsiteY93" fmla="*/ 92721 h 109895"/>
              <a:gd name="connsiteX94" fmla="*/ 306632 w 627438"/>
              <a:gd name="connsiteY94" fmla="*/ 98072 h 109895"/>
              <a:gd name="connsiteX95" fmla="*/ 406249 w 627438"/>
              <a:gd name="connsiteY95" fmla="*/ 109896 h 109895"/>
              <a:gd name="connsiteX96" fmla="*/ 378461 w 627438"/>
              <a:gd name="connsiteY96" fmla="*/ 103300 h 109895"/>
              <a:gd name="connsiteX97" fmla="*/ 360085 w 627438"/>
              <a:gd name="connsiteY97" fmla="*/ 84507 h 109895"/>
              <a:gd name="connsiteX98" fmla="*/ 353512 w 627438"/>
              <a:gd name="connsiteY98" fmla="*/ 54948 h 109895"/>
              <a:gd name="connsiteX99" fmla="*/ 367107 w 627438"/>
              <a:gd name="connsiteY99" fmla="*/ 14624 h 109895"/>
              <a:gd name="connsiteX100" fmla="*/ 405950 w 627438"/>
              <a:gd name="connsiteY100" fmla="*/ 0 h 109895"/>
              <a:gd name="connsiteX101" fmla="*/ 423878 w 627438"/>
              <a:gd name="connsiteY101" fmla="*/ 2054 h 109895"/>
              <a:gd name="connsiteX102" fmla="*/ 438519 w 627438"/>
              <a:gd name="connsiteY102" fmla="*/ 7716 h 109895"/>
              <a:gd name="connsiteX103" fmla="*/ 438519 w 627438"/>
              <a:gd name="connsiteY103" fmla="*/ 21158 h 109895"/>
              <a:gd name="connsiteX104" fmla="*/ 423430 w 627438"/>
              <a:gd name="connsiteY104" fmla="*/ 14935 h 109895"/>
              <a:gd name="connsiteX105" fmla="*/ 405801 w 627438"/>
              <a:gd name="connsiteY105" fmla="*/ 12695 h 109895"/>
              <a:gd name="connsiteX106" fmla="*/ 377863 w 627438"/>
              <a:gd name="connsiteY106" fmla="*/ 23273 h 109895"/>
              <a:gd name="connsiteX107" fmla="*/ 368750 w 627438"/>
              <a:gd name="connsiteY107" fmla="*/ 54948 h 109895"/>
              <a:gd name="connsiteX108" fmla="*/ 378610 w 627438"/>
              <a:gd name="connsiteY108" fmla="*/ 86747 h 109895"/>
              <a:gd name="connsiteX109" fmla="*/ 407444 w 627438"/>
              <a:gd name="connsiteY109" fmla="*/ 97201 h 109895"/>
              <a:gd name="connsiteX110" fmla="*/ 438519 w 627438"/>
              <a:gd name="connsiteY110" fmla="*/ 87369 h 109895"/>
              <a:gd name="connsiteX111" fmla="*/ 438519 w 627438"/>
              <a:gd name="connsiteY111" fmla="*/ 100811 h 109895"/>
              <a:gd name="connsiteX112" fmla="*/ 424625 w 627438"/>
              <a:gd name="connsiteY112" fmla="*/ 107531 h 109895"/>
              <a:gd name="connsiteX113" fmla="*/ 406249 w 627438"/>
              <a:gd name="connsiteY113" fmla="*/ 109896 h 109895"/>
              <a:gd name="connsiteX114" fmla="*/ 546402 w 627438"/>
              <a:gd name="connsiteY114" fmla="*/ 108402 h 109895"/>
              <a:gd name="connsiteX115" fmla="*/ 531463 w 627438"/>
              <a:gd name="connsiteY115" fmla="*/ 108402 h 109895"/>
              <a:gd name="connsiteX116" fmla="*/ 520407 w 627438"/>
              <a:gd name="connsiteY116" fmla="*/ 77786 h 109895"/>
              <a:gd name="connsiteX117" fmla="*/ 473048 w 627438"/>
              <a:gd name="connsiteY117" fmla="*/ 77786 h 109895"/>
              <a:gd name="connsiteX118" fmla="*/ 462142 w 627438"/>
              <a:gd name="connsiteY118" fmla="*/ 108402 h 109895"/>
              <a:gd name="connsiteX119" fmla="*/ 448995 w 627438"/>
              <a:gd name="connsiteY119" fmla="*/ 108402 h 109895"/>
              <a:gd name="connsiteX120" fmla="*/ 487092 w 627438"/>
              <a:gd name="connsiteY120" fmla="*/ 1307 h 109895"/>
              <a:gd name="connsiteX121" fmla="*/ 508007 w 627438"/>
              <a:gd name="connsiteY121" fmla="*/ 1307 h 109895"/>
              <a:gd name="connsiteX122" fmla="*/ 546402 w 627438"/>
              <a:gd name="connsiteY122" fmla="*/ 108402 h 109895"/>
              <a:gd name="connsiteX123" fmla="*/ 477680 w 627438"/>
              <a:gd name="connsiteY123" fmla="*/ 65091 h 109895"/>
              <a:gd name="connsiteX124" fmla="*/ 515925 w 627438"/>
              <a:gd name="connsiteY124" fmla="*/ 65091 h 109895"/>
              <a:gd name="connsiteX125" fmla="*/ 496802 w 627438"/>
              <a:gd name="connsiteY125" fmla="*/ 11761 h 109895"/>
              <a:gd name="connsiteX126" fmla="*/ 477680 w 627438"/>
              <a:gd name="connsiteY126" fmla="*/ 65091 h 109895"/>
              <a:gd name="connsiteX127" fmla="*/ 562002 w 627438"/>
              <a:gd name="connsiteY127" fmla="*/ 1307 h 109895"/>
              <a:gd name="connsiteX128" fmla="*/ 627438 w 627438"/>
              <a:gd name="connsiteY128" fmla="*/ 1307 h 109895"/>
              <a:gd name="connsiteX129" fmla="*/ 627438 w 627438"/>
              <a:gd name="connsiteY129" fmla="*/ 14188 h 109895"/>
              <a:gd name="connsiteX130" fmla="*/ 576046 w 627438"/>
              <a:gd name="connsiteY130" fmla="*/ 14188 h 109895"/>
              <a:gd name="connsiteX131" fmla="*/ 576046 w 627438"/>
              <a:gd name="connsiteY131" fmla="*/ 49720 h 109895"/>
              <a:gd name="connsiteX132" fmla="*/ 619670 w 627438"/>
              <a:gd name="connsiteY132" fmla="*/ 49720 h 109895"/>
              <a:gd name="connsiteX133" fmla="*/ 619670 w 627438"/>
              <a:gd name="connsiteY133" fmla="*/ 62415 h 109895"/>
              <a:gd name="connsiteX134" fmla="*/ 576046 w 627438"/>
              <a:gd name="connsiteY134" fmla="*/ 62415 h 109895"/>
              <a:gd name="connsiteX135" fmla="*/ 576046 w 627438"/>
              <a:gd name="connsiteY135" fmla="*/ 108402 h 109895"/>
              <a:gd name="connsiteX136" fmla="*/ 562002 w 627438"/>
              <a:gd name="connsiteY136" fmla="*/ 108402 h 109895"/>
              <a:gd name="connsiteX137" fmla="*/ 562002 w 627438"/>
              <a:gd name="connsiteY13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627438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306632" y="109896"/>
                </a:moveTo>
                <a:cubicBezTo>
                  <a:pt x="299660" y="109896"/>
                  <a:pt x="293435" y="108714"/>
                  <a:pt x="287957" y="106287"/>
                </a:cubicBezTo>
                <a:cubicBezTo>
                  <a:pt x="282579" y="103922"/>
                  <a:pt x="278346" y="100499"/>
                  <a:pt x="275259" y="96019"/>
                </a:cubicBezTo>
                <a:cubicBezTo>
                  <a:pt x="272171" y="91414"/>
                  <a:pt x="270627" y="85938"/>
                  <a:pt x="270627" y="79590"/>
                </a:cubicBezTo>
                <a:cubicBezTo>
                  <a:pt x="270627" y="72683"/>
                  <a:pt x="272420" y="66896"/>
                  <a:pt x="276006" y="62105"/>
                </a:cubicBezTo>
                <a:cubicBezTo>
                  <a:pt x="279691" y="57251"/>
                  <a:pt x="284621" y="53703"/>
                  <a:pt x="290796" y="51525"/>
                </a:cubicBezTo>
                <a:cubicBezTo>
                  <a:pt x="285816" y="49534"/>
                  <a:pt x="281832" y="46485"/>
                  <a:pt x="278844" y="42378"/>
                </a:cubicBezTo>
                <a:cubicBezTo>
                  <a:pt x="275956" y="38333"/>
                  <a:pt x="274512" y="33293"/>
                  <a:pt x="274512" y="27318"/>
                </a:cubicBezTo>
                <a:cubicBezTo>
                  <a:pt x="274512" y="21407"/>
                  <a:pt x="275906" y="16428"/>
                  <a:pt x="278695" y="12383"/>
                </a:cubicBezTo>
                <a:cubicBezTo>
                  <a:pt x="281483" y="8277"/>
                  <a:pt x="285318" y="5228"/>
                  <a:pt x="290198" y="3111"/>
                </a:cubicBezTo>
                <a:cubicBezTo>
                  <a:pt x="295078" y="996"/>
                  <a:pt x="300556" y="0"/>
                  <a:pt x="306632" y="0"/>
                </a:cubicBezTo>
                <a:cubicBezTo>
                  <a:pt x="312608" y="0"/>
                  <a:pt x="317986" y="996"/>
                  <a:pt x="322767" y="3111"/>
                </a:cubicBezTo>
                <a:cubicBezTo>
                  <a:pt x="327547" y="5103"/>
                  <a:pt x="331332" y="8090"/>
                  <a:pt x="334121" y="12073"/>
                </a:cubicBezTo>
                <a:cubicBezTo>
                  <a:pt x="337009" y="16055"/>
                  <a:pt x="338454" y="21033"/>
                  <a:pt x="338454" y="27008"/>
                </a:cubicBezTo>
                <a:cubicBezTo>
                  <a:pt x="338454" y="33106"/>
                  <a:pt x="336960" y="38146"/>
                  <a:pt x="333972" y="42253"/>
                </a:cubicBezTo>
                <a:cubicBezTo>
                  <a:pt x="330984" y="46298"/>
                  <a:pt x="327050" y="49410"/>
                  <a:pt x="322169" y="51525"/>
                </a:cubicBezTo>
                <a:cubicBezTo>
                  <a:pt x="328145" y="53579"/>
                  <a:pt x="332926" y="57001"/>
                  <a:pt x="336511" y="61669"/>
                </a:cubicBezTo>
                <a:cubicBezTo>
                  <a:pt x="340197" y="66336"/>
                  <a:pt x="342039" y="72186"/>
                  <a:pt x="342039" y="79155"/>
                </a:cubicBezTo>
                <a:cubicBezTo>
                  <a:pt x="342039" y="85502"/>
                  <a:pt x="340495" y="91040"/>
                  <a:pt x="337408" y="95707"/>
                </a:cubicBezTo>
                <a:cubicBezTo>
                  <a:pt x="334320" y="100312"/>
                  <a:pt x="330087" y="103797"/>
                  <a:pt x="324709" y="106287"/>
                </a:cubicBezTo>
                <a:cubicBezTo>
                  <a:pt x="319431" y="108714"/>
                  <a:pt x="313405" y="109896"/>
                  <a:pt x="306632" y="109896"/>
                </a:cubicBezTo>
                <a:close/>
                <a:moveTo>
                  <a:pt x="306632" y="46111"/>
                </a:moveTo>
                <a:cubicBezTo>
                  <a:pt x="311911" y="46111"/>
                  <a:pt x="316243" y="44618"/>
                  <a:pt x="319630" y="41631"/>
                </a:cubicBezTo>
                <a:cubicBezTo>
                  <a:pt x="323116" y="38582"/>
                  <a:pt x="324858" y="34350"/>
                  <a:pt x="324858" y="28936"/>
                </a:cubicBezTo>
                <a:cubicBezTo>
                  <a:pt x="324858" y="23585"/>
                  <a:pt x="323116" y="19415"/>
                  <a:pt x="319630" y="16428"/>
                </a:cubicBezTo>
                <a:cubicBezTo>
                  <a:pt x="316243" y="13317"/>
                  <a:pt x="311911" y="11761"/>
                  <a:pt x="306632" y="11761"/>
                </a:cubicBezTo>
                <a:cubicBezTo>
                  <a:pt x="301353" y="11761"/>
                  <a:pt x="296921" y="13317"/>
                  <a:pt x="293336" y="16428"/>
                </a:cubicBezTo>
                <a:cubicBezTo>
                  <a:pt x="289850" y="19415"/>
                  <a:pt x="288107" y="23585"/>
                  <a:pt x="288107" y="28936"/>
                </a:cubicBezTo>
                <a:cubicBezTo>
                  <a:pt x="288107" y="34350"/>
                  <a:pt x="289850" y="38582"/>
                  <a:pt x="293336" y="41631"/>
                </a:cubicBezTo>
                <a:cubicBezTo>
                  <a:pt x="296921" y="44618"/>
                  <a:pt x="301353" y="46111"/>
                  <a:pt x="306632" y="46111"/>
                </a:cubicBezTo>
                <a:close/>
                <a:moveTo>
                  <a:pt x="306632" y="98072"/>
                </a:moveTo>
                <a:cubicBezTo>
                  <a:pt x="312807" y="98072"/>
                  <a:pt x="317936" y="96330"/>
                  <a:pt x="322020" y="92721"/>
                </a:cubicBezTo>
                <a:cubicBezTo>
                  <a:pt x="326203" y="89049"/>
                  <a:pt x="328294" y="83885"/>
                  <a:pt x="328294" y="77350"/>
                </a:cubicBezTo>
                <a:cubicBezTo>
                  <a:pt x="328294" y="70754"/>
                  <a:pt x="326203" y="65714"/>
                  <a:pt x="322020" y="62105"/>
                </a:cubicBezTo>
                <a:cubicBezTo>
                  <a:pt x="317936" y="58433"/>
                  <a:pt x="312807" y="56566"/>
                  <a:pt x="306632" y="56566"/>
                </a:cubicBezTo>
                <a:cubicBezTo>
                  <a:pt x="300258" y="56566"/>
                  <a:pt x="294929" y="58433"/>
                  <a:pt x="290646" y="62105"/>
                </a:cubicBezTo>
                <a:cubicBezTo>
                  <a:pt x="286463" y="65714"/>
                  <a:pt x="284372" y="70754"/>
                  <a:pt x="284372" y="77350"/>
                </a:cubicBezTo>
                <a:cubicBezTo>
                  <a:pt x="284372" y="83885"/>
                  <a:pt x="286463" y="89049"/>
                  <a:pt x="290646" y="92721"/>
                </a:cubicBezTo>
                <a:cubicBezTo>
                  <a:pt x="294929" y="96330"/>
                  <a:pt x="300258" y="98072"/>
                  <a:pt x="306632" y="98072"/>
                </a:cubicBezTo>
                <a:close/>
                <a:moveTo>
                  <a:pt x="406249" y="109896"/>
                </a:moveTo>
                <a:cubicBezTo>
                  <a:pt x="395692" y="109896"/>
                  <a:pt x="386429" y="107718"/>
                  <a:pt x="378461" y="103300"/>
                </a:cubicBezTo>
                <a:cubicBezTo>
                  <a:pt x="370593" y="98943"/>
                  <a:pt x="364468" y="92658"/>
                  <a:pt x="360085" y="84507"/>
                </a:cubicBezTo>
                <a:cubicBezTo>
                  <a:pt x="355703" y="76230"/>
                  <a:pt x="353512" y="66398"/>
                  <a:pt x="353512" y="54948"/>
                </a:cubicBezTo>
                <a:cubicBezTo>
                  <a:pt x="353512" y="37711"/>
                  <a:pt x="358044" y="24269"/>
                  <a:pt x="367107" y="14624"/>
                </a:cubicBezTo>
                <a:cubicBezTo>
                  <a:pt x="376170" y="4854"/>
                  <a:pt x="389118" y="0"/>
                  <a:pt x="405950" y="0"/>
                </a:cubicBezTo>
                <a:cubicBezTo>
                  <a:pt x="412225" y="0"/>
                  <a:pt x="418201" y="684"/>
                  <a:pt x="423878" y="2054"/>
                </a:cubicBezTo>
                <a:cubicBezTo>
                  <a:pt x="429655" y="3361"/>
                  <a:pt x="434535" y="5228"/>
                  <a:pt x="438519" y="7716"/>
                </a:cubicBezTo>
                <a:lnTo>
                  <a:pt x="438519" y="21158"/>
                </a:lnTo>
                <a:cubicBezTo>
                  <a:pt x="434236" y="18482"/>
                  <a:pt x="429206" y="16428"/>
                  <a:pt x="423430" y="14935"/>
                </a:cubicBezTo>
                <a:cubicBezTo>
                  <a:pt x="417753" y="13442"/>
                  <a:pt x="411876" y="12695"/>
                  <a:pt x="405801" y="12695"/>
                </a:cubicBezTo>
                <a:cubicBezTo>
                  <a:pt x="393251" y="12695"/>
                  <a:pt x="383939" y="16180"/>
                  <a:pt x="377863" y="23273"/>
                </a:cubicBezTo>
                <a:cubicBezTo>
                  <a:pt x="371788" y="30368"/>
                  <a:pt x="368750" y="40885"/>
                  <a:pt x="368750" y="54948"/>
                </a:cubicBezTo>
                <a:cubicBezTo>
                  <a:pt x="368750" y="69074"/>
                  <a:pt x="372037" y="79653"/>
                  <a:pt x="378610" y="86747"/>
                </a:cubicBezTo>
                <a:cubicBezTo>
                  <a:pt x="385184" y="93716"/>
                  <a:pt x="394795" y="97201"/>
                  <a:pt x="407444" y="97201"/>
                </a:cubicBezTo>
                <a:cubicBezTo>
                  <a:pt x="419396" y="97201"/>
                  <a:pt x="429754" y="93903"/>
                  <a:pt x="438519" y="87369"/>
                </a:cubicBezTo>
                <a:lnTo>
                  <a:pt x="438519" y="100811"/>
                </a:lnTo>
                <a:cubicBezTo>
                  <a:pt x="435033" y="103548"/>
                  <a:pt x="430401" y="105788"/>
                  <a:pt x="424625" y="107531"/>
                </a:cubicBezTo>
                <a:cubicBezTo>
                  <a:pt x="418848" y="109087"/>
                  <a:pt x="412723" y="109896"/>
                  <a:pt x="406249" y="109896"/>
                </a:cubicBezTo>
                <a:close/>
                <a:moveTo>
                  <a:pt x="546402" y="108402"/>
                </a:moveTo>
                <a:lnTo>
                  <a:pt x="531463" y="108402"/>
                </a:lnTo>
                <a:lnTo>
                  <a:pt x="520407" y="77786"/>
                </a:lnTo>
                <a:lnTo>
                  <a:pt x="473048" y="77786"/>
                </a:lnTo>
                <a:lnTo>
                  <a:pt x="462142" y="108402"/>
                </a:lnTo>
                <a:lnTo>
                  <a:pt x="448995" y="108402"/>
                </a:lnTo>
                <a:lnTo>
                  <a:pt x="487092" y="1307"/>
                </a:lnTo>
                <a:lnTo>
                  <a:pt x="508007" y="1307"/>
                </a:lnTo>
                <a:lnTo>
                  <a:pt x="546402" y="108402"/>
                </a:lnTo>
                <a:close/>
                <a:moveTo>
                  <a:pt x="477680" y="65091"/>
                </a:moveTo>
                <a:lnTo>
                  <a:pt x="515925" y="65091"/>
                </a:lnTo>
                <a:lnTo>
                  <a:pt x="496802" y="11761"/>
                </a:lnTo>
                <a:lnTo>
                  <a:pt x="477680" y="65091"/>
                </a:lnTo>
                <a:close/>
                <a:moveTo>
                  <a:pt x="562002" y="1307"/>
                </a:moveTo>
                <a:lnTo>
                  <a:pt x="627438" y="1307"/>
                </a:lnTo>
                <a:lnTo>
                  <a:pt x="627438" y="14188"/>
                </a:lnTo>
                <a:lnTo>
                  <a:pt x="576046" y="14188"/>
                </a:lnTo>
                <a:lnTo>
                  <a:pt x="576046" y="49720"/>
                </a:lnTo>
                <a:lnTo>
                  <a:pt x="619670" y="49720"/>
                </a:lnTo>
                <a:lnTo>
                  <a:pt x="619670" y="62415"/>
                </a:lnTo>
                <a:lnTo>
                  <a:pt x="576046" y="62415"/>
                </a:lnTo>
                <a:lnTo>
                  <a:pt x="576046" y="108402"/>
                </a:lnTo>
                <a:lnTo>
                  <a:pt x="562002" y="108402"/>
                </a:lnTo>
                <a:lnTo>
                  <a:pt x="562002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7" name="Полилиния 1016">
            <a:extLst>
              <a:ext uri="{FF2B5EF4-FFF2-40B4-BE49-F238E27FC236}">
                <a16:creationId xmlns:a16="http://schemas.microsoft.com/office/drawing/2014/main" id="{B72D511D-5CC8-13CA-6F03-B65C2B602E02}"/>
              </a:ext>
            </a:extLst>
          </p:cNvPr>
          <p:cNvSpPr/>
          <p:nvPr userDrawn="1"/>
        </p:nvSpPr>
        <p:spPr>
          <a:xfrm>
            <a:off x="18445574" y="9597431"/>
            <a:ext cx="1398954" cy="726227"/>
          </a:xfrm>
          <a:custGeom>
            <a:avLst/>
            <a:gdLst>
              <a:gd name="connsiteX0" fmla="*/ 850 w 1198727"/>
              <a:gd name="connsiteY0" fmla="*/ 1822 h 622284"/>
              <a:gd name="connsiteX1" fmla="*/ 1199578 w 1198727"/>
              <a:gd name="connsiteY1" fmla="*/ 1822 h 622284"/>
              <a:gd name="connsiteX2" fmla="*/ 1199578 w 1198727"/>
              <a:gd name="connsiteY2" fmla="*/ 624106 h 622284"/>
              <a:gd name="connsiteX3" fmla="*/ 850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822"/>
                </a:moveTo>
                <a:lnTo>
                  <a:pt x="1199578" y="1822"/>
                </a:lnTo>
                <a:lnTo>
                  <a:pt x="1199578" y="624106"/>
                </a:lnTo>
                <a:lnTo>
                  <a:pt x="850" y="624106"/>
                </a:lnTo>
                <a:close/>
              </a:path>
            </a:pathLst>
          </a:custGeom>
          <a:solidFill>
            <a:srgbClr val="FFBED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8" name="Полилиния 1017">
            <a:extLst>
              <a:ext uri="{FF2B5EF4-FFF2-40B4-BE49-F238E27FC236}">
                <a16:creationId xmlns:a16="http://schemas.microsoft.com/office/drawing/2014/main" id="{DF9A153B-C4A9-A2DE-E4C1-4717D6AE5F80}"/>
              </a:ext>
            </a:extLst>
          </p:cNvPr>
          <p:cNvSpPr/>
          <p:nvPr userDrawn="1"/>
        </p:nvSpPr>
        <p:spPr>
          <a:xfrm>
            <a:off x="18568782" y="9900922"/>
            <a:ext cx="737283" cy="124982"/>
          </a:xfrm>
          <a:custGeom>
            <a:avLst/>
            <a:gdLst>
              <a:gd name="connsiteX0" fmla="*/ 22111 w 631758"/>
              <a:gd name="connsiteY0" fmla="*/ 107095 h 107094"/>
              <a:gd name="connsiteX1" fmla="*/ 10159 w 631758"/>
              <a:gd name="connsiteY1" fmla="*/ 107095 h 107094"/>
              <a:gd name="connsiteX2" fmla="*/ 16433 w 631758"/>
              <a:gd name="connsiteY2" fmla="*/ 76168 h 107094"/>
              <a:gd name="connsiteX3" fmla="*/ 0 w 631758"/>
              <a:gd name="connsiteY3" fmla="*/ 76168 h 107094"/>
              <a:gd name="connsiteX4" fmla="*/ 0 w 631758"/>
              <a:gd name="connsiteY4" fmla="*/ 65713 h 107094"/>
              <a:gd name="connsiteX5" fmla="*/ 18675 w 631758"/>
              <a:gd name="connsiteY5" fmla="*/ 65713 h 107094"/>
              <a:gd name="connsiteX6" fmla="*/ 24202 w 631758"/>
              <a:gd name="connsiteY6" fmla="*/ 38519 h 107094"/>
              <a:gd name="connsiteX7" fmla="*/ 4033 w 631758"/>
              <a:gd name="connsiteY7" fmla="*/ 38519 h 107094"/>
              <a:gd name="connsiteX8" fmla="*/ 4033 w 631758"/>
              <a:gd name="connsiteY8" fmla="*/ 28065 h 107094"/>
              <a:gd name="connsiteX9" fmla="*/ 26294 w 631758"/>
              <a:gd name="connsiteY9" fmla="*/ 28065 h 107094"/>
              <a:gd name="connsiteX10" fmla="*/ 32120 w 631758"/>
              <a:gd name="connsiteY10" fmla="*/ 0 h 107094"/>
              <a:gd name="connsiteX11" fmla="*/ 44072 w 631758"/>
              <a:gd name="connsiteY11" fmla="*/ 0 h 107094"/>
              <a:gd name="connsiteX12" fmla="*/ 38246 w 631758"/>
              <a:gd name="connsiteY12" fmla="*/ 28065 h 107094"/>
              <a:gd name="connsiteX13" fmla="*/ 60655 w 631758"/>
              <a:gd name="connsiteY13" fmla="*/ 28065 h 107094"/>
              <a:gd name="connsiteX14" fmla="*/ 66482 w 631758"/>
              <a:gd name="connsiteY14" fmla="*/ 0 h 107094"/>
              <a:gd name="connsiteX15" fmla="*/ 78434 w 631758"/>
              <a:gd name="connsiteY15" fmla="*/ 0 h 107094"/>
              <a:gd name="connsiteX16" fmla="*/ 72607 w 631758"/>
              <a:gd name="connsiteY16" fmla="*/ 28065 h 107094"/>
              <a:gd name="connsiteX17" fmla="*/ 89340 w 631758"/>
              <a:gd name="connsiteY17" fmla="*/ 28065 h 107094"/>
              <a:gd name="connsiteX18" fmla="*/ 89340 w 631758"/>
              <a:gd name="connsiteY18" fmla="*/ 38519 h 107094"/>
              <a:gd name="connsiteX19" fmla="*/ 70516 w 631758"/>
              <a:gd name="connsiteY19" fmla="*/ 38519 h 107094"/>
              <a:gd name="connsiteX20" fmla="*/ 64988 w 631758"/>
              <a:gd name="connsiteY20" fmla="*/ 65713 h 107094"/>
              <a:gd name="connsiteX21" fmla="*/ 85306 w 631758"/>
              <a:gd name="connsiteY21" fmla="*/ 65713 h 107094"/>
              <a:gd name="connsiteX22" fmla="*/ 85306 w 631758"/>
              <a:gd name="connsiteY22" fmla="*/ 76168 h 107094"/>
              <a:gd name="connsiteX23" fmla="*/ 62747 w 631758"/>
              <a:gd name="connsiteY23" fmla="*/ 76168 h 107094"/>
              <a:gd name="connsiteX24" fmla="*/ 56472 w 631758"/>
              <a:gd name="connsiteY24" fmla="*/ 107095 h 107094"/>
              <a:gd name="connsiteX25" fmla="*/ 44520 w 631758"/>
              <a:gd name="connsiteY25" fmla="*/ 107095 h 107094"/>
              <a:gd name="connsiteX26" fmla="*/ 50795 w 631758"/>
              <a:gd name="connsiteY26" fmla="*/ 76168 h 107094"/>
              <a:gd name="connsiteX27" fmla="*/ 28386 w 631758"/>
              <a:gd name="connsiteY27" fmla="*/ 76168 h 107094"/>
              <a:gd name="connsiteX28" fmla="*/ 22111 w 631758"/>
              <a:gd name="connsiteY28" fmla="*/ 107095 h 107094"/>
              <a:gd name="connsiteX29" fmla="*/ 30626 w 631758"/>
              <a:gd name="connsiteY29" fmla="*/ 65713 h 107094"/>
              <a:gd name="connsiteX30" fmla="*/ 53036 w 631758"/>
              <a:gd name="connsiteY30" fmla="*/ 65713 h 107094"/>
              <a:gd name="connsiteX31" fmla="*/ 58564 w 631758"/>
              <a:gd name="connsiteY31" fmla="*/ 38519 h 107094"/>
              <a:gd name="connsiteX32" fmla="*/ 36154 w 631758"/>
              <a:gd name="connsiteY32" fmla="*/ 38519 h 107094"/>
              <a:gd name="connsiteX33" fmla="*/ 30626 w 631758"/>
              <a:gd name="connsiteY33" fmla="*/ 65713 h 107094"/>
              <a:gd name="connsiteX34" fmla="*/ 107827 w 631758"/>
              <a:gd name="connsiteY34" fmla="*/ 0 h 107094"/>
              <a:gd name="connsiteX35" fmla="*/ 173264 w 631758"/>
              <a:gd name="connsiteY35" fmla="*/ 0 h 107094"/>
              <a:gd name="connsiteX36" fmla="*/ 173264 w 631758"/>
              <a:gd name="connsiteY36" fmla="*/ 12881 h 107094"/>
              <a:gd name="connsiteX37" fmla="*/ 121871 w 631758"/>
              <a:gd name="connsiteY37" fmla="*/ 12881 h 107094"/>
              <a:gd name="connsiteX38" fmla="*/ 121871 w 631758"/>
              <a:gd name="connsiteY38" fmla="*/ 48413 h 107094"/>
              <a:gd name="connsiteX39" fmla="*/ 165495 w 631758"/>
              <a:gd name="connsiteY39" fmla="*/ 48413 h 107094"/>
              <a:gd name="connsiteX40" fmla="*/ 165495 w 631758"/>
              <a:gd name="connsiteY40" fmla="*/ 61108 h 107094"/>
              <a:gd name="connsiteX41" fmla="*/ 121871 w 631758"/>
              <a:gd name="connsiteY41" fmla="*/ 61108 h 107094"/>
              <a:gd name="connsiteX42" fmla="*/ 121871 w 631758"/>
              <a:gd name="connsiteY42" fmla="*/ 107095 h 107094"/>
              <a:gd name="connsiteX43" fmla="*/ 107827 w 631758"/>
              <a:gd name="connsiteY43" fmla="*/ 107095 h 107094"/>
              <a:gd name="connsiteX44" fmla="*/ 107827 w 631758"/>
              <a:gd name="connsiteY44" fmla="*/ 0 h 107094"/>
              <a:gd name="connsiteX45" fmla="*/ 192735 w 631758"/>
              <a:gd name="connsiteY45" fmla="*/ 0 h 107094"/>
              <a:gd name="connsiteX46" fmla="*/ 258171 w 631758"/>
              <a:gd name="connsiteY46" fmla="*/ 0 h 107094"/>
              <a:gd name="connsiteX47" fmla="*/ 258171 w 631758"/>
              <a:gd name="connsiteY47" fmla="*/ 12881 h 107094"/>
              <a:gd name="connsiteX48" fmla="*/ 206778 w 631758"/>
              <a:gd name="connsiteY48" fmla="*/ 12881 h 107094"/>
              <a:gd name="connsiteX49" fmla="*/ 206778 w 631758"/>
              <a:gd name="connsiteY49" fmla="*/ 48413 h 107094"/>
              <a:gd name="connsiteX50" fmla="*/ 250402 w 631758"/>
              <a:gd name="connsiteY50" fmla="*/ 48413 h 107094"/>
              <a:gd name="connsiteX51" fmla="*/ 250402 w 631758"/>
              <a:gd name="connsiteY51" fmla="*/ 61108 h 107094"/>
              <a:gd name="connsiteX52" fmla="*/ 206778 w 631758"/>
              <a:gd name="connsiteY52" fmla="*/ 61108 h 107094"/>
              <a:gd name="connsiteX53" fmla="*/ 206778 w 631758"/>
              <a:gd name="connsiteY53" fmla="*/ 107095 h 107094"/>
              <a:gd name="connsiteX54" fmla="*/ 192735 w 631758"/>
              <a:gd name="connsiteY54" fmla="*/ 107095 h 107094"/>
              <a:gd name="connsiteX55" fmla="*/ 192735 w 631758"/>
              <a:gd name="connsiteY55" fmla="*/ 0 h 107094"/>
              <a:gd name="connsiteX56" fmla="*/ 277649 w 631758"/>
              <a:gd name="connsiteY56" fmla="*/ 0 h 107094"/>
              <a:gd name="connsiteX57" fmla="*/ 313953 w 631758"/>
              <a:gd name="connsiteY57" fmla="*/ 0 h 107094"/>
              <a:gd name="connsiteX58" fmla="*/ 340694 w 631758"/>
              <a:gd name="connsiteY58" fmla="*/ 5974 h 107094"/>
              <a:gd name="connsiteX59" fmla="*/ 349957 w 631758"/>
              <a:gd name="connsiteY59" fmla="*/ 26136 h 107094"/>
              <a:gd name="connsiteX60" fmla="*/ 344131 w 631758"/>
              <a:gd name="connsiteY60" fmla="*/ 43622 h 107094"/>
              <a:gd name="connsiteX61" fmla="*/ 328593 w 631758"/>
              <a:gd name="connsiteY61" fmla="*/ 51525 h 107094"/>
              <a:gd name="connsiteX62" fmla="*/ 347417 w 631758"/>
              <a:gd name="connsiteY62" fmla="*/ 58868 h 107094"/>
              <a:gd name="connsiteX63" fmla="*/ 353841 w 631758"/>
              <a:gd name="connsiteY63" fmla="*/ 76168 h 107094"/>
              <a:gd name="connsiteX64" fmla="*/ 348613 w 631758"/>
              <a:gd name="connsiteY64" fmla="*/ 94089 h 107094"/>
              <a:gd name="connsiteX65" fmla="*/ 334270 w 631758"/>
              <a:gd name="connsiteY65" fmla="*/ 104108 h 107094"/>
              <a:gd name="connsiteX66" fmla="*/ 313654 w 631758"/>
              <a:gd name="connsiteY66" fmla="*/ 107095 h 107094"/>
              <a:gd name="connsiteX67" fmla="*/ 277649 w 631758"/>
              <a:gd name="connsiteY67" fmla="*/ 107095 h 107094"/>
              <a:gd name="connsiteX68" fmla="*/ 277649 w 631758"/>
              <a:gd name="connsiteY68" fmla="*/ 0 h 107094"/>
              <a:gd name="connsiteX69" fmla="*/ 312907 w 631758"/>
              <a:gd name="connsiteY69" fmla="*/ 45738 h 107094"/>
              <a:gd name="connsiteX70" fmla="*/ 329340 w 631758"/>
              <a:gd name="connsiteY70" fmla="*/ 41257 h 107094"/>
              <a:gd name="connsiteX71" fmla="*/ 335764 w 631758"/>
              <a:gd name="connsiteY71" fmla="*/ 26882 h 107094"/>
              <a:gd name="connsiteX72" fmla="*/ 330087 w 631758"/>
              <a:gd name="connsiteY72" fmla="*/ 15868 h 107094"/>
              <a:gd name="connsiteX73" fmla="*/ 313953 w 631758"/>
              <a:gd name="connsiteY73" fmla="*/ 12881 h 107094"/>
              <a:gd name="connsiteX74" fmla="*/ 291692 w 631758"/>
              <a:gd name="connsiteY74" fmla="*/ 12881 h 107094"/>
              <a:gd name="connsiteX75" fmla="*/ 291692 w 631758"/>
              <a:gd name="connsiteY75" fmla="*/ 45738 h 107094"/>
              <a:gd name="connsiteX76" fmla="*/ 312907 w 631758"/>
              <a:gd name="connsiteY76" fmla="*/ 45738 h 107094"/>
              <a:gd name="connsiteX77" fmla="*/ 313654 w 631758"/>
              <a:gd name="connsiteY77" fmla="*/ 94400 h 107094"/>
              <a:gd name="connsiteX78" fmla="*/ 332030 w 631758"/>
              <a:gd name="connsiteY78" fmla="*/ 90542 h 107094"/>
              <a:gd name="connsiteX79" fmla="*/ 339051 w 631758"/>
              <a:gd name="connsiteY79" fmla="*/ 76478 h 107094"/>
              <a:gd name="connsiteX80" fmla="*/ 332478 w 631758"/>
              <a:gd name="connsiteY80" fmla="*/ 62415 h 107094"/>
              <a:gd name="connsiteX81" fmla="*/ 312010 w 631758"/>
              <a:gd name="connsiteY81" fmla="*/ 58433 h 107094"/>
              <a:gd name="connsiteX82" fmla="*/ 291692 w 631758"/>
              <a:gd name="connsiteY82" fmla="*/ 58433 h 107094"/>
              <a:gd name="connsiteX83" fmla="*/ 291692 w 631758"/>
              <a:gd name="connsiteY83" fmla="*/ 94400 h 107094"/>
              <a:gd name="connsiteX84" fmla="*/ 313654 w 631758"/>
              <a:gd name="connsiteY84" fmla="*/ 94400 h 107094"/>
              <a:gd name="connsiteX85" fmla="*/ 373942 w 631758"/>
              <a:gd name="connsiteY85" fmla="*/ 0 h 107094"/>
              <a:gd name="connsiteX86" fmla="*/ 440274 w 631758"/>
              <a:gd name="connsiteY86" fmla="*/ 0 h 107094"/>
              <a:gd name="connsiteX87" fmla="*/ 440274 w 631758"/>
              <a:gd name="connsiteY87" fmla="*/ 12881 h 107094"/>
              <a:gd name="connsiteX88" fmla="*/ 387985 w 631758"/>
              <a:gd name="connsiteY88" fmla="*/ 12881 h 107094"/>
              <a:gd name="connsiteX89" fmla="*/ 387985 w 631758"/>
              <a:gd name="connsiteY89" fmla="*/ 45240 h 107094"/>
              <a:gd name="connsiteX90" fmla="*/ 432356 w 631758"/>
              <a:gd name="connsiteY90" fmla="*/ 45240 h 107094"/>
              <a:gd name="connsiteX91" fmla="*/ 432356 w 631758"/>
              <a:gd name="connsiteY91" fmla="*/ 57934 h 107094"/>
              <a:gd name="connsiteX92" fmla="*/ 387985 w 631758"/>
              <a:gd name="connsiteY92" fmla="*/ 57934 h 107094"/>
              <a:gd name="connsiteX93" fmla="*/ 387985 w 631758"/>
              <a:gd name="connsiteY93" fmla="*/ 94400 h 107094"/>
              <a:gd name="connsiteX94" fmla="*/ 441021 w 631758"/>
              <a:gd name="connsiteY94" fmla="*/ 94400 h 107094"/>
              <a:gd name="connsiteX95" fmla="*/ 441021 w 631758"/>
              <a:gd name="connsiteY95" fmla="*/ 107095 h 107094"/>
              <a:gd name="connsiteX96" fmla="*/ 373942 w 631758"/>
              <a:gd name="connsiteY96" fmla="*/ 107095 h 107094"/>
              <a:gd name="connsiteX97" fmla="*/ 373942 w 631758"/>
              <a:gd name="connsiteY97" fmla="*/ 0 h 107094"/>
              <a:gd name="connsiteX98" fmla="*/ 463225 w 631758"/>
              <a:gd name="connsiteY98" fmla="*/ 0 h 107094"/>
              <a:gd name="connsiteX99" fmla="*/ 499230 w 631758"/>
              <a:gd name="connsiteY99" fmla="*/ 0 h 107094"/>
              <a:gd name="connsiteX100" fmla="*/ 519249 w 631758"/>
              <a:gd name="connsiteY100" fmla="*/ 2551 h 107094"/>
              <a:gd name="connsiteX101" fmla="*/ 535384 w 631758"/>
              <a:gd name="connsiteY101" fmla="*/ 10890 h 107094"/>
              <a:gd name="connsiteX102" fmla="*/ 546141 w 631758"/>
              <a:gd name="connsiteY102" fmla="*/ 26136 h 107094"/>
              <a:gd name="connsiteX103" fmla="*/ 550025 w 631758"/>
              <a:gd name="connsiteY103" fmla="*/ 49907 h 107094"/>
              <a:gd name="connsiteX104" fmla="*/ 543153 w 631758"/>
              <a:gd name="connsiteY104" fmla="*/ 81581 h 107094"/>
              <a:gd name="connsiteX105" fmla="*/ 524628 w 631758"/>
              <a:gd name="connsiteY105" fmla="*/ 100685 h 107094"/>
              <a:gd name="connsiteX106" fmla="*/ 497587 w 631758"/>
              <a:gd name="connsiteY106" fmla="*/ 107095 h 107094"/>
              <a:gd name="connsiteX107" fmla="*/ 463225 w 631758"/>
              <a:gd name="connsiteY107" fmla="*/ 107095 h 107094"/>
              <a:gd name="connsiteX108" fmla="*/ 463225 w 631758"/>
              <a:gd name="connsiteY108" fmla="*/ 0 h 107094"/>
              <a:gd name="connsiteX109" fmla="*/ 497587 w 631758"/>
              <a:gd name="connsiteY109" fmla="*/ 94400 h 107094"/>
              <a:gd name="connsiteX110" fmla="*/ 517009 w 631758"/>
              <a:gd name="connsiteY110" fmla="*/ 89920 h 107094"/>
              <a:gd name="connsiteX111" fmla="*/ 530006 w 631758"/>
              <a:gd name="connsiteY111" fmla="*/ 75732 h 107094"/>
              <a:gd name="connsiteX112" fmla="*/ 534787 w 631758"/>
              <a:gd name="connsiteY112" fmla="*/ 50965 h 107094"/>
              <a:gd name="connsiteX113" fmla="*/ 530156 w 631758"/>
              <a:gd name="connsiteY113" fmla="*/ 27629 h 107094"/>
              <a:gd name="connsiteX114" fmla="*/ 517457 w 631758"/>
              <a:gd name="connsiteY114" fmla="*/ 16117 h 107094"/>
              <a:gd name="connsiteX115" fmla="*/ 499230 w 631758"/>
              <a:gd name="connsiteY115" fmla="*/ 12881 h 107094"/>
              <a:gd name="connsiteX116" fmla="*/ 477269 w 631758"/>
              <a:gd name="connsiteY116" fmla="*/ 12881 h 107094"/>
              <a:gd name="connsiteX117" fmla="*/ 477269 w 631758"/>
              <a:gd name="connsiteY117" fmla="*/ 94400 h 107094"/>
              <a:gd name="connsiteX118" fmla="*/ 497587 w 631758"/>
              <a:gd name="connsiteY118" fmla="*/ 94400 h 107094"/>
              <a:gd name="connsiteX119" fmla="*/ 631758 w 631758"/>
              <a:gd name="connsiteY119" fmla="*/ 12134 h 107094"/>
              <a:gd name="connsiteX120" fmla="*/ 586342 w 631758"/>
              <a:gd name="connsiteY120" fmla="*/ 107095 h 107094"/>
              <a:gd name="connsiteX121" fmla="*/ 571701 w 631758"/>
              <a:gd name="connsiteY121" fmla="*/ 107095 h 107094"/>
              <a:gd name="connsiteX122" fmla="*/ 617416 w 631758"/>
              <a:gd name="connsiteY122" fmla="*/ 12881 h 107094"/>
              <a:gd name="connsiteX123" fmla="*/ 562886 w 631758"/>
              <a:gd name="connsiteY123" fmla="*/ 12881 h 107094"/>
              <a:gd name="connsiteX124" fmla="*/ 562886 w 631758"/>
              <a:gd name="connsiteY124" fmla="*/ 0 h 107094"/>
              <a:gd name="connsiteX125" fmla="*/ 631758 w 631758"/>
              <a:gd name="connsiteY125" fmla="*/ 0 h 107094"/>
              <a:gd name="connsiteX126" fmla="*/ 631758 w 631758"/>
              <a:gd name="connsiteY126" fmla="*/ 12134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631758" h="107094">
                <a:moveTo>
                  <a:pt x="22111" y="107095"/>
                </a:moveTo>
                <a:lnTo>
                  <a:pt x="10159" y="107095"/>
                </a:lnTo>
                <a:lnTo>
                  <a:pt x="16433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3" y="38519"/>
                </a:lnTo>
                <a:lnTo>
                  <a:pt x="4033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7" y="0"/>
                </a:moveTo>
                <a:lnTo>
                  <a:pt x="173264" y="0"/>
                </a:lnTo>
                <a:lnTo>
                  <a:pt x="173264" y="12881"/>
                </a:lnTo>
                <a:lnTo>
                  <a:pt x="121871" y="12881"/>
                </a:lnTo>
                <a:lnTo>
                  <a:pt x="121871" y="48413"/>
                </a:lnTo>
                <a:lnTo>
                  <a:pt x="165495" y="48413"/>
                </a:lnTo>
                <a:lnTo>
                  <a:pt x="165495" y="61108"/>
                </a:lnTo>
                <a:lnTo>
                  <a:pt x="121871" y="61108"/>
                </a:lnTo>
                <a:lnTo>
                  <a:pt x="121871" y="107095"/>
                </a:lnTo>
                <a:lnTo>
                  <a:pt x="107827" y="107095"/>
                </a:lnTo>
                <a:lnTo>
                  <a:pt x="107827" y="0"/>
                </a:lnTo>
                <a:close/>
                <a:moveTo>
                  <a:pt x="192735" y="0"/>
                </a:moveTo>
                <a:lnTo>
                  <a:pt x="258171" y="0"/>
                </a:lnTo>
                <a:lnTo>
                  <a:pt x="258171" y="12881"/>
                </a:lnTo>
                <a:lnTo>
                  <a:pt x="206778" y="12881"/>
                </a:lnTo>
                <a:lnTo>
                  <a:pt x="206778" y="48413"/>
                </a:lnTo>
                <a:lnTo>
                  <a:pt x="250402" y="48413"/>
                </a:lnTo>
                <a:lnTo>
                  <a:pt x="250402" y="61108"/>
                </a:lnTo>
                <a:lnTo>
                  <a:pt x="206778" y="61108"/>
                </a:lnTo>
                <a:lnTo>
                  <a:pt x="206778" y="107095"/>
                </a:lnTo>
                <a:lnTo>
                  <a:pt x="192735" y="107095"/>
                </a:lnTo>
                <a:lnTo>
                  <a:pt x="192735" y="0"/>
                </a:lnTo>
                <a:close/>
                <a:moveTo>
                  <a:pt x="277649" y="0"/>
                </a:moveTo>
                <a:lnTo>
                  <a:pt x="313953" y="0"/>
                </a:lnTo>
                <a:cubicBezTo>
                  <a:pt x="325705" y="0"/>
                  <a:pt x="334619" y="1991"/>
                  <a:pt x="340694" y="5974"/>
                </a:cubicBezTo>
                <a:cubicBezTo>
                  <a:pt x="346870" y="9956"/>
                  <a:pt x="349957" y="16677"/>
                  <a:pt x="349957" y="26136"/>
                </a:cubicBezTo>
                <a:cubicBezTo>
                  <a:pt x="349957" y="33790"/>
                  <a:pt x="348015" y="39639"/>
                  <a:pt x="344131" y="43622"/>
                </a:cubicBezTo>
                <a:cubicBezTo>
                  <a:pt x="340247" y="47480"/>
                  <a:pt x="335067" y="50156"/>
                  <a:pt x="328593" y="51525"/>
                </a:cubicBezTo>
                <a:cubicBezTo>
                  <a:pt x="336860" y="52520"/>
                  <a:pt x="343135" y="54947"/>
                  <a:pt x="347417" y="58868"/>
                </a:cubicBezTo>
                <a:cubicBezTo>
                  <a:pt x="351700" y="62664"/>
                  <a:pt x="353841" y="68389"/>
                  <a:pt x="353841" y="76168"/>
                </a:cubicBezTo>
                <a:cubicBezTo>
                  <a:pt x="353841" y="83572"/>
                  <a:pt x="352099" y="89547"/>
                  <a:pt x="348613" y="94089"/>
                </a:cubicBezTo>
                <a:cubicBezTo>
                  <a:pt x="345127" y="98694"/>
                  <a:pt x="340346" y="101992"/>
                  <a:pt x="334270" y="104108"/>
                </a:cubicBezTo>
                <a:cubicBezTo>
                  <a:pt x="328195" y="106099"/>
                  <a:pt x="321323" y="107095"/>
                  <a:pt x="313654" y="107095"/>
                </a:cubicBezTo>
                <a:lnTo>
                  <a:pt x="277649" y="107095"/>
                </a:lnTo>
                <a:lnTo>
                  <a:pt x="277649" y="0"/>
                </a:lnTo>
                <a:close/>
                <a:moveTo>
                  <a:pt x="312907" y="45738"/>
                </a:moveTo>
                <a:cubicBezTo>
                  <a:pt x="319679" y="45738"/>
                  <a:pt x="325157" y="44244"/>
                  <a:pt x="329340" y="41257"/>
                </a:cubicBezTo>
                <a:cubicBezTo>
                  <a:pt x="333623" y="38146"/>
                  <a:pt x="335764" y="33354"/>
                  <a:pt x="335764" y="26882"/>
                </a:cubicBezTo>
                <a:cubicBezTo>
                  <a:pt x="335764" y="21406"/>
                  <a:pt x="333872" y="17735"/>
                  <a:pt x="330087" y="15868"/>
                </a:cubicBezTo>
                <a:cubicBezTo>
                  <a:pt x="326303" y="13877"/>
                  <a:pt x="320924" y="12881"/>
                  <a:pt x="313953" y="12881"/>
                </a:cubicBezTo>
                <a:lnTo>
                  <a:pt x="291692" y="12881"/>
                </a:lnTo>
                <a:lnTo>
                  <a:pt x="291692" y="45738"/>
                </a:lnTo>
                <a:lnTo>
                  <a:pt x="312907" y="45738"/>
                </a:lnTo>
                <a:close/>
                <a:moveTo>
                  <a:pt x="313654" y="94400"/>
                </a:moveTo>
                <a:cubicBezTo>
                  <a:pt x="321223" y="94400"/>
                  <a:pt x="327348" y="93093"/>
                  <a:pt x="332030" y="90542"/>
                </a:cubicBezTo>
                <a:cubicBezTo>
                  <a:pt x="336711" y="87929"/>
                  <a:pt x="339051" y="83262"/>
                  <a:pt x="339051" y="76478"/>
                </a:cubicBezTo>
                <a:cubicBezTo>
                  <a:pt x="339051" y="69696"/>
                  <a:pt x="336860" y="65028"/>
                  <a:pt x="332478" y="62415"/>
                </a:cubicBezTo>
                <a:cubicBezTo>
                  <a:pt x="328195" y="59739"/>
                  <a:pt x="321372" y="58433"/>
                  <a:pt x="312010" y="58433"/>
                </a:cubicBezTo>
                <a:lnTo>
                  <a:pt x="291692" y="58433"/>
                </a:lnTo>
                <a:lnTo>
                  <a:pt x="291692" y="94400"/>
                </a:lnTo>
                <a:lnTo>
                  <a:pt x="313654" y="94400"/>
                </a:lnTo>
                <a:close/>
                <a:moveTo>
                  <a:pt x="373942" y="0"/>
                </a:moveTo>
                <a:lnTo>
                  <a:pt x="440274" y="0"/>
                </a:lnTo>
                <a:lnTo>
                  <a:pt x="440274" y="12881"/>
                </a:lnTo>
                <a:lnTo>
                  <a:pt x="387985" y="12881"/>
                </a:lnTo>
                <a:lnTo>
                  <a:pt x="387985" y="45240"/>
                </a:lnTo>
                <a:lnTo>
                  <a:pt x="432356" y="45240"/>
                </a:lnTo>
                <a:lnTo>
                  <a:pt x="432356" y="57934"/>
                </a:lnTo>
                <a:lnTo>
                  <a:pt x="387985" y="57934"/>
                </a:lnTo>
                <a:lnTo>
                  <a:pt x="387985" y="94400"/>
                </a:lnTo>
                <a:lnTo>
                  <a:pt x="441021" y="94400"/>
                </a:lnTo>
                <a:lnTo>
                  <a:pt x="441021" y="107095"/>
                </a:lnTo>
                <a:lnTo>
                  <a:pt x="373942" y="107095"/>
                </a:lnTo>
                <a:lnTo>
                  <a:pt x="373942" y="0"/>
                </a:lnTo>
                <a:close/>
                <a:moveTo>
                  <a:pt x="463225" y="0"/>
                </a:moveTo>
                <a:lnTo>
                  <a:pt x="499230" y="0"/>
                </a:lnTo>
                <a:cubicBezTo>
                  <a:pt x="506401" y="0"/>
                  <a:pt x="513074" y="871"/>
                  <a:pt x="519249" y="2551"/>
                </a:cubicBezTo>
                <a:cubicBezTo>
                  <a:pt x="525425" y="4231"/>
                  <a:pt x="530803" y="7032"/>
                  <a:pt x="535384" y="10890"/>
                </a:cubicBezTo>
                <a:cubicBezTo>
                  <a:pt x="539966" y="14686"/>
                  <a:pt x="543551" y="19788"/>
                  <a:pt x="546141" y="26136"/>
                </a:cubicBezTo>
                <a:cubicBezTo>
                  <a:pt x="548731" y="32545"/>
                  <a:pt x="550025" y="40448"/>
                  <a:pt x="550025" y="49907"/>
                </a:cubicBezTo>
                <a:cubicBezTo>
                  <a:pt x="550025" y="62415"/>
                  <a:pt x="547735" y="72994"/>
                  <a:pt x="543153" y="81581"/>
                </a:cubicBezTo>
                <a:cubicBezTo>
                  <a:pt x="538671" y="90044"/>
                  <a:pt x="532496" y="96392"/>
                  <a:pt x="524628" y="100685"/>
                </a:cubicBezTo>
                <a:cubicBezTo>
                  <a:pt x="516759" y="104979"/>
                  <a:pt x="507746" y="107095"/>
                  <a:pt x="497587" y="107095"/>
                </a:cubicBezTo>
                <a:lnTo>
                  <a:pt x="463225" y="107095"/>
                </a:lnTo>
                <a:lnTo>
                  <a:pt x="463225" y="0"/>
                </a:lnTo>
                <a:close/>
                <a:moveTo>
                  <a:pt x="497587" y="94400"/>
                </a:moveTo>
                <a:cubicBezTo>
                  <a:pt x="504957" y="94400"/>
                  <a:pt x="511431" y="92907"/>
                  <a:pt x="517009" y="89920"/>
                </a:cubicBezTo>
                <a:cubicBezTo>
                  <a:pt x="522586" y="86808"/>
                  <a:pt x="526919" y="82079"/>
                  <a:pt x="530006" y="75732"/>
                </a:cubicBezTo>
                <a:cubicBezTo>
                  <a:pt x="533193" y="69260"/>
                  <a:pt x="534787" y="60983"/>
                  <a:pt x="534787" y="50965"/>
                </a:cubicBezTo>
                <a:cubicBezTo>
                  <a:pt x="534787" y="40884"/>
                  <a:pt x="533243" y="33105"/>
                  <a:pt x="530156" y="27629"/>
                </a:cubicBezTo>
                <a:cubicBezTo>
                  <a:pt x="527068" y="22153"/>
                  <a:pt x="522835" y="18357"/>
                  <a:pt x="517457" y="16117"/>
                </a:cubicBezTo>
                <a:cubicBezTo>
                  <a:pt x="512178" y="13939"/>
                  <a:pt x="506103" y="12881"/>
                  <a:pt x="499230" y="12881"/>
                </a:cubicBezTo>
                <a:lnTo>
                  <a:pt x="477269" y="12881"/>
                </a:lnTo>
                <a:lnTo>
                  <a:pt x="477269" y="94400"/>
                </a:lnTo>
                <a:lnTo>
                  <a:pt x="497587" y="94400"/>
                </a:lnTo>
                <a:close/>
                <a:moveTo>
                  <a:pt x="631758" y="12134"/>
                </a:moveTo>
                <a:lnTo>
                  <a:pt x="586342" y="107095"/>
                </a:lnTo>
                <a:lnTo>
                  <a:pt x="571701" y="107095"/>
                </a:lnTo>
                <a:lnTo>
                  <a:pt x="617416" y="12881"/>
                </a:lnTo>
                <a:lnTo>
                  <a:pt x="562886" y="12881"/>
                </a:lnTo>
                <a:lnTo>
                  <a:pt x="562886" y="0"/>
                </a:lnTo>
                <a:lnTo>
                  <a:pt x="631758" y="0"/>
                </a:lnTo>
                <a:lnTo>
                  <a:pt x="631758" y="12134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9" name="Полилиния 1018">
            <a:extLst>
              <a:ext uri="{FF2B5EF4-FFF2-40B4-BE49-F238E27FC236}">
                <a16:creationId xmlns:a16="http://schemas.microsoft.com/office/drawing/2014/main" id="{D84B4BA6-03C0-55E9-1B5A-8D9F796AA41C}"/>
              </a:ext>
            </a:extLst>
          </p:cNvPr>
          <p:cNvSpPr/>
          <p:nvPr userDrawn="1"/>
        </p:nvSpPr>
        <p:spPr>
          <a:xfrm>
            <a:off x="18445574" y="10323656"/>
            <a:ext cx="1398954" cy="726227"/>
          </a:xfrm>
          <a:custGeom>
            <a:avLst/>
            <a:gdLst>
              <a:gd name="connsiteX0" fmla="*/ 0 w 1198727"/>
              <a:gd name="connsiteY0" fmla="*/ 0 h 622284"/>
              <a:gd name="connsiteX1" fmla="*/ 1198728 w 1198727"/>
              <a:gd name="connsiteY1" fmla="*/ 0 h 622284"/>
              <a:gd name="connsiteX2" fmla="*/ 1198728 w 1198727"/>
              <a:gd name="connsiteY2" fmla="*/ 472936 h 622284"/>
              <a:gd name="connsiteX3" fmla="*/ 1049331 w 1198727"/>
              <a:gd name="connsiteY3" fmla="*/ 622284 h 622284"/>
              <a:gd name="connsiteX4" fmla="*/ 149397 w 1198727"/>
              <a:gd name="connsiteY4" fmla="*/ 622284 h 622284"/>
              <a:gd name="connsiteX5" fmla="*/ 0 w 1198727"/>
              <a:gd name="connsiteY5" fmla="*/ 472936 h 622284"/>
              <a:gd name="connsiteX6" fmla="*/ 0 w 1198727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7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10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B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0" name="Полилиния 1019">
            <a:extLst>
              <a:ext uri="{FF2B5EF4-FFF2-40B4-BE49-F238E27FC236}">
                <a16:creationId xmlns:a16="http://schemas.microsoft.com/office/drawing/2014/main" id="{4301425C-5860-E7CF-2F5C-997C6151B89D}"/>
              </a:ext>
            </a:extLst>
          </p:cNvPr>
          <p:cNvSpPr/>
          <p:nvPr userDrawn="1"/>
        </p:nvSpPr>
        <p:spPr>
          <a:xfrm>
            <a:off x="18568782" y="10625622"/>
            <a:ext cx="714143" cy="128252"/>
          </a:xfrm>
          <a:custGeom>
            <a:avLst/>
            <a:gdLst>
              <a:gd name="connsiteX0" fmla="*/ 22111 w 611931"/>
              <a:gd name="connsiteY0" fmla="*/ 108402 h 109895"/>
              <a:gd name="connsiteX1" fmla="*/ 10159 w 611931"/>
              <a:gd name="connsiteY1" fmla="*/ 108402 h 109895"/>
              <a:gd name="connsiteX2" fmla="*/ 16433 w 611931"/>
              <a:gd name="connsiteY2" fmla="*/ 77475 h 109895"/>
              <a:gd name="connsiteX3" fmla="*/ 0 w 611931"/>
              <a:gd name="connsiteY3" fmla="*/ 77475 h 109895"/>
              <a:gd name="connsiteX4" fmla="*/ 0 w 611931"/>
              <a:gd name="connsiteY4" fmla="*/ 67020 h 109895"/>
              <a:gd name="connsiteX5" fmla="*/ 18675 w 611931"/>
              <a:gd name="connsiteY5" fmla="*/ 67020 h 109895"/>
              <a:gd name="connsiteX6" fmla="*/ 24202 w 611931"/>
              <a:gd name="connsiteY6" fmla="*/ 39826 h 109895"/>
              <a:gd name="connsiteX7" fmla="*/ 4033 w 611931"/>
              <a:gd name="connsiteY7" fmla="*/ 39826 h 109895"/>
              <a:gd name="connsiteX8" fmla="*/ 4033 w 611931"/>
              <a:gd name="connsiteY8" fmla="*/ 29372 h 109895"/>
              <a:gd name="connsiteX9" fmla="*/ 26294 w 611931"/>
              <a:gd name="connsiteY9" fmla="*/ 29372 h 109895"/>
              <a:gd name="connsiteX10" fmla="*/ 32120 w 611931"/>
              <a:gd name="connsiteY10" fmla="*/ 1307 h 109895"/>
              <a:gd name="connsiteX11" fmla="*/ 44072 w 611931"/>
              <a:gd name="connsiteY11" fmla="*/ 1307 h 109895"/>
              <a:gd name="connsiteX12" fmla="*/ 38246 w 611931"/>
              <a:gd name="connsiteY12" fmla="*/ 29372 h 109895"/>
              <a:gd name="connsiteX13" fmla="*/ 60655 w 611931"/>
              <a:gd name="connsiteY13" fmla="*/ 29372 h 109895"/>
              <a:gd name="connsiteX14" fmla="*/ 66482 w 611931"/>
              <a:gd name="connsiteY14" fmla="*/ 1307 h 109895"/>
              <a:gd name="connsiteX15" fmla="*/ 78434 w 611931"/>
              <a:gd name="connsiteY15" fmla="*/ 1307 h 109895"/>
              <a:gd name="connsiteX16" fmla="*/ 72607 w 611931"/>
              <a:gd name="connsiteY16" fmla="*/ 29372 h 109895"/>
              <a:gd name="connsiteX17" fmla="*/ 89340 w 611931"/>
              <a:gd name="connsiteY17" fmla="*/ 29372 h 109895"/>
              <a:gd name="connsiteX18" fmla="*/ 89340 w 611931"/>
              <a:gd name="connsiteY18" fmla="*/ 39826 h 109895"/>
              <a:gd name="connsiteX19" fmla="*/ 70516 w 611931"/>
              <a:gd name="connsiteY19" fmla="*/ 39826 h 109895"/>
              <a:gd name="connsiteX20" fmla="*/ 64988 w 611931"/>
              <a:gd name="connsiteY20" fmla="*/ 67020 h 109895"/>
              <a:gd name="connsiteX21" fmla="*/ 85306 w 611931"/>
              <a:gd name="connsiteY21" fmla="*/ 67020 h 109895"/>
              <a:gd name="connsiteX22" fmla="*/ 85306 w 611931"/>
              <a:gd name="connsiteY22" fmla="*/ 77475 h 109895"/>
              <a:gd name="connsiteX23" fmla="*/ 62747 w 611931"/>
              <a:gd name="connsiteY23" fmla="*/ 77475 h 109895"/>
              <a:gd name="connsiteX24" fmla="*/ 56472 w 611931"/>
              <a:gd name="connsiteY24" fmla="*/ 108402 h 109895"/>
              <a:gd name="connsiteX25" fmla="*/ 44520 w 611931"/>
              <a:gd name="connsiteY25" fmla="*/ 108402 h 109895"/>
              <a:gd name="connsiteX26" fmla="*/ 50795 w 611931"/>
              <a:gd name="connsiteY26" fmla="*/ 77475 h 109895"/>
              <a:gd name="connsiteX27" fmla="*/ 28386 w 611931"/>
              <a:gd name="connsiteY27" fmla="*/ 77475 h 109895"/>
              <a:gd name="connsiteX28" fmla="*/ 22111 w 611931"/>
              <a:gd name="connsiteY28" fmla="*/ 108402 h 109895"/>
              <a:gd name="connsiteX29" fmla="*/ 30626 w 611931"/>
              <a:gd name="connsiteY29" fmla="*/ 67020 h 109895"/>
              <a:gd name="connsiteX30" fmla="*/ 53036 w 611931"/>
              <a:gd name="connsiteY30" fmla="*/ 67020 h 109895"/>
              <a:gd name="connsiteX31" fmla="*/ 58564 w 611931"/>
              <a:gd name="connsiteY31" fmla="*/ 39826 h 109895"/>
              <a:gd name="connsiteX32" fmla="*/ 36154 w 611931"/>
              <a:gd name="connsiteY32" fmla="*/ 39826 h 109895"/>
              <a:gd name="connsiteX33" fmla="*/ 30626 w 611931"/>
              <a:gd name="connsiteY33" fmla="*/ 67020 h 109895"/>
              <a:gd name="connsiteX34" fmla="*/ 107827 w 611931"/>
              <a:gd name="connsiteY34" fmla="*/ 1307 h 109895"/>
              <a:gd name="connsiteX35" fmla="*/ 173264 w 611931"/>
              <a:gd name="connsiteY35" fmla="*/ 1307 h 109895"/>
              <a:gd name="connsiteX36" fmla="*/ 173264 w 611931"/>
              <a:gd name="connsiteY36" fmla="*/ 14188 h 109895"/>
              <a:gd name="connsiteX37" fmla="*/ 121871 w 611931"/>
              <a:gd name="connsiteY37" fmla="*/ 14188 h 109895"/>
              <a:gd name="connsiteX38" fmla="*/ 121871 w 611931"/>
              <a:gd name="connsiteY38" fmla="*/ 49720 h 109895"/>
              <a:gd name="connsiteX39" fmla="*/ 165495 w 611931"/>
              <a:gd name="connsiteY39" fmla="*/ 49720 h 109895"/>
              <a:gd name="connsiteX40" fmla="*/ 165495 w 611931"/>
              <a:gd name="connsiteY40" fmla="*/ 62415 h 109895"/>
              <a:gd name="connsiteX41" fmla="*/ 121871 w 611931"/>
              <a:gd name="connsiteY41" fmla="*/ 62415 h 109895"/>
              <a:gd name="connsiteX42" fmla="*/ 121871 w 611931"/>
              <a:gd name="connsiteY42" fmla="*/ 108402 h 109895"/>
              <a:gd name="connsiteX43" fmla="*/ 107827 w 611931"/>
              <a:gd name="connsiteY43" fmla="*/ 108402 h 109895"/>
              <a:gd name="connsiteX44" fmla="*/ 107827 w 611931"/>
              <a:gd name="connsiteY44" fmla="*/ 1307 h 109895"/>
              <a:gd name="connsiteX45" fmla="*/ 192735 w 611931"/>
              <a:gd name="connsiteY45" fmla="*/ 1307 h 109895"/>
              <a:gd name="connsiteX46" fmla="*/ 258171 w 611931"/>
              <a:gd name="connsiteY46" fmla="*/ 1307 h 109895"/>
              <a:gd name="connsiteX47" fmla="*/ 258171 w 611931"/>
              <a:gd name="connsiteY47" fmla="*/ 14188 h 109895"/>
              <a:gd name="connsiteX48" fmla="*/ 206778 w 611931"/>
              <a:gd name="connsiteY48" fmla="*/ 14188 h 109895"/>
              <a:gd name="connsiteX49" fmla="*/ 206778 w 611931"/>
              <a:gd name="connsiteY49" fmla="*/ 49720 h 109895"/>
              <a:gd name="connsiteX50" fmla="*/ 250402 w 611931"/>
              <a:gd name="connsiteY50" fmla="*/ 49720 h 109895"/>
              <a:gd name="connsiteX51" fmla="*/ 250402 w 611931"/>
              <a:gd name="connsiteY51" fmla="*/ 62415 h 109895"/>
              <a:gd name="connsiteX52" fmla="*/ 206778 w 611931"/>
              <a:gd name="connsiteY52" fmla="*/ 62415 h 109895"/>
              <a:gd name="connsiteX53" fmla="*/ 206778 w 611931"/>
              <a:gd name="connsiteY53" fmla="*/ 108402 h 109895"/>
              <a:gd name="connsiteX54" fmla="*/ 192735 w 611931"/>
              <a:gd name="connsiteY54" fmla="*/ 108402 h 109895"/>
              <a:gd name="connsiteX55" fmla="*/ 192735 w 611931"/>
              <a:gd name="connsiteY55" fmla="*/ 1307 h 109895"/>
              <a:gd name="connsiteX56" fmla="*/ 277649 w 611931"/>
              <a:gd name="connsiteY56" fmla="*/ 1307 h 109895"/>
              <a:gd name="connsiteX57" fmla="*/ 343981 w 611931"/>
              <a:gd name="connsiteY57" fmla="*/ 1307 h 109895"/>
              <a:gd name="connsiteX58" fmla="*/ 343981 w 611931"/>
              <a:gd name="connsiteY58" fmla="*/ 14188 h 109895"/>
              <a:gd name="connsiteX59" fmla="*/ 291692 w 611931"/>
              <a:gd name="connsiteY59" fmla="*/ 14188 h 109895"/>
              <a:gd name="connsiteX60" fmla="*/ 291692 w 611931"/>
              <a:gd name="connsiteY60" fmla="*/ 46547 h 109895"/>
              <a:gd name="connsiteX61" fmla="*/ 336063 w 611931"/>
              <a:gd name="connsiteY61" fmla="*/ 46547 h 109895"/>
              <a:gd name="connsiteX62" fmla="*/ 336063 w 611931"/>
              <a:gd name="connsiteY62" fmla="*/ 59242 h 109895"/>
              <a:gd name="connsiteX63" fmla="*/ 291692 w 611931"/>
              <a:gd name="connsiteY63" fmla="*/ 59242 h 109895"/>
              <a:gd name="connsiteX64" fmla="*/ 291692 w 611931"/>
              <a:gd name="connsiteY64" fmla="*/ 95707 h 109895"/>
              <a:gd name="connsiteX65" fmla="*/ 344728 w 611931"/>
              <a:gd name="connsiteY65" fmla="*/ 95707 h 109895"/>
              <a:gd name="connsiteX66" fmla="*/ 344728 w 611931"/>
              <a:gd name="connsiteY66" fmla="*/ 108402 h 109895"/>
              <a:gd name="connsiteX67" fmla="*/ 277649 w 611931"/>
              <a:gd name="connsiteY67" fmla="*/ 108402 h 109895"/>
              <a:gd name="connsiteX68" fmla="*/ 277649 w 611931"/>
              <a:gd name="connsiteY68" fmla="*/ 1307 h 109895"/>
              <a:gd name="connsiteX69" fmla="*/ 366939 w 611931"/>
              <a:gd name="connsiteY69" fmla="*/ 1307 h 109895"/>
              <a:gd name="connsiteX70" fmla="*/ 403242 w 611931"/>
              <a:gd name="connsiteY70" fmla="*/ 1307 h 109895"/>
              <a:gd name="connsiteX71" fmla="*/ 429984 w 611931"/>
              <a:gd name="connsiteY71" fmla="*/ 7281 h 109895"/>
              <a:gd name="connsiteX72" fmla="*/ 439247 w 611931"/>
              <a:gd name="connsiteY72" fmla="*/ 27443 h 109895"/>
              <a:gd name="connsiteX73" fmla="*/ 433420 w 611931"/>
              <a:gd name="connsiteY73" fmla="*/ 44930 h 109895"/>
              <a:gd name="connsiteX74" fmla="*/ 417883 w 611931"/>
              <a:gd name="connsiteY74" fmla="*/ 52832 h 109895"/>
              <a:gd name="connsiteX75" fmla="*/ 436707 w 611931"/>
              <a:gd name="connsiteY75" fmla="*/ 60175 h 109895"/>
              <a:gd name="connsiteX76" fmla="*/ 443131 w 611931"/>
              <a:gd name="connsiteY76" fmla="*/ 77475 h 109895"/>
              <a:gd name="connsiteX77" fmla="*/ 437903 w 611931"/>
              <a:gd name="connsiteY77" fmla="*/ 95397 h 109895"/>
              <a:gd name="connsiteX78" fmla="*/ 423560 w 611931"/>
              <a:gd name="connsiteY78" fmla="*/ 105415 h 109895"/>
              <a:gd name="connsiteX79" fmla="*/ 402943 w 611931"/>
              <a:gd name="connsiteY79" fmla="*/ 108402 h 109895"/>
              <a:gd name="connsiteX80" fmla="*/ 366939 w 611931"/>
              <a:gd name="connsiteY80" fmla="*/ 108402 h 109895"/>
              <a:gd name="connsiteX81" fmla="*/ 366939 w 611931"/>
              <a:gd name="connsiteY81" fmla="*/ 1307 h 109895"/>
              <a:gd name="connsiteX82" fmla="*/ 402196 w 611931"/>
              <a:gd name="connsiteY82" fmla="*/ 47045 h 109895"/>
              <a:gd name="connsiteX83" fmla="*/ 418630 w 611931"/>
              <a:gd name="connsiteY83" fmla="*/ 42565 h 109895"/>
              <a:gd name="connsiteX84" fmla="*/ 425054 w 611931"/>
              <a:gd name="connsiteY84" fmla="*/ 28190 h 109895"/>
              <a:gd name="connsiteX85" fmla="*/ 419377 w 611931"/>
              <a:gd name="connsiteY85" fmla="*/ 17175 h 109895"/>
              <a:gd name="connsiteX86" fmla="*/ 403242 w 611931"/>
              <a:gd name="connsiteY86" fmla="*/ 14188 h 109895"/>
              <a:gd name="connsiteX87" fmla="*/ 380982 w 611931"/>
              <a:gd name="connsiteY87" fmla="*/ 14188 h 109895"/>
              <a:gd name="connsiteX88" fmla="*/ 380982 w 611931"/>
              <a:gd name="connsiteY88" fmla="*/ 47045 h 109895"/>
              <a:gd name="connsiteX89" fmla="*/ 402196 w 611931"/>
              <a:gd name="connsiteY89" fmla="*/ 47045 h 109895"/>
              <a:gd name="connsiteX90" fmla="*/ 402943 w 611931"/>
              <a:gd name="connsiteY90" fmla="*/ 95707 h 109895"/>
              <a:gd name="connsiteX91" fmla="*/ 421319 w 611931"/>
              <a:gd name="connsiteY91" fmla="*/ 91849 h 109895"/>
              <a:gd name="connsiteX92" fmla="*/ 428341 w 611931"/>
              <a:gd name="connsiteY92" fmla="*/ 77786 h 109895"/>
              <a:gd name="connsiteX93" fmla="*/ 421768 w 611931"/>
              <a:gd name="connsiteY93" fmla="*/ 63722 h 109895"/>
              <a:gd name="connsiteX94" fmla="*/ 401300 w 611931"/>
              <a:gd name="connsiteY94" fmla="*/ 59740 h 109895"/>
              <a:gd name="connsiteX95" fmla="*/ 380982 w 611931"/>
              <a:gd name="connsiteY95" fmla="*/ 59740 h 109895"/>
              <a:gd name="connsiteX96" fmla="*/ 380982 w 611931"/>
              <a:gd name="connsiteY96" fmla="*/ 95707 h 109895"/>
              <a:gd name="connsiteX97" fmla="*/ 402943 w 611931"/>
              <a:gd name="connsiteY97" fmla="*/ 95707 h 109895"/>
              <a:gd name="connsiteX98" fmla="*/ 463225 w 611931"/>
              <a:gd name="connsiteY98" fmla="*/ 1307 h 109895"/>
              <a:gd name="connsiteX99" fmla="*/ 528662 w 611931"/>
              <a:gd name="connsiteY99" fmla="*/ 1307 h 109895"/>
              <a:gd name="connsiteX100" fmla="*/ 528662 w 611931"/>
              <a:gd name="connsiteY100" fmla="*/ 14188 h 109895"/>
              <a:gd name="connsiteX101" fmla="*/ 477269 w 611931"/>
              <a:gd name="connsiteY101" fmla="*/ 14188 h 109895"/>
              <a:gd name="connsiteX102" fmla="*/ 477269 w 611931"/>
              <a:gd name="connsiteY102" fmla="*/ 49720 h 109895"/>
              <a:gd name="connsiteX103" fmla="*/ 520893 w 611931"/>
              <a:gd name="connsiteY103" fmla="*/ 49720 h 109895"/>
              <a:gd name="connsiteX104" fmla="*/ 520893 w 611931"/>
              <a:gd name="connsiteY104" fmla="*/ 62415 h 109895"/>
              <a:gd name="connsiteX105" fmla="*/ 477269 w 611931"/>
              <a:gd name="connsiteY105" fmla="*/ 62415 h 109895"/>
              <a:gd name="connsiteX106" fmla="*/ 477269 w 611931"/>
              <a:gd name="connsiteY106" fmla="*/ 108402 h 109895"/>
              <a:gd name="connsiteX107" fmla="*/ 463225 w 611931"/>
              <a:gd name="connsiteY107" fmla="*/ 108402 h 109895"/>
              <a:gd name="connsiteX108" fmla="*/ 463225 w 611931"/>
              <a:gd name="connsiteY108" fmla="*/ 1307 h 109895"/>
              <a:gd name="connsiteX109" fmla="*/ 576973 w 611931"/>
              <a:gd name="connsiteY109" fmla="*/ 109896 h 109895"/>
              <a:gd name="connsiteX110" fmla="*/ 558746 w 611931"/>
              <a:gd name="connsiteY110" fmla="*/ 104047 h 109895"/>
              <a:gd name="connsiteX111" fmla="*/ 546048 w 611931"/>
              <a:gd name="connsiteY111" fmla="*/ 86125 h 109895"/>
              <a:gd name="connsiteX112" fmla="*/ 541566 w 611931"/>
              <a:gd name="connsiteY112" fmla="*/ 54761 h 109895"/>
              <a:gd name="connsiteX113" fmla="*/ 546048 w 611931"/>
              <a:gd name="connsiteY113" fmla="*/ 23398 h 109895"/>
              <a:gd name="connsiteX114" fmla="*/ 558746 w 611931"/>
              <a:gd name="connsiteY114" fmla="*/ 5663 h 109895"/>
              <a:gd name="connsiteX115" fmla="*/ 576973 w 611931"/>
              <a:gd name="connsiteY115" fmla="*/ 0 h 109895"/>
              <a:gd name="connsiteX116" fmla="*/ 595050 w 611931"/>
              <a:gd name="connsiteY116" fmla="*/ 5663 h 109895"/>
              <a:gd name="connsiteX117" fmla="*/ 607450 w 611931"/>
              <a:gd name="connsiteY117" fmla="*/ 23398 h 109895"/>
              <a:gd name="connsiteX118" fmla="*/ 611932 w 611931"/>
              <a:gd name="connsiteY118" fmla="*/ 54512 h 109895"/>
              <a:gd name="connsiteX119" fmla="*/ 607450 w 611931"/>
              <a:gd name="connsiteY119" fmla="*/ 85876 h 109895"/>
              <a:gd name="connsiteX120" fmla="*/ 595050 w 611931"/>
              <a:gd name="connsiteY120" fmla="*/ 104047 h 109895"/>
              <a:gd name="connsiteX121" fmla="*/ 576973 w 611931"/>
              <a:gd name="connsiteY121" fmla="*/ 109896 h 109895"/>
              <a:gd name="connsiteX122" fmla="*/ 576824 w 611931"/>
              <a:gd name="connsiteY122" fmla="*/ 98072 h 109895"/>
              <a:gd name="connsiteX123" fmla="*/ 588178 w 611931"/>
              <a:gd name="connsiteY123" fmla="*/ 94089 h 109895"/>
              <a:gd name="connsiteX124" fmla="*/ 595349 w 611931"/>
              <a:gd name="connsiteY124" fmla="*/ 80462 h 109895"/>
              <a:gd name="connsiteX125" fmla="*/ 597889 w 611931"/>
              <a:gd name="connsiteY125" fmla="*/ 54948 h 109895"/>
              <a:gd name="connsiteX126" fmla="*/ 595498 w 611931"/>
              <a:gd name="connsiteY126" fmla="*/ 29559 h 109895"/>
              <a:gd name="connsiteX127" fmla="*/ 588327 w 611931"/>
              <a:gd name="connsiteY127" fmla="*/ 15931 h 109895"/>
              <a:gd name="connsiteX128" fmla="*/ 576973 w 611931"/>
              <a:gd name="connsiteY128" fmla="*/ 11761 h 109895"/>
              <a:gd name="connsiteX129" fmla="*/ 565469 w 611931"/>
              <a:gd name="connsiteY129" fmla="*/ 15931 h 109895"/>
              <a:gd name="connsiteX130" fmla="*/ 558149 w 611931"/>
              <a:gd name="connsiteY130" fmla="*/ 29559 h 109895"/>
              <a:gd name="connsiteX131" fmla="*/ 555609 w 611931"/>
              <a:gd name="connsiteY131" fmla="*/ 54948 h 109895"/>
              <a:gd name="connsiteX132" fmla="*/ 557999 w 611931"/>
              <a:gd name="connsiteY132" fmla="*/ 80462 h 109895"/>
              <a:gd name="connsiteX133" fmla="*/ 565320 w 611931"/>
              <a:gd name="connsiteY133" fmla="*/ 94089 h 109895"/>
              <a:gd name="connsiteX134" fmla="*/ 576824 w 611931"/>
              <a:gd name="connsiteY13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1931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277649" y="1307"/>
                </a:moveTo>
                <a:lnTo>
                  <a:pt x="343981" y="1307"/>
                </a:lnTo>
                <a:lnTo>
                  <a:pt x="343981" y="14188"/>
                </a:lnTo>
                <a:lnTo>
                  <a:pt x="291692" y="14188"/>
                </a:lnTo>
                <a:lnTo>
                  <a:pt x="291692" y="46547"/>
                </a:lnTo>
                <a:lnTo>
                  <a:pt x="336063" y="46547"/>
                </a:lnTo>
                <a:lnTo>
                  <a:pt x="336063" y="59242"/>
                </a:lnTo>
                <a:lnTo>
                  <a:pt x="291692" y="59242"/>
                </a:lnTo>
                <a:lnTo>
                  <a:pt x="291692" y="95707"/>
                </a:lnTo>
                <a:lnTo>
                  <a:pt x="344728" y="95707"/>
                </a:lnTo>
                <a:lnTo>
                  <a:pt x="344728" y="108402"/>
                </a:lnTo>
                <a:lnTo>
                  <a:pt x="277649" y="108402"/>
                </a:lnTo>
                <a:lnTo>
                  <a:pt x="277649" y="1307"/>
                </a:lnTo>
                <a:close/>
                <a:moveTo>
                  <a:pt x="366939" y="1307"/>
                </a:moveTo>
                <a:lnTo>
                  <a:pt x="403242" y="1307"/>
                </a:lnTo>
                <a:cubicBezTo>
                  <a:pt x="414995" y="1307"/>
                  <a:pt x="423909" y="3298"/>
                  <a:pt x="429984" y="7281"/>
                </a:cubicBezTo>
                <a:cubicBezTo>
                  <a:pt x="436159" y="11264"/>
                  <a:pt x="439247" y="17984"/>
                  <a:pt x="439247" y="27443"/>
                </a:cubicBezTo>
                <a:cubicBezTo>
                  <a:pt x="439247" y="35097"/>
                  <a:pt x="437305" y="40947"/>
                  <a:pt x="433420" y="44930"/>
                </a:cubicBezTo>
                <a:cubicBezTo>
                  <a:pt x="429536" y="48788"/>
                  <a:pt x="424357" y="51463"/>
                  <a:pt x="417883" y="52832"/>
                </a:cubicBezTo>
                <a:cubicBezTo>
                  <a:pt x="426150" y="53828"/>
                  <a:pt x="432425" y="56255"/>
                  <a:pt x="436707" y="60175"/>
                </a:cubicBezTo>
                <a:cubicBezTo>
                  <a:pt x="440990" y="63971"/>
                  <a:pt x="443131" y="69696"/>
                  <a:pt x="443131" y="77475"/>
                </a:cubicBezTo>
                <a:cubicBezTo>
                  <a:pt x="443131" y="84880"/>
                  <a:pt x="441389" y="90854"/>
                  <a:pt x="437903" y="95397"/>
                </a:cubicBezTo>
                <a:cubicBezTo>
                  <a:pt x="434417" y="100002"/>
                  <a:pt x="429636" y="103300"/>
                  <a:pt x="423560" y="105415"/>
                </a:cubicBezTo>
                <a:cubicBezTo>
                  <a:pt x="417485" y="107406"/>
                  <a:pt x="410612" y="108402"/>
                  <a:pt x="402943" y="108402"/>
                </a:cubicBezTo>
                <a:lnTo>
                  <a:pt x="366939" y="108402"/>
                </a:lnTo>
                <a:lnTo>
                  <a:pt x="366939" y="1307"/>
                </a:lnTo>
                <a:close/>
                <a:moveTo>
                  <a:pt x="402196" y="47045"/>
                </a:moveTo>
                <a:cubicBezTo>
                  <a:pt x="408969" y="47045"/>
                  <a:pt x="414447" y="45552"/>
                  <a:pt x="418630" y="42565"/>
                </a:cubicBezTo>
                <a:cubicBezTo>
                  <a:pt x="422913" y="39453"/>
                  <a:pt x="425054" y="34662"/>
                  <a:pt x="425054" y="28190"/>
                </a:cubicBezTo>
                <a:cubicBezTo>
                  <a:pt x="425054" y="22714"/>
                  <a:pt x="423162" y="19042"/>
                  <a:pt x="419377" y="17175"/>
                </a:cubicBezTo>
                <a:cubicBezTo>
                  <a:pt x="415593" y="15184"/>
                  <a:pt x="410214" y="14188"/>
                  <a:pt x="403242" y="14188"/>
                </a:cubicBezTo>
                <a:lnTo>
                  <a:pt x="380982" y="14188"/>
                </a:lnTo>
                <a:lnTo>
                  <a:pt x="380982" y="47045"/>
                </a:lnTo>
                <a:lnTo>
                  <a:pt x="402196" y="47045"/>
                </a:lnTo>
                <a:close/>
                <a:moveTo>
                  <a:pt x="402943" y="95707"/>
                </a:moveTo>
                <a:cubicBezTo>
                  <a:pt x="410513" y="95707"/>
                  <a:pt x="416638" y="94401"/>
                  <a:pt x="421319" y="91849"/>
                </a:cubicBezTo>
                <a:cubicBezTo>
                  <a:pt x="426001" y="89236"/>
                  <a:pt x="428341" y="84569"/>
                  <a:pt x="428341" y="77786"/>
                </a:cubicBezTo>
                <a:cubicBezTo>
                  <a:pt x="428341" y="71003"/>
                  <a:pt x="426150" y="66336"/>
                  <a:pt x="421768" y="63722"/>
                </a:cubicBezTo>
                <a:cubicBezTo>
                  <a:pt x="417485" y="61046"/>
                  <a:pt x="410663" y="59740"/>
                  <a:pt x="401300" y="59740"/>
                </a:cubicBezTo>
                <a:lnTo>
                  <a:pt x="380982" y="59740"/>
                </a:lnTo>
                <a:lnTo>
                  <a:pt x="380982" y="95707"/>
                </a:lnTo>
                <a:lnTo>
                  <a:pt x="402943" y="95707"/>
                </a:lnTo>
                <a:close/>
                <a:moveTo>
                  <a:pt x="463225" y="1307"/>
                </a:moveTo>
                <a:lnTo>
                  <a:pt x="528662" y="1307"/>
                </a:lnTo>
                <a:lnTo>
                  <a:pt x="528662" y="14188"/>
                </a:lnTo>
                <a:lnTo>
                  <a:pt x="477269" y="14188"/>
                </a:lnTo>
                <a:lnTo>
                  <a:pt x="477269" y="49720"/>
                </a:lnTo>
                <a:lnTo>
                  <a:pt x="520893" y="49720"/>
                </a:lnTo>
                <a:lnTo>
                  <a:pt x="520893" y="62415"/>
                </a:lnTo>
                <a:lnTo>
                  <a:pt x="477269" y="62415"/>
                </a:lnTo>
                <a:lnTo>
                  <a:pt x="477269" y="108402"/>
                </a:lnTo>
                <a:lnTo>
                  <a:pt x="463225" y="108402"/>
                </a:lnTo>
                <a:lnTo>
                  <a:pt x="463225" y="1307"/>
                </a:lnTo>
                <a:close/>
                <a:moveTo>
                  <a:pt x="576973" y="109896"/>
                </a:moveTo>
                <a:cubicBezTo>
                  <a:pt x="570200" y="109896"/>
                  <a:pt x="564125" y="107967"/>
                  <a:pt x="558746" y="104047"/>
                </a:cubicBezTo>
                <a:cubicBezTo>
                  <a:pt x="553368" y="100188"/>
                  <a:pt x="549135" y="94214"/>
                  <a:pt x="546048" y="86125"/>
                </a:cubicBezTo>
                <a:cubicBezTo>
                  <a:pt x="543060" y="77972"/>
                  <a:pt x="541566" y="67518"/>
                  <a:pt x="541566" y="54761"/>
                </a:cubicBezTo>
                <a:cubicBezTo>
                  <a:pt x="541566" y="41942"/>
                  <a:pt x="543060" y="31488"/>
                  <a:pt x="546048" y="23398"/>
                </a:cubicBezTo>
                <a:cubicBezTo>
                  <a:pt x="549135" y="15371"/>
                  <a:pt x="553368" y="9459"/>
                  <a:pt x="558746" y="5663"/>
                </a:cubicBezTo>
                <a:cubicBezTo>
                  <a:pt x="564125" y="1867"/>
                  <a:pt x="570200" y="0"/>
                  <a:pt x="576973" y="0"/>
                </a:cubicBezTo>
                <a:cubicBezTo>
                  <a:pt x="583746" y="0"/>
                  <a:pt x="589771" y="1867"/>
                  <a:pt x="595050" y="5663"/>
                </a:cubicBezTo>
                <a:cubicBezTo>
                  <a:pt x="600329" y="9459"/>
                  <a:pt x="604462" y="15371"/>
                  <a:pt x="607450" y="23398"/>
                </a:cubicBezTo>
                <a:cubicBezTo>
                  <a:pt x="610438" y="31363"/>
                  <a:pt x="611932" y="41756"/>
                  <a:pt x="611932" y="54512"/>
                </a:cubicBezTo>
                <a:cubicBezTo>
                  <a:pt x="611932" y="67145"/>
                  <a:pt x="610438" y="77599"/>
                  <a:pt x="607450" y="85876"/>
                </a:cubicBezTo>
                <a:cubicBezTo>
                  <a:pt x="604462" y="94027"/>
                  <a:pt x="600329" y="100064"/>
                  <a:pt x="595050" y="104047"/>
                </a:cubicBezTo>
                <a:cubicBezTo>
                  <a:pt x="589771" y="107967"/>
                  <a:pt x="583746" y="109896"/>
                  <a:pt x="576973" y="109896"/>
                </a:cubicBezTo>
                <a:close/>
                <a:moveTo>
                  <a:pt x="576824" y="98072"/>
                </a:moveTo>
                <a:cubicBezTo>
                  <a:pt x="581305" y="98072"/>
                  <a:pt x="585090" y="96766"/>
                  <a:pt x="588178" y="94089"/>
                </a:cubicBezTo>
                <a:cubicBezTo>
                  <a:pt x="591365" y="91289"/>
                  <a:pt x="593755" y="86747"/>
                  <a:pt x="595349" y="80462"/>
                </a:cubicBezTo>
                <a:cubicBezTo>
                  <a:pt x="597042" y="74114"/>
                  <a:pt x="597889" y="65589"/>
                  <a:pt x="597889" y="54948"/>
                </a:cubicBezTo>
                <a:cubicBezTo>
                  <a:pt x="597889" y="44307"/>
                  <a:pt x="597092" y="35844"/>
                  <a:pt x="595498" y="29559"/>
                </a:cubicBezTo>
                <a:cubicBezTo>
                  <a:pt x="593905" y="23150"/>
                  <a:pt x="591514" y="18669"/>
                  <a:pt x="588327" y="15931"/>
                </a:cubicBezTo>
                <a:cubicBezTo>
                  <a:pt x="585240" y="13192"/>
                  <a:pt x="581455" y="11761"/>
                  <a:pt x="576973" y="11761"/>
                </a:cubicBezTo>
                <a:cubicBezTo>
                  <a:pt x="572491" y="11761"/>
                  <a:pt x="568657" y="13192"/>
                  <a:pt x="565469" y="15931"/>
                </a:cubicBezTo>
                <a:cubicBezTo>
                  <a:pt x="562282" y="18669"/>
                  <a:pt x="559842" y="23150"/>
                  <a:pt x="558149" y="29559"/>
                </a:cubicBezTo>
                <a:cubicBezTo>
                  <a:pt x="556456" y="35844"/>
                  <a:pt x="555609" y="44307"/>
                  <a:pt x="555609" y="54948"/>
                </a:cubicBezTo>
                <a:cubicBezTo>
                  <a:pt x="555609" y="65589"/>
                  <a:pt x="556406" y="74114"/>
                  <a:pt x="557999" y="80462"/>
                </a:cubicBezTo>
                <a:cubicBezTo>
                  <a:pt x="559693" y="86747"/>
                  <a:pt x="562133" y="91289"/>
                  <a:pt x="565320" y="94089"/>
                </a:cubicBezTo>
                <a:cubicBezTo>
                  <a:pt x="568507" y="96766"/>
                  <a:pt x="572342" y="98072"/>
                  <a:pt x="576824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1" name="Полилиния 1020">
            <a:extLst>
              <a:ext uri="{FF2B5EF4-FFF2-40B4-BE49-F238E27FC236}">
                <a16:creationId xmlns:a16="http://schemas.microsoft.com/office/drawing/2014/main" id="{461608B4-86E9-B7C9-28B6-2A5F2F3D1FF0}"/>
              </a:ext>
            </a:extLst>
          </p:cNvPr>
          <p:cNvSpPr/>
          <p:nvPr userDrawn="1"/>
        </p:nvSpPr>
        <p:spPr>
          <a:xfrm>
            <a:off x="15359119" y="3787620"/>
            <a:ext cx="1398954" cy="726227"/>
          </a:xfrm>
          <a:custGeom>
            <a:avLst/>
            <a:gdLst>
              <a:gd name="connsiteX0" fmla="*/ 425 w 1198727"/>
              <a:gd name="connsiteY0" fmla="*/ 1022 h 622284"/>
              <a:gd name="connsiteX1" fmla="*/ 1199153 w 1198727"/>
              <a:gd name="connsiteY1" fmla="*/ 1022 h 622284"/>
              <a:gd name="connsiteX2" fmla="*/ 1199153 w 1198727"/>
              <a:gd name="connsiteY2" fmla="*/ 623306 h 622284"/>
              <a:gd name="connsiteX3" fmla="*/ 425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022"/>
                </a:moveTo>
                <a:lnTo>
                  <a:pt x="1199153" y="1022"/>
                </a:lnTo>
                <a:lnTo>
                  <a:pt x="1199153" y="623306"/>
                </a:lnTo>
                <a:lnTo>
                  <a:pt x="425" y="623306"/>
                </a:lnTo>
                <a:close/>
              </a:path>
            </a:pathLst>
          </a:custGeom>
          <a:solidFill>
            <a:srgbClr val="2B451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2" name="Полилиния 1021">
            <a:extLst>
              <a:ext uri="{FF2B5EF4-FFF2-40B4-BE49-F238E27FC236}">
                <a16:creationId xmlns:a16="http://schemas.microsoft.com/office/drawing/2014/main" id="{6E862B92-250B-F296-060B-7B5EFC8BE739}"/>
              </a:ext>
            </a:extLst>
          </p:cNvPr>
          <p:cNvSpPr/>
          <p:nvPr userDrawn="1"/>
        </p:nvSpPr>
        <p:spPr>
          <a:xfrm>
            <a:off x="15482328" y="4089368"/>
            <a:ext cx="713526" cy="128468"/>
          </a:xfrm>
          <a:custGeom>
            <a:avLst/>
            <a:gdLst>
              <a:gd name="connsiteX0" fmla="*/ 22111 w 611402"/>
              <a:gd name="connsiteY0" fmla="*/ 108588 h 110081"/>
              <a:gd name="connsiteX1" fmla="*/ 10159 w 611402"/>
              <a:gd name="connsiteY1" fmla="*/ 108588 h 110081"/>
              <a:gd name="connsiteX2" fmla="*/ 16434 w 611402"/>
              <a:gd name="connsiteY2" fmla="*/ 77661 h 110081"/>
              <a:gd name="connsiteX3" fmla="*/ 0 w 611402"/>
              <a:gd name="connsiteY3" fmla="*/ 77661 h 110081"/>
              <a:gd name="connsiteX4" fmla="*/ 0 w 611402"/>
              <a:gd name="connsiteY4" fmla="*/ 67206 h 110081"/>
              <a:gd name="connsiteX5" fmla="*/ 18675 w 611402"/>
              <a:gd name="connsiteY5" fmla="*/ 67206 h 110081"/>
              <a:gd name="connsiteX6" fmla="*/ 24202 w 611402"/>
              <a:gd name="connsiteY6" fmla="*/ 40012 h 110081"/>
              <a:gd name="connsiteX7" fmla="*/ 4034 w 611402"/>
              <a:gd name="connsiteY7" fmla="*/ 40012 h 110081"/>
              <a:gd name="connsiteX8" fmla="*/ 4034 w 611402"/>
              <a:gd name="connsiteY8" fmla="*/ 29559 h 110081"/>
              <a:gd name="connsiteX9" fmla="*/ 26294 w 611402"/>
              <a:gd name="connsiteY9" fmla="*/ 29559 h 110081"/>
              <a:gd name="connsiteX10" fmla="*/ 32120 w 611402"/>
              <a:gd name="connsiteY10" fmla="*/ 1493 h 110081"/>
              <a:gd name="connsiteX11" fmla="*/ 44072 w 611402"/>
              <a:gd name="connsiteY11" fmla="*/ 1493 h 110081"/>
              <a:gd name="connsiteX12" fmla="*/ 38246 w 611402"/>
              <a:gd name="connsiteY12" fmla="*/ 29559 h 110081"/>
              <a:gd name="connsiteX13" fmla="*/ 60655 w 611402"/>
              <a:gd name="connsiteY13" fmla="*/ 29559 h 110081"/>
              <a:gd name="connsiteX14" fmla="*/ 66482 w 611402"/>
              <a:gd name="connsiteY14" fmla="*/ 1493 h 110081"/>
              <a:gd name="connsiteX15" fmla="*/ 78434 w 611402"/>
              <a:gd name="connsiteY15" fmla="*/ 1493 h 110081"/>
              <a:gd name="connsiteX16" fmla="*/ 72607 w 611402"/>
              <a:gd name="connsiteY16" fmla="*/ 29559 h 110081"/>
              <a:gd name="connsiteX17" fmla="*/ 89340 w 611402"/>
              <a:gd name="connsiteY17" fmla="*/ 29559 h 110081"/>
              <a:gd name="connsiteX18" fmla="*/ 89340 w 611402"/>
              <a:gd name="connsiteY18" fmla="*/ 40012 h 110081"/>
              <a:gd name="connsiteX19" fmla="*/ 70515 w 611402"/>
              <a:gd name="connsiteY19" fmla="*/ 40012 h 110081"/>
              <a:gd name="connsiteX20" fmla="*/ 64988 w 611402"/>
              <a:gd name="connsiteY20" fmla="*/ 67206 h 110081"/>
              <a:gd name="connsiteX21" fmla="*/ 85306 w 611402"/>
              <a:gd name="connsiteY21" fmla="*/ 67206 h 110081"/>
              <a:gd name="connsiteX22" fmla="*/ 85306 w 611402"/>
              <a:gd name="connsiteY22" fmla="*/ 77661 h 110081"/>
              <a:gd name="connsiteX23" fmla="*/ 62747 w 611402"/>
              <a:gd name="connsiteY23" fmla="*/ 77661 h 110081"/>
              <a:gd name="connsiteX24" fmla="*/ 56472 w 611402"/>
              <a:gd name="connsiteY24" fmla="*/ 108588 h 110081"/>
              <a:gd name="connsiteX25" fmla="*/ 44520 w 611402"/>
              <a:gd name="connsiteY25" fmla="*/ 108588 h 110081"/>
              <a:gd name="connsiteX26" fmla="*/ 50795 w 611402"/>
              <a:gd name="connsiteY26" fmla="*/ 77661 h 110081"/>
              <a:gd name="connsiteX27" fmla="*/ 28386 w 611402"/>
              <a:gd name="connsiteY27" fmla="*/ 77661 h 110081"/>
              <a:gd name="connsiteX28" fmla="*/ 22111 w 611402"/>
              <a:gd name="connsiteY28" fmla="*/ 108588 h 110081"/>
              <a:gd name="connsiteX29" fmla="*/ 30626 w 611402"/>
              <a:gd name="connsiteY29" fmla="*/ 67206 h 110081"/>
              <a:gd name="connsiteX30" fmla="*/ 53036 w 611402"/>
              <a:gd name="connsiteY30" fmla="*/ 67206 h 110081"/>
              <a:gd name="connsiteX31" fmla="*/ 58564 w 611402"/>
              <a:gd name="connsiteY31" fmla="*/ 40012 h 110081"/>
              <a:gd name="connsiteX32" fmla="*/ 36154 w 611402"/>
              <a:gd name="connsiteY32" fmla="*/ 40012 h 110081"/>
              <a:gd name="connsiteX33" fmla="*/ 30626 w 611402"/>
              <a:gd name="connsiteY33" fmla="*/ 67206 h 110081"/>
              <a:gd name="connsiteX34" fmla="*/ 170867 w 611402"/>
              <a:gd name="connsiteY34" fmla="*/ 108588 h 110081"/>
              <a:gd name="connsiteX35" fmla="*/ 102592 w 611402"/>
              <a:gd name="connsiteY35" fmla="*/ 108588 h 110081"/>
              <a:gd name="connsiteX36" fmla="*/ 102592 w 611402"/>
              <a:gd name="connsiteY36" fmla="*/ 94400 h 110081"/>
              <a:gd name="connsiteX37" fmla="*/ 128737 w 611402"/>
              <a:gd name="connsiteY37" fmla="*/ 72433 h 110081"/>
              <a:gd name="connsiteX38" fmla="*/ 144723 w 611402"/>
              <a:gd name="connsiteY38" fmla="*/ 56628 h 110081"/>
              <a:gd name="connsiteX39" fmla="*/ 152790 w 611402"/>
              <a:gd name="connsiteY39" fmla="*/ 43933 h 110081"/>
              <a:gd name="connsiteX40" fmla="*/ 155180 w 611402"/>
              <a:gd name="connsiteY40" fmla="*/ 32109 h 110081"/>
              <a:gd name="connsiteX41" fmla="*/ 149653 w 611402"/>
              <a:gd name="connsiteY41" fmla="*/ 17610 h 110081"/>
              <a:gd name="connsiteX42" fmla="*/ 134414 w 611402"/>
              <a:gd name="connsiteY42" fmla="*/ 12383 h 110081"/>
              <a:gd name="connsiteX43" fmla="*/ 105431 w 611402"/>
              <a:gd name="connsiteY43" fmla="*/ 27194 h 110081"/>
              <a:gd name="connsiteX44" fmla="*/ 105431 w 611402"/>
              <a:gd name="connsiteY44" fmla="*/ 12134 h 110081"/>
              <a:gd name="connsiteX45" fmla="*/ 134862 w 611402"/>
              <a:gd name="connsiteY45" fmla="*/ 0 h 110081"/>
              <a:gd name="connsiteX46" fmla="*/ 160260 w 611402"/>
              <a:gd name="connsiteY46" fmla="*/ 8401 h 110081"/>
              <a:gd name="connsiteX47" fmla="*/ 169672 w 611402"/>
              <a:gd name="connsiteY47" fmla="*/ 30803 h 110081"/>
              <a:gd name="connsiteX48" fmla="*/ 167282 w 611402"/>
              <a:gd name="connsiteY48" fmla="*/ 44804 h 110081"/>
              <a:gd name="connsiteX49" fmla="*/ 159214 w 611402"/>
              <a:gd name="connsiteY49" fmla="*/ 58681 h 110081"/>
              <a:gd name="connsiteX50" fmla="*/ 143527 w 611402"/>
              <a:gd name="connsiteY50" fmla="*/ 74860 h 110081"/>
              <a:gd name="connsiteX51" fmla="*/ 118130 w 611402"/>
              <a:gd name="connsiteY51" fmla="*/ 95769 h 110081"/>
              <a:gd name="connsiteX52" fmla="*/ 170867 w 611402"/>
              <a:gd name="connsiteY52" fmla="*/ 95769 h 110081"/>
              <a:gd name="connsiteX53" fmla="*/ 170867 w 611402"/>
              <a:gd name="connsiteY53" fmla="*/ 108588 h 110081"/>
              <a:gd name="connsiteX54" fmla="*/ 189965 w 611402"/>
              <a:gd name="connsiteY54" fmla="*/ 1493 h 110081"/>
              <a:gd name="connsiteX55" fmla="*/ 226269 w 611402"/>
              <a:gd name="connsiteY55" fmla="*/ 1493 h 110081"/>
              <a:gd name="connsiteX56" fmla="*/ 253011 w 611402"/>
              <a:gd name="connsiteY56" fmla="*/ 7467 h 110081"/>
              <a:gd name="connsiteX57" fmla="*/ 262273 w 611402"/>
              <a:gd name="connsiteY57" fmla="*/ 27629 h 110081"/>
              <a:gd name="connsiteX58" fmla="*/ 256447 w 611402"/>
              <a:gd name="connsiteY58" fmla="*/ 45116 h 110081"/>
              <a:gd name="connsiteX59" fmla="*/ 240910 w 611402"/>
              <a:gd name="connsiteY59" fmla="*/ 53018 h 110081"/>
              <a:gd name="connsiteX60" fmla="*/ 259734 w 611402"/>
              <a:gd name="connsiteY60" fmla="*/ 60361 h 110081"/>
              <a:gd name="connsiteX61" fmla="*/ 266158 w 611402"/>
              <a:gd name="connsiteY61" fmla="*/ 77661 h 110081"/>
              <a:gd name="connsiteX62" fmla="*/ 260929 w 611402"/>
              <a:gd name="connsiteY62" fmla="*/ 95583 h 110081"/>
              <a:gd name="connsiteX63" fmla="*/ 246587 w 611402"/>
              <a:gd name="connsiteY63" fmla="*/ 105601 h 110081"/>
              <a:gd name="connsiteX64" fmla="*/ 225970 w 611402"/>
              <a:gd name="connsiteY64" fmla="*/ 108588 h 110081"/>
              <a:gd name="connsiteX65" fmla="*/ 189965 w 611402"/>
              <a:gd name="connsiteY65" fmla="*/ 108588 h 110081"/>
              <a:gd name="connsiteX66" fmla="*/ 189965 w 611402"/>
              <a:gd name="connsiteY66" fmla="*/ 1493 h 110081"/>
              <a:gd name="connsiteX67" fmla="*/ 225223 w 611402"/>
              <a:gd name="connsiteY67" fmla="*/ 47231 h 110081"/>
              <a:gd name="connsiteX68" fmla="*/ 241657 w 611402"/>
              <a:gd name="connsiteY68" fmla="*/ 42751 h 110081"/>
              <a:gd name="connsiteX69" fmla="*/ 248081 w 611402"/>
              <a:gd name="connsiteY69" fmla="*/ 28376 h 110081"/>
              <a:gd name="connsiteX70" fmla="*/ 242404 w 611402"/>
              <a:gd name="connsiteY70" fmla="*/ 17361 h 110081"/>
              <a:gd name="connsiteX71" fmla="*/ 226269 w 611402"/>
              <a:gd name="connsiteY71" fmla="*/ 14374 h 110081"/>
              <a:gd name="connsiteX72" fmla="*/ 204008 w 611402"/>
              <a:gd name="connsiteY72" fmla="*/ 14374 h 110081"/>
              <a:gd name="connsiteX73" fmla="*/ 204008 w 611402"/>
              <a:gd name="connsiteY73" fmla="*/ 47231 h 110081"/>
              <a:gd name="connsiteX74" fmla="*/ 225223 w 611402"/>
              <a:gd name="connsiteY74" fmla="*/ 47231 h 110081"/>
              <a:gd name="connsiteX75" fmla="*/ 225970 w 611402"/>
              <a:gd name="connsiteY75" fmla="*/ 95893 h 110081"/>
              <a:gd name="connsiteX76" fmla="*/ 244346 w 611402"/>
              <a:gd name="connsiteY76" fmla="*/ 92035 h 110081"/>
              <a:gd name="connsiteX77" fmla="*/ 251367 w 611402"/>
              <a:gd name="connsiteY77" fmla="*/ 77972 h 110081"/>
              <a:gd name="connsiteX78" fmla="*/ 244794 w 611402"/>
              <a:gd name="connsiteY78" fmla="*/ 63908 h 110081"/>
              <a:gd name="connsiteX79" fmla="*/ 224326 w 611402"/>
              <a:gd name="connsiteY79" fmla="*/ 59926 h 110081"/>
              <a:gd name="connsiteX80" fmla="*/ 204008 w 611402"/>
              <a:gd name="connsiteY80" fmla="*/ 59926 h 110081"/>
              <a:gd name="connsiteX81" fmla="*/ 204008 w 611402"/>
              <a:gd name="connsiteY81" fmla="*/ 95893 h 110081"/>
              <a:gd name="connsiteX82" fmla="*/ 225970 w 611402"/>
              <a:gd name="connsiteY82" fmla="*/ 95893 h 110081"/>
              <a:gd name="connsiteX83" fmla="*/ 337196 w 611402"/>
              <a:gd name="connsiteY83" fmla="*/ 108588 h 110081"/>
              <a:gd name="connsiteX84" fmla="*/ 324049 w 611402"/>
              <a:gd name="connsiteY84" fmla="*/ 108588 h 110081"/>
              <a:gd name="connsiteX85" fmla="*/ 324049 w 611402"/>
              <a:gd name="connsiteY85" fmla="*/ 83199 h 110081"/>
              <a:gd name="connsiteX86" fmla="*/ 277736 w 611402"/>
              <a:gd name="connsiteY86" fmla="*/ 83199 h 110081"/>
              <a:gd name="connsiteX87" fmla="*/ 277736 w 611402"/>
              <a:gd name="connsiteY87" fmla="*/ 73927 h 110081"/>
              <a:gd name="connsiteX88" fmla="*/ 319567 w 611402"/>
              <a:gd name="connsiteY88" fmla="*/ 1493 h 110081"/>
              <a:gd name="connsiteX89" fmla="*/ 337196 w 611402"/>
              <a:gd name="connsiteY89" fmla="*/ 1493 h 110081"/>
              <a:gd name="connsiteX90" fmla="*/ 337196 w 611402"/>
              <a:gd name="connsiteY90" fmla="*/ 71873 h 110081"/>
              <a:gd name="connsiteX91" fmla="*/ 351688 w 611402"/>
              <a:gd name="connsiteY91" fmla="*/ 71873 h 110081"/>
              <a:gd name="connsiteX92" fmla="*/ 351688 w 611402"/>
              <a:gd name="connsiteY92" fmla="*/ 83199 h 110081"/>
              <a:gd name="connsiteX93" fmla="*/ 337196 w 611402"/>
              <a:gd name="connsiteY93" fmla="*/ 83199 h 110081"/>
              <a:gd name="connsiteX94" fmla="*/ 337196 w 611402"/>
              <a:gd name="connsiteY94" fmla="*/ 108588 h 110081"/>
              <a:gd name="connsiteX95" fmla="*/ 291331 w 611402"/>
              <a:gd name="connsiteY95" fmla="*/ 71873 h 110081"/>
              <a:gd name="connsiteX96" fmla="*/ 324049 w 611402"/>
              <a:gd name="connsiteY96" fmla="*/ 71873 h 110081"/>
              <a:gd name="connsiteX97" fmla="*/ 324049 w 611402"/>
              <a:gd name="connsiteY97" fmla="*/ 16117 h 110081"/>
              <a:gd name="connsiteX98" fmla="*/ 291331 w 611402"/>
              <a:gd name="connsiteY98" fmla="*/ 71873 h 110081"/>
              <a:gd name="connsiteX99" fmla="*/ 392299 w 611402"/>
              <a:gd name="connsiteY99" fmla="*/ 110082 h 110081"/>
              <a:gd name="connsiteX100" fmla="*/ 363764 w 611402"/>
              <a:gd name="connsiteY100" fmla="*/ 102490 h 110081"/>
              <a:gd name="connsiteX101" fmla="*/ 363764 w 611402"/>
              <a:gd name="connsiteY101" fmla="*/ 87804 h 110081"/>
              <a:gd name="connsiteX102" fmla="*/ 376911 w 611402"/>
              <a:gd name="connsiteY102" fmla="*/ 95458 h 110081"/>
              <a:gd name="connsiteX103" fmla="*/ 392299 w 611402"/>
              <a:gd name="connsiteY103" fmla="*/ 97823 h 110081"/>
              <a:gd name="connsiteX104" fmla="*/ 409330 w 611402"/>
              <a:gd name="connsiteY104" fmla="*/ 91102 h 110081"/>
              <a:gd name="connsiteX105" fmla="*/ 415456 w 611402"/>
              <a:gd name="connsiteY105" fmla="*/ 73491 h 110081"/>
              <a:gd name="connsiteX106" fmla="*/ 409480 w 611402"/>
              <a:gd name="connsiteY106" fmla="*/ 56441 h 110081"/>
              <a:gd name="connsiteX107" fmla="*/ 394391 w 611402"/>
              <a:gd name="connsiteY107" fmla="*/ 51089 h 110081"/>
              <a:gd name="connsiteX108" fmla="*/ 383783 w 611402"/>
              <a:gd name="connsiteY108" fmla="*/ 53329 h 110081"/>
              <a:gd name="connsiteX109" fmla="*/ 377658 w 611402"/>
              <a:gd name="connsiteY109" fmla="*/ 57810 h 110081"/>
              <a:gd name="connsiteX110" fmla="*/ 366752 w 611402"/>
              <a:gd name="connsiteY110" fmla="*/ 57810 h 110081"/>
              <a:gd name="connsiteX111" fmla="*/ 366752 w 611402"/>
              <a:gd name="connsiteY111" fmla="*/ 1493 h 110081"/>
              <a:gd name="connsiteX112" fmla="*/ 424718 w 611402"/>
              <a:gd name="connsiteY112" fmla="*/ 1493 h 110081"/>
              <a:gd name="connsiteX113" fmla="*/ 424718 w 611402"/>
              <a:gd name="connsiteY113" fmla="*/ 14374 h 110081"/>
              <a:gd name="connsiteX114" fmla="*/ 379003 w 611402"/>
              <a:gd name="connsiteY114" fmla="*/ 14374 h 110081"/>
              <a:gd name="connsiteX115" fmla="*/ 379003 w 611402"/>
              <a:gd name="connsiteY115" fmla="*/ 44991 h 110081"/>
              <a:gd name="connsiteX116" fmla="*/ 386323 w 611402"/>
              <a:gd name="connsiteY116" fmla="*/ 41071 h 110081"/>
              <a:gd name="connsiteX117" fmla="*/ 396632 w 611402"/>
              <a:gd name="connsiteY117" fmla="*/ 39266 h 110081"/>
              <a:gd name="connsiteX118" fmla="*/ 413364 w 611402"/>
              <a:gd name="connsiteY118" fmla="*/ 43186 h 110081"/>
              <a:gd name="connsiteX119" fmla="*/ 425167 w 611402"/>
              <a:gd name="connsiteY119" fmla="*/ 54512 h 110081"/>
              <a:gd name="connsiteX120" fmla="*/ 429648 w 611402"/>
              <a:gd name="connsiteY120" fmla="*/ 73181 h 110081"/>
              <a:gd name="connsiteX121" fmla="*/ 425017 w 611402"/>
              <a:gd name="connsiteY121" fmla="*/ 92596 h 110081"/>
              <a:gd name="connsiteX122" fmla="*/ 412169 w 611402"/>
              <a:gd name="connsiteY122" fmla="*/ 105601 h 110081"/>
              <a:gd name="connsiteX123" fmla="*/ 392299 w 611402"/>
              <a:gd name="connsiteY123" fmla="*/ 110082 h 110081"/>
              <a:gd name="connsiteX124" fmla="*/ 493559 w 611402"/>
              <a:gd name="connsiteY124" fmla="*/ 108588 h 110081"/>
              <a:gd name="connsiteX125" fmla="*/ 479964 w 611402"/>
              <a:gd name="connsiteY125" fmla="*/ 108588 h 110081"/>
              <a:gd name="connsiteX126" fmla="*/ 479964 w 611402"/>
              <a:gd name="connsiteY126" fmla="*/ 18357 h 110081"/>
              <a:gd name="connsiteX127" fmla="*/ 450384 w 611402"/>
              <a:gd name="connsiteY127" fmla="*/ 41071 h 110081"/>
              <a:gd name="connsiteX128" fmla="*/ 450384 w 611402"/>
              <a:gd name="connsiteY128" fmla="*/ 26011 h 110081"/>
              <a:gd name="connsiteX129" fmla="*/ 482205 w 611402"/>
              <a:gd name="connsiteY129" fmla="*/ 1493 h 110081"/>
              <a:gd name="connsiteX130" fmla="*/ 493559 w 611402"/>
              <a:gd name="connsiteY130" fmla="*/ 1493 h 110081"/>
              <a:gd name="connsiteX131" fmla="*/ 493559 w 611402"/>
              <a:gd name="connsiteY131" fmla="*/ 108588 h 110081"/>
              <a:gd name="connsiteX132" fmla="*/ 579133 w 611402"/>
              <a:gd name="connsiteY132" fmla="*/ 110082 h 110081"/>
              <a:gd name="connsiteX133" fmla="*/ 551345 w 611402"/>
              <a:gd name="connsiteY133" fmla="*/ 103486 h 110081"/>
              <a:gd name="connsiteX134" fmla="*/ 532969 w 611402"/>
              <a:gd name="connsiteY134" fmla="*/ 84693 h 110081"/>
              <a:gd name="connsiteX135" fmla="*/ 526396 w 611402"/>
              <a:gd name="connsiteY135" fmla="*/ 55134 h 110081"/>
              <a:gd name="connsiteX136" fmla="*/ 539991 w 611402"/>
              <a:gd name="connsiteY136" fmla="*/ 14810 h 110081"/>
              <a:gd name="connsiteX137" fmla="*/ 578834 w 611402"/>
              <a:gd name="connsiteY137" fmla="*/ 186 h 110081"/>
              <a:gd name="connsiteX138" fmla="*/ 596762 w 611402"/>
              <a:gd name="connsiteY138" fmla="*/ 2240 h 110081"/>
              <a:gd name="connsiteX139" fmla="*/ 611403 w 611402"/>
              <a:gd name="connsiteY139" fmla="*/ 7902 h 110081"/>
              <a:gd name="connsiteX140" fmla="*/ 611403 w 611402"/>
              <a:gd name="connsiteY140" fmla="*/ 21344 h 110081"/>
              <a:gd name="connsiteX141" fmla="*/ 596314 w 611402"/>
              <a:gd name="connsiteY141" fmla="*/ 15121 h 110081"/>
              <a:gd name="connsiteX142" fmla="*/ 578685 w 611402"/>
              <a:gd name="connsiteY142" fmla="*/ 12881 h 110081"/>
              <a:gd name="connsiteX143" fmla="*/ 550747 w 611402"/>
              <a:gd name="connsiteY143" fmla="*/ 23459 h 110081"/>
              <a:gd name="connsiteX144" fmla="*/ 541634 w 611402"/>
              <a:gd name="connsiteY144" fmla="*/ 55134 h 110081"/>
              <a:gd name="connsiteX145" fmla="*/ 551494 w 611402"/>
              <a:gd name="connsiteY145" fmla="*/ 86933 h 110081"/>
              <a:gd name="connsiteX146" fmla="*/ 580328 w 611402"/>
              <a:gd name="connsiteY146" fmla="*/ 97387 h 110081"/>
              <a:gd name="connsiteX147" fmla="*/ 611403 w 611402"/>
              <a:gd name="connsiteY147" fmla="*/ 87555 h 110081"/>
              <a:gd name="connsiteX148" fmla="*/ 611403 w 611402"/>
              <a:gd name="connsiteY148" fmla="*/ 100997 h 110081"/>
              <a:gd name="connsiteX149" fmla="*/ 597509 w 611402"/>
              <a:gd name="connsiteY149" fmla="*/ 107717 h 110081"/>
              <a:gd name="connsiteX150" fmla="*/ 579133 w 611402"/>
              <a:gd name="connsiteY150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611402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0867" y="108588"/>
                </a:moveTo>
                <a:lnTo>
                  <a:pt x="102592" y="108588"/>
                </a:lnTo>
                <a:lnTo>
                  <a:pt x="102592" y="94400"/>
                </a:lnTo>
                <a:cubicBezTo>
                  <a:pt x="113249" y="85812"/>
                  <a:pt x="121964" y="78532"/>
                  <a:pt x="128737" y="72433"/>
                </a:cubicBezTo>
                <a:cubicBezTo>
                  <a:pt x="135609" y="66397"/>
                  <a:pt x="140938" y="61108"/>
                  <a:pt x="144723" y="56628"/>
                </a:cubicBezTo>
                <a:cubicBezTo>
                  <a:pt x="148607" y="52023"/>
                  <a:pt x="151296" y="47791"/>
                  <a:pt x="152790" y="43933"/>
                </a:cubicBezTo>
                <a:cubicBezTo>
                  <a:pt x="154384" y="40012"/>
                  <a:pt x="155180" y="36092"/>
                  <a:pt x="155180" y="32109"/>
                </a:cubicBezTo>
                <a:cubicBezTo>
                  <a:pt x="155180" y="25949"/>
                  <a:pt x="153338" y="21095"/>
                  <a:pt x="149653" y="17610"/>
                </a:cubicBezTo>
                <a:cubicBezTo>
                  <a:pt x="145967" y="14125"/>
                  <a:pt x="140888" y="12383"/>
                  <a:pt x="134414" y="12383"/>
                </a:cubicBezTo>
                <a:cubicBezTo>
                  <a:pt x="124056" y="12383"/>
                  <a:pt x="114395" y="17361"/>
                  <a:pt x="105431" y="27194"/>
                </a:cubicBezTo>
                <a:lnTo>
                  <a:pt x="105431" y="12134"/>
                </a:lnTo>
                <a:cubicBezTo>
                  <a:pt x="113698" y="4044"/>
                  <a:pt x="123508" y="0"/>
                  <a:pt x="134862" y="0"/>
                </a:cubicBezTo>
                <a:cubicBezTo>
                  <a:pt x="145619" y="0"/>
                  <a:pt x="154085" y="2800"/>
                  <a:pt x="160260" y="8401"/>
                </a:cubicBezTo>
                <a:cubicBezTo>
                  <a:pt x="166535" y="13877"/>
                  <a:pt x="169672" y="21344"/>
                  <a:pt x="169672" y="30803"/>
                </a:cubicBezTo>
                <a:cubicBezTo>
                  <a:pt x="169672" y="35657"/>
                  <a:pt x="168875" y="40324"/>
                  <a:pt x="167282" y="44804"/>
                </a:cubicBezTo>
                <a:cubicBezTo>
                  <a:pt x="165788" y="49222"/>
                  <a:pt x="163098" y="53827"/>
                  <a:pt x="159214" y="58681"/>
                </a:cubicBezTo>
                <a:cubicBezTo>
                  <a:pt x="155429" y="63473"/>
                  <a:pt x="150200" y="68887"/>
                  <a:pt x="143527" y="74860"/>
                </a:cubicBezTo>
                <a:cubicBezTo>
                  <a:pt x="136854" y="80835"/>
                  <a:pt x="128388" y="87804"/>
                  <a:pt x="118130" y="95769"/>
                </a:cubicBezTo>
                <a:lnTo>
                  <a:pt x="170867" y="95769"/>
                </a:lnTo>
                <a:lnTo>
                  <a:pt x="170867" y="108588"/>
                </a:lnTo>
                <a:close/>
                <a:moveTo>
                  <a:pt x="189965" y="1493"/>
                </a:moveTo>
                <a:lnTo>
                  <a:pt x="226269" y="1493"/>
                </a:lnTo>
                <a:cubicBezTo>
                  <a:pt x="238021" y="1493"/>
                  <a:pt x="246935" y="3484"/>
                  <a:pt x="253011" y="7467"/>
                </a:cubicBezTo>
                <a:cubicBezTo>
                  <a:pt x="259186" y="11450"/>
                  <a:pt x="262273" y="18170"/>
                  <a:pt x="262273" y="27629"/>
                </a:cubicBezTo>
                <a:cubicBezTo>
                  <a:pt x="262273" y="35283"/>
                  <a:pt x="260331" y="41133"/>
                  <a:pt x="256447" y="45116"/>
                </a:cubicBezTo>
                <a:cubicBezTo>
                  <a:pt x="252563" y="48974"/>
                  <a:pt x="247384" y="51649"/>
                  <a:pt x="240910" y="53018"/>
                </a:cubicBezTo>
                <a:cubicBezTo>
                  <a:pt x="249176" y="54014"/>
                  <a:pt x="255451" y="56441"/>
                  <a:pt x="259734" y="60361"/>
                </a:cubicBezTo>
                <a:cubicBezTo>
                  <a:pt x="264016" y="64157"/>
                  <a:pt x="266158" y="69882"/>
                  <a:pt x="266158" y="77661"/>
                </a:cubicBezTo>
                <a:cubicBezTo>
                  <a:pt x="266158" y="85066"/>
                  <a:pt x="264415" y="91040"/>
                  <a:pt x="260929" y="95583"/>
                </a:cubicBezTo>
                <a:cubicBezTo>
                  <a:pt x="257443" y="100188"/>
                  <a:pt x="252662" y="103486"/>
                  <a:pt x="246587" y="105601"/>
                </a:cubicBezTo>
                <a:cubicBezTo>
                  <a:pt x="240511" y="107592"/>
                  <a:pt x="233639" y="108588"/>
                  <a:pt x="225970" y="108588"/>
                </a:cubicBezTo>
                <a:lnTo>
                  <a:pt x="189965" y="108588"/>
                </a:lnTo>
                <a:lnTo>
                  <a:pt x="189965" y="1493"/>
                </a:lnTo>
                <a:close/>
                <a:moveTo>
                  <a:pt x="225223" y="47231"/>
                </a:moveTo>
                <a:cubicBezTo>
                  <a:pt x="231995" y="47231"/>
                  <a:pt x="237473" y="45738"/>
                  <a:pt x="241657" y="42751"/>
                </a:cubicBezTo>
                <a:cubicBezTo>
                  <a:pt x="245939" y="39639"/>
                  <a:pt x="248081" y="34848"/>
                  <a:pt x="248081" y="28376"/>
                </a:cubicBezTo>
                <a:cubicBezTo>
                  <a:pt x="248081" y="22900"/>
                  <a:pt x="246188" y="19228"/>
                  <a:pt x="242404" y="17361"/>
                </a:cubicBezTo>
                <a:cubicBezTo>
                  <a:pt x="238619" y="15370"/>
                  <a:pt x="233241" y="14374"/>
                  <a:pt x="226269" y="14374"/>
                </a:cubicBezTo>
                <a:lnTo>
                  <a:pt x="204008" y="14374"/>
                </a:lnTo>
                <a:lnTo>
                  <a:pt x="204008" y="47231"/>
                </a:lnTo>
                <a:lnTo>
                  <a:pt x="225223" y="47231"/>
                </a:lnTo>
                <a:close/>
                <a:moveTo>
                  <a:pt x="225970" y="95893"/>
                </a:moveTo>
                <a:cubicBezTo>
                  <a:pt x="233539" y="95893"/>
                  <a:pt x="239665" y="94587"/>
                  <a:pt x="244346" y="92035"/>
                </a:cubicBezTo>
                <a:cubicBezTo>
                  <a:pt x="249027" y="89422"/>
                  <a:pt x="251367" y="84755"/>
                  <a:pt x="251367" y="77972"/>
                </a:cubicBezTo>
                <a:cubicBezTo>
                  <a:pt x="251367" y="71189"/>
                  <a:pt x="249176" y="66522"/>
                  <a:pt x="244794" y="63908"/>
                </a:cubicBezTo>
                <a:cubicBezTo>
                  <a:pt x="240511" y="61233"/>
                  <a:pt x="233689" y="59926"/>
                  <a:pt x="224326" y="59926"/>
                </a:cubicBezTo>
                <a:lnTo>
                  <a:pt x="204008" y="59926"/>
                </a:lnTo>
                <a:lnTo>
                  <a:pt x="204008" y="95893"/>
                </a:lnTo>
                <a:lnTo>
                  <a:pt x="225970" y="95893"/>
                </a:lnTo>
                <a:close/>
                <a:moveTo>
                  <a:pt x="337196" y="108588"/>
                </a:moveTo>
                <a:lnTo>
                  <a:pt x="324049" y="108588"/>
                </a:lnTo>
                <a:lnTo>
                  <a:pt x="324049" y="83199"/>
                </a:lnTo>
                <a:lnTo>
                  <a:pt x="277736" y="83199"/>
                </a:lnTo>
                <a:lnTo>
                  <a:pt x="277736" y="73927"/>
                </a:lnTo>
                <a:lnTo>
                  <a:pt x="319567" y="1493"/>
                </a:lnTo>
                <a:lnTo>
                  <a:pt x="337196" y="1493"/>
                </a:lnTo>
                <a:lnTo>
                  <a:pt x="337196" y="71873"/>
                </a:lnTo>
                <a:lnTo>
                  <a:pt x="351688" y="71873"/>
                </a:lnTo>
                <a:lnTo>
                  <a:pt x="351688" y="83199"/>
                </a:lnTo>
                <a:lnTo>
                  <a:pt x="337196" y="83199"/>
                </a:lnTo>
                <a:lnTo>
                  <a:pt x="337196" y="108588"/>
                </a:lnTo>
                <a:close/>
                <a:moveTo>
                  <a:pt x="291331" y="71873"/>
                </a:moveTo>
                <a:lnTo>
                  <a:pt x="324049" y="71873"/>
                </a:lnTo>
                <a:lnTo>
                  <a:pt x="324049" y="16117"/>
                </a:lnTo>
                <a:lnTo>
                  <a:pt x="291331" y="71873"/>
                </a:lnTo>
                <a:close/>
                <a:moveTo>
                  <a:pt x="392299" y="110082"/>
                </a:moveTo>
                <a:cubicBezTo>
                  <a:pt x="380347" y="110082"/>
                  <a:pt x="370836" y="107530"/>
                  <a:pt x="363764" y="102490"/>
                </a:cubicBezTo>
                <a:lnTo>
                  <a:pt x="363764" y="87804"/>
                </a:lnTo>
                <a:cubicBezTo>
                  <a:pt x="367947" y="91226"/>
                  <a:pt x="372330" y="93778"/>
                  <a:pt x="376911" y="95458"/>
                </a:cubicBezTo>
                <a:cubicBezTo>
                  <a:pt x="381493" y="97014"/>
                  <a:pt x="386622" y="97823"/>
                  <a:pt x="392299" y="97823"/>
                </a:cubicBezTo>
                <a:cubicBezTo>
                  <a:pt x="399669" y="97823"/>
                  <a:pt x="405346" y="95583"/>
                  <a:pt x="409330" y="91102"/>
                </a:cubicBezTo>
                <a:cubicBezTo>
                  <a:pt x="413414" y="86621"/>
                  <a:pt x="415456" y="80772"/>
                  <a:pt x="415456" y="73491"/>
                </a:cubicBezTo>
                <a:cubicBezTo>
                  <a:pt x="415456" y="65713"/>
                  <a:pt x="413464" y="60050"/>
                  <a:pt x="409480" y="56441"/>
                </a:cubicBezTo>
                <a:cubicBezTo>
                  <a:pt x="405496" y="52894"/>
                  <a:pt x="400466" y="51089"/>
                  <a:pt x="394391" y="51089"/>
                </a:cubicBezTo>
                <a:cubicBezTo>
                  <a:pt x="390008" y="51089"/>
                  <a:pt x="386473" y="51836"/>
                  <a:pt x="383783" y="53329"/>
                </a:cubicBezTo>
                <a:cubicBezTo>
                  <a:pt x="381094" y="54698"/>
                  <a:pt x="379052" y="56192"/>
                  <a:pt x="377658" y="57810"/>
                </a:cubicBezTo>
                <a:lnTo>
                  <a:pt x="366752" y="57810"/>
                </a:lnTo>
                <a:lnTo>
                  <a:pt x="366752" y="1493"/>
                </a:lnTo>
                <a:lnTo>
                  <a:pt x="424718" y="1493"/>
                </a:lnTo>
                <a:lnTo>
                  <a:pt x="424718" y="14374"/>
                </a:lnTo>
                <a:lnTo>
                  <a:pt x="379003" y="14374"/>
                </a:lnTo>
                <a:lnTo>
                  <a:pt x="379003" y="44991"/>
                </a:lnTo>
                <a:cubicBezTo>
                  <a:pt x="380995" y="43498"/>
                  <a:pt x="383435" y="42190"/>
                  <a:pt x="386323" y="41071"/>
                </a:cubicBezTo>
                <a:cubicBezTo>
                  <a:pt x="389212" y="39888"/>
                  <a:pt x="392648" y="39266"/>
                  <a:pt x="396632" y="39266"/>
                </a:cubicBezTo>
                <a:cubicBezTo>
                  <a:pt x="402807" y="39266"/>
                  <a:pt x="408384" y="40572"/>
                  <a:pt x="413364" y="43186"/>
                </a:cubicBezTo>
                <a:cubicBezTo>
                  <a:pt x="418344" y="45675"/>
                  <a:pt x="422278" y="49471"/>
                  <a:pt x="425167" y="54512"/>
                </a:cubicBezTo>
                <a:cubicBezTo>
                  <a:pt x="428154" y="59490"/>
                  <a:pt x="429648" y="65713"/>
                  <a:pt x="429648" y="73181"/>
                </a:cubicBezTo>
                <a:cubicBezTo>
                  <a:pt x="429648" y="80586"/>
                  <a:pt x="428105" y="87058"/>
                  <a:pt x="425017" y="92596"/>
                </a:cubicBezTo>
                <a:cubicBezTo>
                  <a:pt x="422029" y="98196"/>
                  <a:pt x="417746" y="102490"/>
                  <a:pt x="412169" y="105601"/>
                </a:cubicBezTo>
                <a:cubicBezTo>
                  <a:pt x="406591" y="108588"/>
                  <a:pt x="399968" y="110082"/>
                  <a:pt x="392299" y="110082"/>
                </a:cubicBezTo>
                <a:close/>
                <a:moveTo>
                  <a:pt x="493559" y="108588"/>
                </a:moveTo>
                <a:lnTo>
                  <a:pt x="479964" y="108588"/>
                </a:lnTo>
                <a:lnTo>
                  <a:pt x="479964" y="18357"/>
                </a:lnTo>
                <a:lnTo>
                  <a:pt x="450384" y="41071"/>
                </a:lnTo>
                <a:lnTo>
                  <a:pt x="450384" y="26011"/>
                </a:lnTo>
                <a:lnTo>
                  <a:pt x="482205" y="1493"/>
                </a:lnTo>
                <a:lnTo>
                  <a:pt x="493559" y="1493"/>
                </a:lnTo>
                <a:lnTo>
                  <a:pt x="493559" y="108588"/>
                </a:lnTo>
                <a:close/>
                <a:moveTo>
                  <a:pt x="579133" y="110082"/>
                </a:moveTo>
                <a:cubicBezTo>
                  <a:pt x="568576" y="110082"/>
                  <a:pt x="559313" y="107904"/>
                  <a:pt x="551345" y="103486"/>
                </a:cubicBezTo>
                <a:cubicBezTo>
                  <a:pt x="543477" y="99129"/>
                  <a:pt x="537352" y="92844"/>
                  <a:pt x="532969" y="84693"/>
                </a:cubicBezTo>
                <a:cubicBezTo>
                  <a:pt x="528587" y="76416"/>
                  <a:pt x="526396" y="66584"/>
                  <a:pt x="526396" y="55134"/>
                </a:cubicBezTo>
                <a:cubicBezTo>
                  <a:pt x="526396" y="37897"/>
                  <a:pt x="530928" y="24455"/>
                  <a:pt x="539991" y="14810"/>
                </a:cubicBezTo>
                <a:cubicBezTo>
                  <a:pt x="549054" y="5040"/>
                  <a:pt x="562002" y="186"/>
                  <a:pt x="578834" y="186"/>
                </a:cubicBezTo>
                <a:cubicBezTo>
                  <a:pt x="585109" y="186"/>
                  <a:pt x="591085" y="871"/>
                  <a:pt x="596762" y="2240"/>
                </a:cubicBezTo>
                <a:cubicBezTo>
                  <a:pt x="602539" y="3547"/>
                  <a:pt x="607419" y="5414"/>
                  <a:pt x="611403" y="7902"/>
                </a:cubicBezTo>
                <a:lnTo>
                  <a:pt x="611403" y="21344"/>
                </a:lnTo>
                <a:cubicBezTo>
                  <a:pt x="607120" y="18669"/>
                  <a:pt x="602090" y="16615"/>
                  <a:pt x="596314" y="15121"/>
                </a:cubicBezTo>
                <a:cubicBezTo>
                  <a:pt x="590637" y="13628"/>
                  <a:pt x="584760" y="12881"/>
                  <a:pt x="578685" y="12881"/>
                </a:cubicBezTo>
                <a:cubicBezTo>
                  <a:pt x="566135" y="12881"/>
                  <a:pt x="556823" y="16366"/>
                  <a:pt x="550747" y="23459"/>
                </a:cubicBezTo>
                <a:cubicBezTo>
                  <a:pt x="544672" y="30554"/>
                  <a:pt x="541634" y="41071"/>
                  <a:pt x="541634" y="55134"/>
                </a:cubicBezTo>
                <a:cubicBezTo>
                  <a:pt x="541634" y="69260"/>
                  <a:pt x="544921" y="79839"/>
                  <a:pt x="551494" y="86933"/>
                </a:cubicBezTo>
                <a:cubicBezTo>
                  <a:pt x="558068" y="93902"/>
                  <a:pt x="567679" y="97387"/>
                  <a:pt x="580328" y="97387"/>
                </a:cubicBezTo>
                <a:cubicBezTo>
                  <a:pt x="592280" y="97387"/>
                  <a:pt x="602638" y="94089"/>
                  <a:pt x="611403" y="87555"/>
                </a:cubicBezTo>
                <a:lnTo>
                  <a:pt x="611403" y="100997"/>
                </a:lnTo>
                <a:cubicBezTo>
                  <a:pt x="607917" y="103734"/>
                  <a:pt x="603286" y="105974"/>
                  <a:pt x="597509" y="107717"/>
                </a:cubicBezTo>
                <a:cubicBezTo>
                  <a:pt x="591732" y="109273"/>
                  <a:pt x="585607" y="110082"/>
                  <a:pt x="579133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3" name="Полилиния 1022">
            <a:extLst>
              <a:ext uri="{FF2B5EF4-FFF2-40B4-BE49-F238E27FC236}">
                <a16:creationId xmlns:a16="http://schemas.microsoft.com/office/drawing/2014/main" id="{42C56D3D-27B4-A58A-D86A-71B16BB5139A}"/>
              </a:ext>
            </a:extLst>
          </p:cNvPr>
          <p:cNvSpPr/>
          <p:nvPr userDrawn="1"/>
        </p:nvSpPr>
        <p:spPr>
          <a:xfrm>
            <a:off x="15359119" y="4513847"/>
            <a:ext cx="1398954" cy="726227"/>
          </a:xfrm>
          <a:custGeom>
            <a:avLst/>
            <a:gdLst>
              <a:gd name="connsiteX0" fmla="*/ 425 w 1198727"/>
              <a:gd name="connsiteY0" fmla="*/ 1122 h 622284"/>
              <a:gd name="connsiteX1" fmla="*/ 1199153 w 1198727"/>
              <a:gd name="connsiteY1" fmla="*/ 1122 h 622284"/>
              <a:gd name="connsiteX2" fmla="*/ 1199153 w 1198727"/>
              <a:gd name="connsiteY2" fmla="*/ 623406 h 622284"/>
              <a:gd name="connsiteX3" fmla="*/ 425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122"/>
                </a:moveTo>
                <a:lnTo>
                  <a:pt x="1199153" y="1122"/>
                </a:lnTo>
                <a:lnTo>
                  <a:pt x="1199153" y="623406"/>
                </a:lnTo>
                <a:lnTo>
                  <a:pt x="425" y="623406"/>
                </a:lnTo>
                <a:close/>
              </a:path>
            </a:pathLst>
          </a:custGeom>
          <a:solidFill>
            <a:srgbClr val="466E2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4" name="Полилиния 1023">
            <a:extLst>
              <a:ext uri="{FF2B5EF4-FFF2-40B4-BE49-F238E27FC236}">
                <a16:creationId xmlns:a16="http://schemas.microsoft.com/office/drawing/2014/main" id="{C1453336-4C8A-8693-2594-3C4CB366A8B0}"/>
              </a:ext>
            </a:extLst>
          </p:cNvPr>
          <p:cNvSpPr/>
          <p:nvPr userDrawn="1"/>
        </p:nvSpPr>
        <p:spPr>
          <a:xfrm>
            <a:off x="15482328" y="4815595"/>
            <a:ext cx="705353" cy="128468"/>
          </a:xfrm>
          <a:custGeom>
            <a:avLst/>
            <a:gdLst>
              <a:gd name="connsiteX0" fmla="*/ 22111 w 604399"/>
              <a:gd name="connsiteY0" fmla="*/ 108588 h 110081"/>
              <a:gd name="connsiteX1" fmla="*/ 10159 w 604399"/>
              <a:gd name="connsiteY1" fmla="*/ 108588 h 110081"/>
              <a:gd name="connsiteX2" fmla="*/ 16434 w 604399"/>
              <a:gd name="connsiteY2" fmla="*/ 77661 h 110081"/>
              <a:gd name="connsiteX3" fmla="*/ 0 w 604399"/>
              <a:gd name="connsiteY3" fmla="*/ 77661 h 110081"/>
              <a:gd name="connsiteX4" fmla="*/ 0 w 604399"/>
              <a:gd name="connsiteY4" fmla="*/ 67206 h 110081"/>
              <a:gd name="connsiteX5" fmla="*/ 18675 w 604399"/>
              <a:gd name="connsiteY5" fmla="*/ 67206 h 110081"/>
              <a:gd name="connsiteX6" fmla="*/ 24202 w 604399"/>
              <a:gd name="connsiteY6" fmla="*/ 40012 h 110081"/>
              <a:gd name="connsiteX7" fmla="*/ 4034 w 604399"/>
              <a:gd name="connsiteY7" fmla="*/ 40012 h 110081"/>
              <a:gd name="connsiteX8" fmla="*/ 4034 w 604399"/>
              <a:gd name="connsiteY8" fmla="*/ 29559 h 110081"/>
              <a:gd name="connsiteX9" fmla="*/ 26294 w 604399"/>
              <a:gd name="connsiteY9" fmla="*/ 29559 h 110081"/>
              <a:gd name="connsiteX10" fmla="*/ 32120 w 604399"/>
              <a:gd name="connsiteY10" fmla="*/ 1493 h 110081"/>
              <a:gd name="connsiteX11" fmla="*/ 44072 w 604399"/>
              <a:gd name="connsiteY11" fmla="*/ 1493 h 110081"/>
              <a:gd name="connsiteX12" fmla="*/ 38246 w 604399"/>
              <a:gd name="connsiteY12" fmla="*/ 29559 h 110081"/>
              <a:gd name="connsiteX13" fmla="*/ 60655 w 604399"/>
              <a:gd name="connsiteY13" fmla="*/ 29559 h 110081"/>
              <a:gd name="connsiteX14" fmla="*/ 66482 w 604399"/>
              <a:gd name="connsiteY14" fmla="*/ 1493 h 110081"/>
              <a:gd name="connsiteX15" fmla="*/ 78434 w 604399"/>
              <a:gd name="connsiteY15" fmla="*/ 1493 h 110081"/>
              <a:gd name="connsiteX16" fmla="*/ 72607 w 604399"/>
              <a:gd name="connsiteY16" fmla="*/ 29559 h 110081"/>
              <a:gd name="connsiteX17" fmla="*/ 89340 w 604399"/>
              <a:gd name="connsiteY17" fmla="*/ 29559 h 110081"/>
              <a:gd name="connsiteX18" fmla="*/ 89340 w 604399"/>
              <a:gd name="connsiteY18" fmla="*/ 40012 h 110081"/>
              <a:gd name="connsiteX19" fmla="*/ 70515 w 604399"/>
              <a:gd name="connsiteY19" fmla="*/ 40012 h 110081"/>
              <a:gd name="connsiteX20" fmla="*/ 64988 w 604399"/>
              <a:gd name="connsiteY20" fmla="*/ 67206 h 110081"/>
              <a:gd name="connsiteX21" fmla="*/ 85306 w 604399"/>
              <a:gd name="connsiteY21" fmla="*/ 67206 h 110081"/>
              <a:gd name="connsiteX22" fmla="*/ 85306 w 604399"/>
              <a:gd name="connsiteY22" fmla="*/ 77661 h 110081"/>
              <a:gd name="connsiteX23" fmla="*/ 62747 w 604399"/>
              <a:gd name="connsiteY23" fmla="*/ 77661 h 110081"/>
              <a:gd name="connsiteX24" fmla="*/ 56472 w 604399"/>
              <a:gd name="connsiteY24" fmla="*/ 108588 h 110081"/>
              <a:gd name="connsiteX25" fmla="*/ 44520 w 604399"/>
              <a:gd name="connsiteY25" fmla="*/ 108588 h 110081"/>
              <a:gd name="connsiteX26" fmla="*/ 50795 w 604399"/>
              <a:gd name="connsiteY26" fmla="*/ 77661 h 110081"/>
              <a:gd name="connsiteX27" fmla="*/ 28386 w 604399"/>
              <a:gd name="connsiteY27" fmla="*/ 77661 h 110081"/>
              <a:gd name="connsiteX28" fmla="*/ 22111 w 604399"/>
              <a:gd name="connsiteY28" fmla="*/ 108588 h 110081"/>
              <a:gd name="connsiteX29" fmla="*/ 30626 w 604399"/>
              <a:gd name="connsiteY29" fmla="*/ 67206 h 110081"/>
              <a:gd name="connsiteX30" fmla="*/ 53036 w 604399"/>
              <a:gd name="connsiteY30" fmla="*/ 67206 h 110081"/>
              <a:gd name="connsiteX31" fmla="*/ 58564 w 604399"/>
              <a:gd name="connsiteY31" fmla="*/ 40012 h 110081"/>
              <a:gd name="connsiteX32" fmla="*/ 36154 w 604399"/>
              <a:gd name="connsiteY32" fmla="*/ 40012 h 110081"/>
              <a:gd name="connsiteX33" fmla="*/ 30626 w 604399"/>
              <a:gd name="connsiteY33" fmla="*/ 67206 h 110081"/>
              <a:gd name="connsiteX34" fmla="*/ 158766 w 604399"/>
              <a:gd name="connsiteY34" fmla="*/ 108588 h 110081"/>
              <a:gd name="connsiteX35" fmla="*/ 145619 w 604399"/>
              <a:gd name="connsiteY35" fmla="*/ 108588 h 110081"/>
              <a:gd name="connsiteX36" fmla="*/ 145619 w 604399"/>
              <a:gd name="connsiteY36" fmla="*/ 83199 h 110081"/>
              <a:gd name="connsiteX37" fmla="*/ 99306 w 604399"/>
              <a:gd name="connsiteY37" fmla="*/ 83199 h 110081"/>
              <a:gd name="connsiteX38" fmla="*/ 99306 w 604399"/>
              <a:gd name="connsiteY38" fmla="*/ 73927 h 110081"/>
              <a:gd name="connsiteX39" fmla="*/ 141137 w 604399"/>
              <a:gd name="connsiteY39" fmla="*/ 1493 h 110081"/>
              <a:gd name="connsiteX40" fmla="*/ 158766 w 604399"/>
              <a:gd name="connsiteY40" fmla="*/ 1493 h 110081"/>
              <a:gd name="connsiteX41" fmla="*/ 158766 w 604399"/>
              <a:gd name="connsiteY41" fmla="*/ 71873 h 110081"/>
              <a:gd name="connsiteX42" fmla="*/ 173257 w 604399"/>
              <a:gd name="connsiteY42" fmla="*/ 71873 h 110081"/>
              <a:gd name="connsiteX43" fmla="*/ 173257 w 604399"/>
              <a:gd name="connsiteY43" fmla="*/ 83199 h 110081"/>
              <a:gd name="connsiteX44" fmla="*/ 158766 w 604399"/>
              <a:gd name="connsiteY44" fmla="*/ 83199 h 110081"/>
              <a:gd name="connsiteX45" fmla="*/ 158766 w 604399"/>
              <a:gd name="connsiteY45" fmla="*/ 108588 h 110081"/>
              <a:gd name="connsiteX46" fmla="*/ 112901 w 604399"/>
              <a:gd name="connsiteY46" fmla="*/ 71873 h 110081"/>
              <a:gd name="connsiteX47" fmla="*/ 145619 w 604399"/>
              <a:gd name="connsiteY47" fmla="*/ 71873 h 110081"/>
              <a:gd name="connsiteX48" fmla="*/ 145619 w 604399"/>
              <a:gd name="connsiteY48" fmla="*/ 16117 h 110081"/>
              <a:gd name="connsiteX49" fmla="*/ 112901 w 604399"/>
              <a:gd name="connsiteY49" fmla="*/ 71873 h 110081"/>
              <a:gd name="connsiteX50" fmla="*/ 255401 w 604399"/>
              <a:gd name="connsiteY50" fmla="*/ 73491 h 110081"/>
              <a:gd name="connsiteX51" fmla="*/ 250620 w 604399"/>
              <a:gd name="connsiteY51" fmla="*/ 92782 h 110081"/>
              <a:gd name="connsiteX52" fmla="*/ 237922 w 604399"/>
              <a:gd name="connsiteY52" fmla="*/ 105601 h 110081"/>
              <a:gd name="connsiteX53" fmla="*/ 219845 w 604399"/>
              <a:gd name="connsiteY53" fmla="*/ 110082 h 110081"/>
              <a:gd name="connsiteX54" fmla="*/ 198182 w 604399"/>
              <a:gd name="connsiteY54" fmla="*/ 104108 h 110081"/>
              <a:gd name="connsiteX55" fmla="*/ 186081 w 604399"/>
              <a:gd name="connsiteY55" fmla="*/ 87555 h 110081"/>
              <a:gd name="connsiteX56" fmla="*/ 182346 w 604399"/>
              <a:gd name="connsiteY56" fmla="*/ 63161 h 110081"/>
              <a:gd name="connsiteX57" fmla="*/ 186828 w 604399"/>
              <a:gd name="connsiteY57" fmla="*/ 30181 h 110081"/>
              <a:gd name="connsiteX58" fmla="*/ 200871 w 604399"/>
              <a:gd name="connsiteY58" fmla="*/ 8089 h 110081"/>
              <a:gd name="connsiteX59" fmla="*/ 225372 w 604399"/>
              <a:gd name="connsiteY59" fmla="*/ 0 h 110081"/>
              <a:gd name="connsiteX60" fmla="*/ 247931 w 604399"/>
              <a:gd name="connsiteY60" fmla="*/ 5538 h 110081"/>
              <a:gd name="connsiteX61" fmla="*/ 247931 w 604399"/>
              <a:gd name="connsiteY61" fmla="*/ 18855 h 110081"/>
              <a:gd name="connsiteX62" fmla="*/ 225372 w 604399"/>
              <a:gd name="connsiteY62" fmla="*/ 12259 h 110081"/>
              <a:gd name="connsiteX63" fmla="*/ 209835 w 604399"/>
              <a:gd name="connsiteY63" fmla="*/ 17361 h 110081"/>
              <a:gd name="connsiteX64" fmla="*/ 199975 w 604399"/>
              <a:gd name="connsiteY64" fmla="*/ 31238 h 110081"/>
              <a:gd name="connsiteX65" fmla="*/ 195791 w 604399"/>
              <a:gd name="connsiteY65" fmla="*/ 50778 h 110081"/>
              <a:gd name="connsiteX66" fmla="*/ 207146 w 604399"/>
              <a:gd name="connsiteY66" fmla="*/ 40759 h 110081"/>
              <a:gd name="connsiteX67" fmla="*/ 221189 w 604399"/>
              <a:gd name="connsiteY67" fmla="*/ 37523 h 110081"/>
              <a:gd name="connsiteX68" fmla="*/ 238519 w 604399"/>
              <a:gd name="connsiteY68" fmla="*/ 41693 h 110081"/>
              <a:gd name="connsiteX69" fmla="*/ 250770 w 604399"/>
              <a:gd name="connsiteY69" fmla="*/ 53952 h 110081"/>
              <a:gd name="connsiteX70" fmla="*/ 255401 w 604399"/>
              <a:gd name="connsiteY70" fmla="*/ 73491 h 110081"/>
              <a:gd name="connsiteX71" fmla="*/ 219396 w 604399"/>
              <a:gd name="connsiteY71" fmla="*/ 98134 h 110081"/>
              <a:gd name="connsiteX72" fmla="*/ 230153 w 604399"/>
              <a:gd name="connsiteY72" fmla="*/ 95458 h 110081"/>
              <a:gd name="connsiteX73" fmla="*/ 238071 w 604399"/>
              <a:gd name="connsiteY73" fmla="*/ 87244 h 110081"/>
              <a:gd name="connsiteX74" fmla="*/ 241208 w 604399"/>
              <a:gd name="connsiteY74" fmla="*/ 73803 h 110081"/>
              <a:gd name="connsiteX75" fmla="*/ 238220 w 604399"/>
              <a:gd name="connsiteY75" fmla="*/ 60174 h 110081"/>
              <a:gd name="connsiteX76" fmla="*/ 230601 w 604399"/>
              <a:gd name="connsiteY76" fmla="*/ 51961 h 110081"/>
              <a:gd name="connsiteX77" fmla="*/ 220890 w 604399"/>
              <a:gd name="connsiteY77" fmla="*/ 49160 h 110081"/>
              <a:gd name="connsiteX78" fmla="*/ 204307 w 604399"/>
              <a:gd name="connsiteY78" fmla="*/ 55570 h 110081"/>
              <a:gd name="connsiteX79" fmla="*/ 197734 w 604399"/>
              <a:gd name="connsiteY79" fmla="*/ 74114 h 110081"/>
              <a:gd name="connsiteX80" fmla="*/ 203560 w 604399"/>
              <a:gd name="connsiteY80" fmla="*/ 91538 h 110081"/>
              <a:gd name="connsiteX81" fmla="*/ 219396 w 604399"/>
              <a:gd name="connsiteY81" fmla="*/ 98134 h 110081"/>
              <a:gd name="connsiteX82" fmla="*/ 337539 w 604399"/>
              <a:gd name="connsiteY82" fmla="*/ 73491 h 110081"/>
              <a:gd name="connsiteX83" fmla="*/ 332758 w 604399"/>
              <a:gd name="connsiteY83" fmla="*/ 92782 h 110081"/>
              <a:gd name="connsiteX84" fmla="*/ 320059 w 604399"/>
              <a:gd name="connsiteY84" fmla="*/ 105601 h 110081"/>
              <a:gd name="connsiteX85" fmla="*/ 301982 w 604399"/>
              <a:gd name="connsiteY85" fmla="*/ 110082 h 110081"/>
              <a:gd name="connsiteX86" fmla="*/ 280319 w 604399"/>
              <a:gd name="connsiteY86" fmla="*/ 104108 h 110081"/>
              <a:gd name="connsiteX87" fmla="*/ 268218 w 604399"/>
              <a:gd name="connsiteY87" fmla="*/ 87555 h 110081"/>
              <a:gd name="connsiteX88" fmla="*/ 264483 w 604399"/>
              <a:gd name="connsiteY88" fmla="*/ 63161 h 110081"/>
              <a:gd name="connsiteX89" fmla="*/ 268965 w 604399"/>
              <a:gd name="connsiteY89" fmla="*/ 30181 h 110081"/>
              <a:gd name="connsiteX90" fmla="*/ 283009 w 604399"/>
              <a:gd name="connsiteY90" fmla="*/ 8089 h 110081"/>
              <a:gd name="connsiteX91" fmla="*/ 307510 w 604399"/>
              <a:gd name="connsiteY91" fmla="*/ 0 h 110081"/>
              <a:gd name="connsiteX92" fmla="*/ 330069 w 604399"/>
              <a:gd name="connsiteY92" fmla="*/ 5538 h 110081"/>
              <a:gd name="connsiteX93" fmla="*/ 330069 w 604399"/>
              <a:gd name="connsiteY93" fmla="*/ 18855 h 110081"/>
              <a:gd name="connsiteX94" fmla="*/ 307510 w 604399"/>
              <a:gd name="connsiteY94" fmla="*/ 12259 h 110081"/>
              <a:gd name="connsiteX95" fmla="*/ 291972 w 604399"/>
              <a:gd name="connsiteY95" fmla="*/ 17361 h 110081"/>
              <a:gd name="connsiteX96" fmla="*/ 282112 w 604399"/>
              <a:gd name="connsiteY96" fmla="*/ 31238 h 110081"/>
              <a:gd name="connsiteX97" fmla="*/ 277929 w 604399"/>
              <a:gd name="connsiteY97" fmla="*/ 50778 h 110081"/>
              <a:gd name="connsiteX98" fmla="*/ 289283 w 604399"/>
              <a:gd name="connsiteY98" fmla="*/ 40759 h 110081"/>
              <a:gd name="connsiteX99" fmla="*/ 303327 w 604399"/>
              <a:gd name="connsiteY99" fmla="*/ 37523 h 110081"/>
              <a:gd name="connsiteX100" fmla="*/ 320657 w 604399"/>
              <a:gd name="connsiteY100" fmla="*/ 41693 h 110081"/>
              <a:gd name="connsiteX101" fmla="*/ 332907 w 604399"/>
              <a:gd name="connsiteY101" fmla="*/ 53952 h 110081"/>
              <a:gd name="connsiteX102" fmla="*/ 337539 w 604399"/>
              <a:gd name="connsiteY102" fmla="*/ 73491 h 110081"/>
              <a:gd name="connsiteX103" fmla="*/ 301534 w 604399"/>
              <a:gd name="connsiteY103" fmla="*/ 98134 h 110081"/>
              <a:gd name="connsiteX104" fmla="*/ 312291 w 604399"/>
              <a:gd name="connsiteY104" fmla="*/ 95458 h 110081"/>
              <a:gd name="connsiteX105" fmla="*/ 320208 w 604399"/>
              <a:gd name="connsiteY105" fmla="*/ 87244 h 110081"/>
              <a:gd name="connsiteX106" fmla="*/ 323346 w 604399"/>
              <a:gd name="connsiteY106" fmla="*/ 73803 h 110081"/>
              <a:gd name="connsiteX107" fmla="*/ 320358 w 604399"/>
              <a:gd name="connsiteY107" fmla="*/ 60174 h 110081"/>
              <a:gd name="connsiteX108" fmla="*/ 312739 w 604399"/>
              <a:gd name="connsiteY108" fmla="*/ 51961 h 110081"/>
              <a:gd name="connsiteX109" fmla="*/ 303028 w 604399"/>
              <a:gd name="connsiteY109" fmla="*/ 49160 h 110081"/>
              <a:gd name="connsiteX110" fmla="*/ 286445 w 604399"/>
              <a:gd name="connsiteY110" fmla="*/ 55570 h 110081"/>
              <a:gd name="connsiteX111" fmla="*/ 279871 w 604399"/>
              <a:gd name="connsiteY111" fmla="*/ 74114 h 110081"/>
              <a:gd name="connsiteX112" fmla="*/ 285698 w 604399"/>
              <a:gd name="connsiteY112" fmla="*/ 91538 h 110081"/>
              <a:gd name="connsiteX113" fmla="*/ 301534 w 604399"/>
              <a:gd name="connsiteY113" fmla="*/ 98134 h 110081"/>
              <a:gd name="connsiteX114" fmla="*/ 354240 w 604399"/>
              <a:gd name="connsiteY114" fmla="*/ 1493 h 110081"/>
              <a:gd name="connsiteX115" fmla="*/ 420573 w 604399"/>
              <a:gd name="connsiteY115" fmla="*/ 1493 h 110081"/>
              <a:gd name="connsiteX116" fmla="*/ 420573 w 604399"/>
              <a:gd name="connsiteY116" fmla="*/ 14374 h 110081"/>
              <a:gd name="connsiteX117" fmla="*/ 368283 w 604399"/>
              <a:gd name="connsiteY117" fmla="*/ 14374 h 110081"/>
              <a:gd name="connsiteX118" fmla="*/ 368283 w 604399"/>
              <a:gd name="connsiteY118" fmla="*/ 46734 h 110081"/>
              <a:gd name="connsiteX119" fmla="*/ 412654 w 604399"/>
              <a:gd name="connsiteY119" fmla="*/ 46734 h 110081"/>
              <a:gd name="connsiteX120" fmla="*/ 412654 w 604399"/>
              <a:gd name="connsiteY120" fmla="*/ 59428 h 110081"/>
              <a:gd name="connsiteX121" fmla="*/ 368283 w 604399"/>
              <a:gd name="connsiteY121" fmla="*/ 59428 h 110081"/>
              <a:gd name="connsiteX122" fmla="*/ 368283 w 604399"/>
              <a:gd name="connsiteY122" fmla="*/ 95893 h 110081"/>
              <a:gd name="connsiteX123" fmla="*/ 421319 w 604399"/>
              <a:gd name="connsiteY123" fmla="*/ 95893 h 110081"/>
              <a:gd name="connsiteX124" fmla="*/ 421319 w 604399"/>
              <a:gd name="connsiteY124" fmla="*/ 108588 h 110081"/>
              <a:gd name="connsiteX125" fmla="*/ 354240 w 604399"/>
              <a:gd name="connsiteY125" fmla="*/ 108588 h 110081"/>
              <a:gd name="connsiteX126" fmla="*/ 354240 w 604399"/>
              <a:gd name="connsiteY126" fmla="*/ 1493 h 110081"/>
              <a:gd name="connsiteX127" fmla="*/ 506576 w 604399"/>
              <a:gd name="connsiteY127" fmla="*/ 108588 h 110081"/>
              <a:gd name="connsiteX128" fmla="*/ 438301 w 604399"/>
              <a:gd name="connsiteY128" fmla="*/ 108588 h 110081"/>
              <a:gd name="connsiteX129" fmla="*/ 438301 w 604399"/>
              <a:gd name="connsiteY129" fmla="*/ 94400 h 110081"/>
              <a:gd name="connsiteX130" fmla="*/ 464445 w 604399"/>
              <a:gd name="connsiteY130" fmla="*/ 72433 h 110081"/>
              <a:gd name="connsiteX131" fmla="*/ 480431 w 604399"/>
              <a:gd name="connsiteY131" fmla="*/ 56628 h 110081"/>
              <a:gd name="connsiteX132" fmla="*/ 488498 w 604399"/>
              <a:gd name="connsiteY132" fmla="*/ 43933 h 110081"/>
              <a:gd name="connsiteX133" fmla="*/ 490889 w 604399"/>
              <a:gd name="connsiteY133" fmla="*/ 32109 h 110081"/>
              <a:gd name="connsiteX134" fmla="*/ 485361 w 604399"/>
              <a:gd name="connsiteY134" fmla="*/ 17610 h 110081"/>
              <a:gd name="connsiteX135" fmla="*/ 470123 w 604399"/>
              <a:gd name="connsiteY135" fmla="*/ 12383 h 110081"/>
              <a:gd name="connsiteX136" fmla="*/ 441140 w 604399"/>
              <a:gd name="connsiteY136" fmla="*/ 27194 h 110081"/>
              <a:gd name="connsiteX137" fmla="*/ 441140 w 604399"/>
              <a:gd name="connsiteY137" fmla="*/ 12134 h 110081"/>
              <a:gd name="connsiteX138" fmla="*/ 470571 w 604399"/>
              <a:gd name="connsiteY138" fmla="*/ 0 h 110081"/>
              <a:gd name="connsiteX139" fmla="*/ 495968 w 604399"/>
              <a:gd name="connsiteY139" fmla="*/ 8401 h 110081"/>
              <a:gd name="connsiteX140" fmla="*/ 505381 w 604399"/>
              <a:gd name="connsiteY140" fmla="*/ 30803 h 110081"/>
              <a:gd name="connsiteX141" fmla="*/ 502990 w 604399"/>
              <a:gd name="connsiteY141" fmla="*/ 44804 h 110081"/>
              <a:gd name="connsiteX142" fmla="*/ 494922 w 604399"/>
              <a:gd name="connsiteY142" fmla="*/ 58681 h 110081"/>
              <a:gd name="connsiteX143" fmla="*/ 479236 w 604399"/>
              <a:gd name="connsiteY143" fmla="*/ 74860 h 110081"/>
              <a:gd name="connsiteX144" fmla="*/ 453838 w 604399"/>
              <a:gd name="connsiteY144" fmla="*/ 95769 h 110081"/>
              <a:gd name="connsiteX145" fmla="*/ 506576 w 604399"/>
              <a:gd name="connsiteY145" fmla="*/ 95769 h 110081"/>
              <a:gd name="connsiteX146" fmla="*/ 506576 w 604399"/>
              <a:gd name="connsiteY146" fmla="*/ 108588 h 110081"/>
              <a:gd name="connsiteX147" fmla="*/ 572130 w 604399"/>
              <a:gd name="connsiteY147" fmla="*/ 110082 h 110081"/>
              <a:gd name="connsiteX148" fmla="*/ 544342 w 604399"/>
              <a:gd name="connsiteY148" fmla="*/ 103486 h 110081"/>
              <a:gd name="connsiteX149" fmla="*/ 525966 w 604399"/>
              <a:gd name="connsiteY149" fmla="*/ 84693 h 110081"/>
              <a:gd name="connsiteX150" fmla="*/ 519393 w 604399"/>
              <a:gd name="connsiteY150" fmla="*/ 55134 h 110081"/>
              <a:gd name="connsiteX151" fmla="*/ 532988 w 604399"/>
              <a:gd name="connsiteY151" fmla="*/ 14810 h 110081"/>
              <a:gd name="connsiteX152" fmla="*/ 571831 w 604399"/>
              <a:gd name="connsiteY152" fmla="*/ 186 h 110081"/>
              <a:gd name="connsiteX153" fmla="*/ 589759 w 604399"/>
              <a:gd name="connsiteY153" fmla="*/ 2240 h 110081"/>
              <a:gd name="connsiteX154" fmla="*/ 604400 w 604399"/>
              <a:gd name="connsiteY154" fmla="*/ 7902 h 110081"/>
              <a:gd name="connsiteX155" fmla="*/ 604400 w 604399"/>
              <a:gd name="connsiteY155" fmla="*/ 21344 h 110081"/>
              <a:gd name="connsiteX156" fmla="*/ 589311 w 604399"/>
              <a:gd name="connsiteY156" fmla="*/ 15121 h 110081"/>
              <a:gd name="connsiteX157" fmla="*/ 571682 w 604399"/>
              <a:gd name="connsiteY157" fmla="*/ 12881 h 110081"/>
              <a:gd name="connsiteX158" fmla="*/ 543744 w 604399"/>
              <a:gd name="connsiteY158" fmla="*/ 23459 h 110081"/>
              <a:gd name="connsiteX159" fmla="*/ 534631 w 604399"/>
              <a:gd name="connsiteY159" fmla="*/ 55134 h 110081"/>
              <a:gd name="connsiteX160" fmla="*/ 544491 w 604399"/>
              <a:gd name="connsiteY160" fmla="*/ 86933 h 110081"/>
              <a:gd name="connsiteX161" fmla="*/ 573325 w 604399"/>
              <a:gd name="connsiteY161" fmla="*/ 97387 h 110081"/>
              <a:gd name="connsiteX162" fmla="*/ 604400 w 604399"/>
              <a:gd name="connsiteY162" fmla="*/ 87555 h 110081"/>
              <a:gd name="connsiteX163" fmla="*/ 604400 w 604399"/>
              <a:gd name="connsiteY163" fmla="*/ 100997 h 110081"/>
              <a:gd name="connsiteX164" fmla="*/ 590506 w 604399"/>
              <a:gd name="connsiteY164" fmla="*/ 107717 h 110081"/>
              <a:gd name="connsiteX165" fmla="*/ 572130 w 604399"/>
              <a:gd name="connsiteY16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60439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58766" y="108588"/>
                </a:moveTo>
                <a:lnTo>
                  <a:pt x="145619" y="108588"/>
                </a:lnTo>
                <a:lnTo>
                  <a:pt x="145619" y="83199"/>
                </a:lnTo>
                <a:lnTo>
                  <a:pt x="99306" y="83199"/>
                </a:lnTo>
                <a:lnTo>
                  <a:pt x="99306" y="73927"/>
                </a:lnTo>
                <a:lnTo>
                  <a:pt x="141137" y="1493"/>
                </a:lnTo>
                <a:lnTo>
                  <a:pt x="158766" y="1493"/>
                </a:lnTo>
                <a:lnTo>
                  <a:pt x="158766" y="71873"/>
                </a:lnTo>
                <a:lnTo>
                  <a:pt x="173257" y="71873"/>
                </a:lnTo>
                <a:lnTo>
                  <a:pt x="173257" y="83199"/>
                </a:lnTo>
                <a:lnTo>
                  <a:pt x="158766" y="83199"/>
                </a:lnTo>
                <a:lnTo>
                  <a:pt x="158766" y="108588"/>
                </a:lnTo>
                <a:close/>
                <a:moveTo>
                  <a:pt x="112901" y="71873"/>
                </a:moveTo>
                <a:lnTo>
                  <a:pt x="145619" y="71873"/>
                </a:lnTo>
                <a:lnTo>
                  <a:pt x="145619" y="16117"/>
                </a:lnTo>
                <a:lnTo>
                  <a:pt x="112901" y="71873"/>
                </a:lnTo>
                <a:close/>
                <a:moveTo>
                  <a:pt x="255401" y="73491"/>
                </a:moveTo>
                <a:cubicBezTo>
                  <a:pt x="255401" y="80772"/>
                  <a:pt x="253808" y="87182"/>
                  <a:pt x="250620" y="92782"/>
                </a:cubicBezTo>
                <a:cubicBezTo>
                  <a:pt x="247533" y="98258"/>
                  <a:pt x="243300" y="102490"/>
                  <a:pt x="237922" y="105601"/>
                </a:cubicBezTo>
                <a:cubicBezTo>
                  <a:pt x="232543" y="108588"/>
                  <a:pt x="226518" y="110082"/>
                  <a:pt x="219845" y="110082"/>
                </a:cubicBezTo>
                <a:cubicBezTo>
                  <a:pt x="210881" y="110082"/>
                  <a:pt x="203660" y="108091"/>
                  <a:pt x="198182" y="104108"/>
                </a:cubicBezTo>
                <a:cubicBezTo>
                  <a:pt x="192704" y="100125"/>
                  <a:pt x="188670" y="94587"/>
                  <a:pt x="186081" y="87555"/>
                </a:cubicBezTo>
                <a:cubicBezTo>
                  <a:pt x="183591" y="80461"/>
                  <a:pt x="182346" y="72372"/>
                  <a:pt x="182346" y="63161"/>
                </a:cubicBezTo>
                <a:cubicBezTo>
                  <a:pt x="182346" y="50653"/>
                  <a:pt x="183840" y="39639"/>
                  <a:pt x="186828" y="30181"/>
                </a:cubicBezTo>
                <a:cubicBezTo>
                  <a:pt x="189915" y="20722"/>
                  <a:pt x="194596" y="13379"/>
                  <a:pt x="200871" y="8089"/>
                </a:cubicBezTo>
                <a:cubicBezTo>
                  <a:pt x="207245" y="2675"/>
                  <a:pt x="215412" y="0"/>
                  <a:pt x="225372" y="0"/>
                </a:cubicBezTo>
                <a:cubicBezTo>
                  <a:pt x="233938" y="0"/>
                  <a:pt x="241457" y="1866"/>
                  <a:pt x="247931" y="5538"/>
                </a:cubicBezTo>
                <a:lnTo>
                  <a:pt x="247931" y="18855"/>
                </a:lnTo>
                <a:cubicBezTo>
                  <a:pt x="241457" y="14437"/>
                  <a:pt x="233938" y="12259"/>
                  <a:pt x="225372" y="12259"/>
                </a:cubicBezTo>
                <a:cubicBezTo>
                  <a:pt x="219197" y="12259"/>
                  <a:pt x="214018" y="13939"/>
                  <a:pt x="209835" y="17361"/>
                </a:cubicBezTo>
                <a:cubicBezTo>
                  <a:pt x="205652" y="20722"/>
                  <a:pt x="202365" y="25327"/>
                  <a:pt x="199975" y="31238"/>
                </a:cubicBezTo>
                <a:cubicBezTo>
                  <a:pt x="197684" y="37026"/>
                  <a:pt x="196290" y="43498"/>
                  <a:pt x="195791" y="50778"/>
                </a:cubicBezTo>
                <a:cubicBezTo>
                  <a:pt x="199078" y="46298"/>
                  <a:pt x="202863" y="42999"/>
                  <a:pt x="207146" y="40759"/>
                </a:cubicBezTo>
                <a:cubicBezTo>
                  <a:pt x="211429" y="38581"/>
                  <a:pt x="216110" y="37523"/>
                  <a:pt x="221189" y="37523"/>
                </a:cubicBezTo>
                <a:cubicBezTo>
                  <a:pt x="227663" y="37523"/>
                  <a:pt x="233440" y="38893"/>
                  <a:pt x="238519" y="41693"/>
                </a:cubicBezTo>
                <a:cubicBezTo>
                  <a:pt x="243698" y="44493"/>
                  <a:pt x="247782" y="48538"/>
                  <a:pt x="250770" y="53952"/>
                </a:cubicBezTo>
                <a:cubicBezTo>
                  <a:pt x="253857" y="59179"/>
                  <a:pt x="255401" y="65713"/>
                  <a:pt x="255401" y="73491"/>
                </a:cubicBezTo>
                <a:close/>
                <a:moveTo>
                  <a:pt x="219396" y="98134"/>
                </a:moveTo>
                <a:cubicBezTo>
                  <a:pt x="223281" y="98134"/>
                  <a:pt x="226866" y="97263"/>
                  <a:pt x="230153" y="95458"/>
                </a:cubicBezTo>
                <a:cubicBezTo>
                  <a:pt x="233440" y="93529"/>
                  <a:pt x="236079" y="90791"/>
                  <a:pt x="238071" y="87244"/>
                </a:cubicBezTo>
                <a:cubicBezTo>
                  <a:pt x="240163" y="83635"/>
                  <a:pt x="241208" y="79154"/>
                  <a:pt x="241208" y="73803"/>
                </a:cubicBezTo>
                <a:cubicBezTo>
                  <a:pt x="241208" y="68389"/>
                  <a:pt x="240212" y="63908"/>
                  <a:pt x="238220" y="60174"/>
                </a:cubicBezTo>
                <a:cubicBezTo>
                  <a:pt x="236228" y="56503"/>
                  <a:pt x="233689" y="53765"/>
                  <a:pt x="230601" y="51961"/>
                </a:cubicBezTo>
                <a:cubicBezTo>
                  <a:pt x="227514" y="50093"/>
                  <a:pt x="224277" y="49160"/>
                  <a:pt x="220890" y="49160"/>
                </a:cubicBezTo>
                <a:cubicBezTo>
                  <a:pt x="214317" y="49160"/>
                  <a:pt x="208789" y="51276"/>
                  <a:pt x="204307" y="55570"/>
                </a:cubicBezTo>
                <a:cubicBezTo>
                  <a:pt x="199925" y="59739"/>
                  <a:pt x="197734" y="65900"/>
                  <a:pt x="197734" y="74114"/>
                </a:cubicBezTo>
                <a:cubicBezTo>
                  <a:pt x="197734" y="81270"/>
                  <a:pt x="199676" y="87058"/>
                  <a:pt x="203560" y="91538"/>
                </a:cubicBezTo>
                <a:cubicBezTo>
                  <a:pt x="207445" y="95956"/>
                  <a:pt x="212723" y="98134"/>
                  <a:pt x="219396" y="98134"/>
                </a:cubicBezTo>
                <a:close/>
                <a:moveTo>
                  <a:pt x="337539" y="73491"/>
                </a:moveTo>
                <a:cubicBezTo>
                  <a:pt x="337539" y="80772"/>
                  <a:pt x="335945" y="87182"/>
                  <a:pt x="332758" y="92782"/>
                </a:cubicBezTo>
                <a:cubicBezTo>
                  <a:pt x="329670" y="98258"/>
                  <a:pt x="325438" y="102490"/>
                  <a:pt x="320059" y="105601"/>
                </a:cubicBezTo>
                <a:cubicBezTo>
                  <a:pt x="314681" y="108588"/>
                  <a:pt x="308655" y="110082"/>
                  <a:pt x="301982" y="110082"/>
                </a:cubicBezTo>
                <a:cubicBezTo>
                  <a:pt x="293018" y="110082"/>
                  <a:pt x="285797" y="108091"/>
                  <a:pt x="280319" y="104108"/>
                </a:cubicBezTo>
                <a:cubicBezTo>
                  <a:pt x="274841" y="100125"/>
                  <a:pt x="270808" y="94587"/>
                  <a:pt x="268218" y="87555"/>
                </a:cubicBezTo>
                <a:cubicBezTo>
                  <a:pt x="265728" y="80461"/>
                  <a:pt x="264483" y="72372"/>
                  <a:pt x="264483" y="63161"/>
                </a:cubicBezTo>
                <a:cubicBezTo>
                  <a:pt x="264483" y="50653"/>
                  <a:pt x="265977" y="39639"/>
                  <a:pt x="268965" y="30181"/>
                </a:cubicBezTo>
                <a:cubicBezTo>
                  <a:pt x="272053" y="20722"/>
                  <a:pt x="276734" y="13379"/>
                  <a:pt x="283009" y="8089"/>
                </a:cubicBezTo>
                <a:cubicBezTo>
                  <a:pt x="289383" y="2675"/>
                  <a:pt x="297550" y="0"/>
                  <a:pt x="307510" y="0"/>
                </a:cubicBezTo>
                <a:cubicBezTo>
                  <a:pt x="316075" y="0"/>
                  <a:pt x="323595" y="1866"/>
                  <a:pt x="330069" y="5538"/>
                </a:cubicBezTo>
                <a:lnTo>
                  <a:pt x="330069" y="18855"/>
                </a:lnTo>
                <a:cubicBezTo>
                  <a:pt x="323595" y="14437"/>
                  <a:pt x="316075" y="12259"/>
                  <a:pt x="307510" y="12259"/>
                </a:cubicBezTo>
                <a:cubicBezTo>
                  <a:pt x="301335" y="12259"/>
                  <a:pt x="296156" y="13939"/>
                  <a:pt x="291972" y="17361"/>
                </a:cubicBezTo>
                <a:cubicBezTo>
                  <a:pt x="287789" y="20722"/>
                  <a:pt x="284502" y="25327"/>
                  <a:pt x="282112" y="31238"/>
                </a:cubicBezTo>
                <a:cubicBezTo>
                  <a:pt x="279821" y="37026"/>
                  <a:pt x="278427" y="43498"/>
                  <a:pt x="277929" y="50778"/>
                </a:cubicBezTo>
                <a:cubicBezTo>
                  <a:pt x="281216" y="46298"/>
                  <a:pt x="285001" y="42999"/>
                  <a:pt x="289283" y="40759"/>
                </a:cubicBezTo>
                <a:cubicBezTo>
                  <a:pt x="293566" y="38581"/>
                  <a:pt x="298247" y="37523"/>
                  <a:pt x="303327" y="37523"/>
                </a:cubicBezTo>
                <a:cubicBezTo>
                  <a:pt x="309800" y="37523"/>
                  <a:pt x="315577" y="38893"/>
                  <a:pt x="320657" y="41693"/>
                </a:cubicBezTo>
                <a:cubicBezTo>
                  <a:pt x="325836" y="44493"/>
                  <a:pt x="329919" y="48538"/>
                  <a:pt x="332907" y="53952"/>
                </a:cubicBezTo>
                <a:cubicBezTo>
                  <a:pt x="335995" y="59179"/>
                  <a:pt x="337539" y="65713"/>
                  <a:pt x="337539" y="73491"/>
                </a:cubicBezTo>
                <a:close/>
                <a:moveTo>
                  <a:pt x="301534" y="98134"/>
                </a:moveTo>
                <a:cubicBezTo>
                  <a:pt x="305418" y="98134"/>
                  <a:pt x="309004" y="97263"/>
                  <a:pt x="312291" y="95458"/>
                </a:cubicBezTo>
                <a:cubicBezTo>
                  <a:pt x="315577" y="93529"/>
                  <a:pt x="318217" y="90791"/>
                  <a:pt x="320208" y="87244"/>
                </a:cubicBezTo>
                <a:cubicBezTo>
                  <a:pt x="322300" y="83635"/>
                  <a:pt x="323346" y="79154"/>
                  <a:pt x="323346" y="73803"/>
                </a:cubicBezTo>
                <a:cubicBezTo>
                  <a:pt x="323346" y="68389"/>
                  <a:pt x="322350" y="63908"/>
                  <a:pt x="320358" y="60174"/>
                </a:cubicBezTo>
                <a:cubicBezTo>
                  <a:pt x="318366" y="56503"/>
                  <a:pt x="315826" y="53765"/>
                  <a:pt x="312739" y="51961"/>
                </a:cubicBezTo>
                <a:cubicBezTo>
                  <a:pt x="309651" y="50093"/>
                  <a:pt x="306414" y="49160"/>
                  <a:pt x="303028" y="49160"/>
                </a:cubicBezTo>
                <a:cubicBezTo>
                  <a:pt x="296454" y="49160"/>
                  <a:pt x="290927" y="51276"/>
                  <a:pt x="286445" y="55570"/>
                </a:cubicBezTo>
                <a:cubicBezTo>
                  <a:pt x="282062" y="59739"/>
                  <a:pt x="279871" y="65900"/>
                  <a:pt x="279871" y="74114"/>
                </a:cubicBezTo>
                <a:cubicBezTo>
                  <a:pt x="279871" y="81270"/>
                  <a:pt x="281813" y="87058"/>
                  <a:pt x="285698" y="91538"/>
                </a:cubicBezTo>
                <a:cubicBezTo>
                  <a:pt x="289582" y="95956"/>
                  <a:pt x="294861" y="98134"/>
                  <a:pt x="301534" y="98134"/>
                </a:cubicBezTo>
                <a:close/>
                <a:moveTo>
                  <a:pt x="354240" y="1493"/>
                </a:moveTo>
                <a:lnTo>
                  <a:pt x="420573" y="1493"/>
                </a:lnTo>
                <a:lnTo>
                  <a:pt x="420573" y="14374"/>
                </a:lnTo>
                <a:lnTo>
                  <a:pt x="368283" y="14374"/>
                </a:lnTo>
                <a:lnTo>
                  <a:pt x="368283" y="46734"/>
                </a:lnTo>
                <a:lnTo>
                  <a:pt x="412654" y="46734"/>
                </a:lnTo>
                <a:lnTo>
                  <a:pt x="412654" y="59428"/>
                </a:lnTo>
                <a:lnTo>
                  <a:pt x="368283" y="59428"/>
                </a:lnTo>
                <a:lnTo>
                  <a:pt x="368283" y="95893"/>
                </a:lnTo>
                <a:lnTo>
                  <a:pt x="421319" y="95893"/>
                </a:lnTo>
                <a:lnTo>
                  <a:pt x="421319" y="108588"/>
                </a:lnTo>
                <a:lnTo>
                  <a:pt x="354240" y="108588"/>
                </a:lnTo>
                <a:lnTo>
                  <a:pt x="354240" y="1493"/>
                </a:lnTo>
                <a:close/>
                <a:moveTo>
                  <a:pt x="506576" y="108588"/>
                </a:moveTo>
                <a:lnTo>
                  <a:pt x="438301" y="108588"/>
                </a:lnTo>
                <a:lnTo>
                  <a:pt x="438301" y="94400"/>
                </a:lnTo>
                <a:cubicBezTo>
                  <a:pt x="448958" y="85812"/>
                  <a:pt x="457673" y="78532"/>
                  <a:pt x="464445" y="72433"/>
                </a:cubicBezTo>
                <a:cubicBezTo>
                  <a:pt x="471318" y="66397"/>
                  <a:pt x="476646" y="61108"/>
                  <a:pt x="480431" y="56628"/>
                </a:cubicBezTo>
                <a:cubicBezTo>
                  <a:pt x="484315" y="52023"/>
                  <a:pt x="487005" y="47791"/>
                  <a:pt x="488498" y="43933"/>
                </a:cubicBezTo>
                <a:cubicBezTo>
                  <a:pt x="490092" y="40012"/>
                  <a:pt x="490889" y="36092"/>
                  <a:pt x="490889" y="32109"/>
                </a:cubicBezTo>
                <a:cubicBezTo>
                  <a:pt x="490889" y="25949"/>
                  <a:pt x="489046" y="21095"/>
                  <a:pt x="485361" y="17610"/>
                </a:cubicBezTo>
                <a:cubicBezTo>
                  <a:pt x="481676" y="14125"/>
                  <a:pt x="476597" y="12383"/>
                  <a:pt x="470123" y="12383"/>
                </a:cubicBezTo>
                <a:cubicBezTo>
                  <a:pt x="459765" y="12383"/>
                  <a:pt x="450104" y="17361"/>
                  <a:pt x="441140" y="27194"/>
                </a:cubicBezTo>
                <a:lnTo>
                  <a:pt x="441140" y="12134"/>
                </a:lnTo>
                <a:cubicBezTo>
                  <a:pt x="449406" y="4044"/>
                  <a:pt x="459217" y="0"/>
                  <a:pt x="470571" y="0"/>
                </a:cubicBezTo>
                <a:cubicBezTo>
                  <a:pt x="481328" y="0"/>
                  <a:pt x="489793" y="2800"/>
                  <a:pt x="495968" y="8401"/>
                </a:cubicBezTo>
                <a:cubicBezTo>
                  <a:pt x="502243" y="13877"/>
                  <a:pt x="505381" y="21344"/>
                  <a:pt x="505381" y="30803"/>
                </a:cubicBezTo>
                <a:cubicBezTo>
                  <a:pt x="505381" y="35657"/>
                  <a:pt x="504584" y="40324"/>
                  <a:pt x="502990" y="44804"/>
                </a:cubicBezTo>
                <a:cubicBezTo>
                  <a:pt x="501496" y="49222"/>
                  <a:pt x="498807" y="53827"/>
                  <a:pt x="494922" y="58681"/>
                </a:cubicBezTo>
                <a:cubicBezTo>
                  <a:pt x="491138" y="63473"/>
                  <a:pt x="485909" y="68887"/>
                  <a:pt x="479236" y="74860"/>
                </a:cubicBezTo>
                <a:cubicBezTo>
                  <a:pt x="472563" y="80835"/>
                  <a:pt x="464097" y="87804"/>
                  <a:pt x="453838" y="95769"/>
                </a:cubicBezTo>
                <a:lnTo>
                  <a:pt x="506576" y="95769"/>
                </a:lnTo>
                <a:lnTo>
                  <a:pt x="506576" y="108588"/>
                </a:lnTo>
                <a:close/>
                <a:moveTo>
                  <a:pt x="572130" y="110082"/>
                </a:moveTo>
                <a:cubicBezTo>
                  <a:pt x="561573" y="110082"/>
                  <a:pt x="552310" y="107904"/>
                  <a:pt x="544342" y="103486"/>
                </a:cubicBezTo>
                <a:cubicBezTo>
                  <a:pt x="536474" y="99129"/>
                  <a:pt x="530349" y="92844"/>
                  <a:pt x="525966" y="84693"/>
                </a:cubicBezTo>
                <a:cubicBezTo>
                  <a:pt x="521584" y="76416"/>
                  <a:pt x="519393" y="66584"/>
                  <a:pt x="519393" y="55134"/>
                </a:cubicBezTo>
                <a:cubicBezTo>
                  <a:pt x="519393" y="37897"/>
                  <a:pt x="523925" y="24455"/>
                  <a:pt x="532988" y="14810"/>
                </a:cubicBezTo>
                <a:cubicBezTo>
                  <a:pt x="542051" y="5040"/>
                  <a:pt x="554999" y="186"/>
                  <a:pt x="571831" y="186"/>
                </a:cubicBezTo>
                <a:cubicBezTo>
                  <a:pt x="578106" y="186"/>
                  <a:pt x="584082" y="871"/>
                  <a:pt x="589759" y="2240"/>
                </a:cubicBezTo>
                <a:cubicBezTo>
                  <a:pt x="595536" y="3547"/>
                  <a:pt x="600416" y="5414"/>
                  <a:pt x="604400" y="7902"/>
                </a:cubicBezTo>
                <a:lnTo>
                  <a:pt x="604400" y="21344"/>
                </a:lnTo>
                <a:cubicBezTo>
                  <a:pt x="600117" y="18669"/>
                  <a:pt x="595087" y="16615"/>
                  <a:pt x="589311" y="15121"/>
                </a:cubicBezTo>
                <a:cubicBezTo>
                  <a:pt x="583634" y="13628"/>
                  <a:pt x="577757" y="12881"/>
                  <a:pt x="571682" y="12881"/>
                </a:cubicBezTo>
                <a:cubicBezTo>
                  <a:pt x="559132" y="12881"/>
                  <a:pt x="549820" y="16366"/>
                  <a:pt x="543744" y="23459"/>
                </a:cubicBezTo>
                <a:cubicBezTo>
                  <a:pt x="537669" y="30554"/>
                  <a:pt x="534631" y="41071"/>
                  <a:pt x="534631" y="55134"/>
                </a:cubicBezTo>
                <a:cubicBezTo>
                  <a:pt x="534631" y="69260"/>
                  <a:pt x="537918" y="79839"/>
                  <a:pt x="544491" y="86933"/>
                </a:cubicBezTo>
                <a:cubicBezTo>
                  <a:pt x="551065" y="93902"/>
                  <a:pt x="560676" y="97387"/>
                  <a:pt x="573325" y="97387"/>
                </a:cubicBezTo>
                <a:cubicBezTo>
                  <a:pt x="585277" y="97387"/>
                  <a:pt x="595635" y="94089"/>
                  <a:pt x="604400" y="87555"/>
                </a:cubicBezTo>
                <a:lnTo>
                  <a:pt x="604400" y="100997"/>
                </a:lnTo>
                <a:cubicBezTo>
                  <a:pt x="600914" y="103734"/>
                  <a:pt x="596283" y="105974"/>
                  <a:pt x="590506" y="107717"/>
                </a:cubicBezTo>
                <a:cubicBezTo>
                  <a:pt x="584729" y="109273"/>
                  <a:pt x="578604" y="110082"/>
                  <a:pt x="57213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5" name="Полилиния 1024">
            <a:extLst>
              <a:ext uri="{FF2B5EF4-FFF2-40B4-BE49-F238E27FC236}">
                <a16:creationId xmlns:a16="http://schemas.microsoft.com/office/drawing/2014/main" id="{05C06770-C118-D58B-9BAD-703526353293}"/>
              </a:ext>
            </a:extLst>
          </p:cNvPr>
          <p:cNvSpPr/>
          <p:nvPr userDrawn="1"/>
        </p:nvSpPr>
        <p:spPr>
          <a:xfrm>
            <a:off x="15359119" y="5240073"/>
            <a:ext cx="1398954" cy="726227"/>
          </a:xfrm>
          <a:custGeom>
            <a:avLst/>
            <a:gdLst>
              <a:gd name="connsiteX0" fmla="*/ 425 w 1198727"/>
              <a:gd name="connsiteY0" fmla="*/ 1222 h 622284"/>
              <a:gd name="connsiteX1" fmla="*/ 1199153 w 1198727"/>
              <a:gd name="connsiteY1" fmla="*/ 1222 h 622284"/>
              <a:gd name="connsiteX2" fmla="*/ 1199153 w 1198727"/>
              <a:gd name="connsiteY2" fmla="*/ 623506 h 622284"/>
              <a:gd name="connsiteX3" fmla="*/ 425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222"/>
                </a:moveTo>
                <a:lnTo>
                  <a:pt x="1199153" y="1222"/>
                </a:lnTo>
                <a:lnTo>
                  <a:pt x="1199153" y="623506"/>
                </a:lnTo>
                <a:lnTo>
                  <a:pt x="425" y="623506"/>
                </a:lnTo>
                <a:close/>
              </a:path>
            </a:pathLst>
          </a:custGeom>
          <a:solidFill>
            <a:srgbClr val="5E943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6" name="Полилиния 1025">
            <a:extLst>
              <a:ext uri="{FF2B5EF4-FFF2-40B4-BE49-F238E27FC236}">
                <a16:creationId xmlns:a16="http://schemas.microsoft.com/office/drawing/2014/main" id="{EB67DF2B-433B-63AC-763D-70313FC22D22}"/>
              </a:ext>
            </a:extLst>
          </p:cNvPr>
          <p:cNvSpPr/>
          <p:nvPr userDrawn="1"/>
        </p:nvSpPr>
        <p:spPr>
          <a:xfrm>
            <a:off x="15482328" y="5541820"/>
            <a:ext cx="705353" cy="128468"/>
          </a:xfrm>
          <a:custGeom>
            <a:avLst/>
            <a:gdLst>
              <a:gd name="connsiteX0" fmla="*/ 22111 w 604399"/>
              <a:gd name="connsiteY0" fmla="*/ 108588 h 110081"/>
              <a:gd name="connsiteX1" fmla="*/ 10159 w 604399"/>
              <a:gd name="connsiteY1" fmla="*/ 108588 h 110081"/>
              <a:gd name="connsiteX2" fmla="*/ 16434 w 604399"/>
              <a:gd name="connsiteY2" fmla="*/ 77661 h 110081"/>
              <a:gd name="connsiteX3" fmla="*/ 0 w 604399"/>
              <a:gd name="connsiteY3" fmla="*/ 77661 h 110081"/>
              <a:gd name="connsiteX4" fmla="*/ 0 w 604399"/>
              <a:gd name="connsiteY4" fmla="*/ 67206 h 110081"/>
              <a:gd name="connsiteX5" fmla="*/ 18675 w 604399"/>
              <a:gd name="connsiteY5" fmla="*/ 67206 h 110081"/>
              <a:gd name="connsiteX6" fmla="*/ 24202 w 604399"/>
              <a:gd name="connsiteY6" fmla="*/ 40012 h 110081"/>
              <a:gd name="connsiteX7" fmla="*/ 4034 w 604399"/>
              <a:gd name="connsiteY7" fmla="*/ 40012 h 110081"/>
              <a:gd name="connsiteX8" fmla="*/ 4034 w 604399"/>
              <a:gd name="connsiteY8" fmla="*/ 29559 h 110081"/>
              <a:gd name="connsiteX9" fmla="*/ 26294 w 604399"/>
              <a:gd name="connsiteY9" fmla="*/ 29559 h 110081"/>
              <a:gd name="connsiteX10" fmla="*/ 32120 w 604399"/>
              <a:gd name="connsiteY10" fmla="*/ 1493 h 110081"/>
              <a:gd name="connsiteX11" fmla="*/ 44072 w 604399"/>
              <a:gd name="connsiteY11" fmla="*/ 1493 h 110081"/>
              <a:gd name="connsiteX12" fmla="*/ 38246 w 604399"/>
              <a:gd name="connsiteY12" fmla="*/ 29559 h 110081"/>
              <a:gd name="connsiteX13" fmla="*/ 60655 w 604399"/>
              <a:gd name="connsiteY13" fmla="*/ 29559 h 110081"/>
              <a:gd name="connsiteX14" fmla="*/ 66482 w 604399"/>
              <a:gd name="connsiteY14" fmla="*/ 1493 h 110081"/>
              <a:gd name="connsiteX15" fmla="*/ 78434 w 604399"/>
              <a:gd name="connsiteY15" fmla="*/ 1493 h 110081"/>
              <a:gd name="connsiteX16" fmla="*/ 72607 w 604399"/>
              <a:gd name="connsiteY16" fmla="*/ 29559 h 110081"/>
              <a:gd name="connsiteX17" fmla="*/ 89340 w 604399"/>
              <a:gd name="connsiteY17" fmla="*/ 29559 h 110081"/>
              <a:gd name="connsiteX18" fmla="*/ 89340 w 604399"/>
              <a:gd name="connsiteY18" fmla="*/ 40012 h 110081"/>
              <a:gd name="connsiteX19" fmla="*/ 70515 w 604399"/>
              <a:gd name="connsiteY19" fmla="*/ 40012 h 110081"/>
              <a:gd name="connsiteX20" fmla="*/ 64988 w 604399"/>
              <a:gd name="connsiteY20" fmla="*/ 67206 h 110081"/>
              <a:gd name="connsiteX21" fmla="*/ 85306 w 604399"/>
              <a:gd name="connsiteY21" fmla="*/ 67206 h 110081"/>
              <a:gd name="connsiteX22" fmla="*/ 85306 w 604399"/>
              <a:gd name="connsiteY22" fmla="*/ 77661 h 110081"/>
              <a:gd name="connsiteX23" fmla="*/ 62747 w 604399"/>
              <a:gd name="connsiteY23" fmla="*/ 77661 h 110081"/>
              <a:gd name="connsiteX24" fmla="*/ 56472 w 604399"/>
              <a:gd name="connsiteY24" fmla="*/ 108588 h 110081"/>
              <a:gd name="connsiteX25" fmla="*/ 44520 w 604399"/>
              <a:gd name="connsiteY25" fmla="*/ 108588 h 110081"/>
              <a:gd name="connsiteX26" fmla="*/ 50795 w 604399"/>
              <a:gd name="connsiteY26" fmla="*/ 77661 h 110081"/>
              <a:gd name="connsiteX27" fmla="*/ 28386 w 604399"/>
              <a:gd name="connsiteY27" fmla="*/ 77661 h 110081"/>
              <a:gd name="connsiteX28" fmla="*/ 22111 w 604399"/>
              <a:gd name="connsiteY28" fmla="*/ 108588 h 110081"/>
              <a:gd name="connsiteX29" fmla="*/ 30626 w 604399"/>
              <a:gd name="connsiteY29" fmla="*/ 67206 h 110081"/>
              <a:gd name="connsiteX30" fmla="*/ 53036 w 604399"/>
              <a:gd name="connsiteY30" fmla="*/ 67206 h 110081"/>
              <a:gd name="connsiteX31" fmla="*/ 58564 w 604399"/>
              <a:gd name="connsiteY31" fmla="*/ 40012 h 110081"/>
              <a:gd name="connsiteX32" fmla="*/ 36154 w 604399"/>
              <a:gd name="connsiteY32" fmla="*/ 40012 h 110081"/>
              <a:gd name="connsiteX33" fmla="*/ 30626 w 604399"/>
              <a:gd name="connsiteY33" fmla="*/ 67206 h 110081"/>
              <a:gd name="connsiteX34" fmla="*/ 131725 w 604399"/>
              <a:gd name="connsiteY34" fmla="*/ 110082 h 110081"/>
              <a:gd name="connsiteX35" fmla="*/ 103190 w 604399"/>
              <a:gd name="connsiteY35" fmla="*/ 102490 h 110081"/>
              <a:gd name="connsiteX36" fmla="*/ 103190 w 604399"/>
              <a:gd name="connsiteY36" fmla="*/ 87804 h 110081"/>
              <a:gd name="connsiteX37" fmla="*/ 116337 w 604399"/>
              <a:gd name="connsiteY37" fmla="*/ 95458 h 110081"/>
              <a:gd name="connsiteX38" fmla="*/ 131725 w 604399"/>
              <a:gd name="connsiteY38" fmla="*/ 97823 h 110081"/>
              <a:gd name="connsiteX39" fmla="*/ 148756 w 604399"/>
              <a:gd name="connsiteY39" fmla="*/ 91102 h 110081"/>
              <a:gd name="connsiteX40" fmla="*/ 154881 w 604399"/>
              <a:gd name="connsiteY40" fmla="*/ 73491 h 110081"/>
              <a:gd name="connsiteX41" fmla="*/ 148906 w 604399"/>
              <a:gd name="connsiteY41" fmla="*/ 56441 h 110081"/>
              <a:gd name="connsiteX42" fmla="*/ 133816 w 604399"/>
              <a:gd name="connsiteY42" fmla="*/ 51089 h 110081"/>
              <a:gd name="connsiteX43" fmla="*/ 123209 w 604399"/>
              <a:gd name="connsiteY43" fmla="*/ 53329 h 110081"/>
              <a:gd name="connsiteX44" fmla="*/ 117084 w 604399"/>
              <a:gd name="connsiteY44" fmla="*/ 57810 h 110081"/>
              <a:gd name="connsiteX45" fmla="*/ 106178 w 604399"/>
              <a:gd name="connsiteY45" fmla="*/ 57810 h 110081"/>
              <a:gd name="connsiteX46" fmla="*/ 106178 w 604399"/>
              <a:gd name="connsiteY46" fmla="*/ 1493 h 110081"/>
              <a:gd name="connsiteX47" fmla="*/ 164144 w 604399"/>
              <a:gd name="connsiteY47" fmla="*/ 1493 h 110081"/>
              <a:gd name="connsiteX48" fmla="*/ 164144 w 604399"/>
              <a:gd name="connsiteY48" fmla="*/ 14374 h 110081"/>
              <a:gd name="connsiteX49" fmla="*/ 118429 w 604399"/>
              <a:gd name="connsiteY49" fmla="*/ 14374 h 110081"/>
              <a:gd name="connsiteX50" fmla="*/ 118429 w 604399"/>
              <a:gd name="connsiteY50" fmla="*/ 44991 h 110081"/>
              <a:gd name="connsiteX51" fmla="*/ 125749 w 604399"/>
              <a:gd name="connsiteY51" fmla="*/ 41071 h 110081"/>
              <a:gd name="connsiteX52" fmla="*/ 136057 w 604399"/>
              <a:gd name="connsiteY52" fmla="*/ 39266 h 110081"/>
              <a:gd name="connsiteX53" fmla="*/ 152790 w 604399"/>
              <a:gd name="connsiteY53" fmla="*/ 43186 h 110081"/>
              <a:gd name="connsiteX54" fmla="*/ 164592 w 604399"/>
              <a:gd name="connsiteY54" fmla="*/ 54512 h 110081"/>
              <a:gd name="connsiteX55" fmla="*/ 169074 w 604399"/>
              <a:gd name="connsiteY55" fmla="*/ 73181 h 110081"/>
              <a:gd name="connsiteX56" fmla="*/ 164443 w 604399"/>
              <a:gd name="connsiteY56" fmla="*/ 92596 h 110081"/>
              <a:gd name="connsiteX57" fmla="*/ 151595 w 604399"/>
              <a:gd name="connsiteY57" fmla="*/ 105601 h 110081"/>
              <a:gd name="connsiteX58" fmla="*/ 131725 w 604399"/>
              <a:gd name="connsiteY58" fmla="*/ 110082 h 110081"/>
              <a:gd name="connsiteX59" fmla="*/ 189965 w 604399"/>
              <a:gd name="connsiteY59" fmla="*/ 1493 h 110081"/>
              <a:gd name="connsiteX60" fmla="*/ 256297 w 604399"/>
              <a:gd name="connsiteY60" fmla="*/ 1493 h 110081"/>
              <a:gd name="connsiteX61" fmla="*/ 256297 w 604399"/>
              <a:gd name="connsiteY61" fmla="*/ 14374 h 110081"/>
              <a:gd name="connsiteX62" fmla="*/ 204008 w 604399"/>
              <a:gd name="connsiteY62" fmla="*/ 14374 h 110081"/>
              <a:gd name="connsiteX63" fmla="*/ 204008 w 604399"/>
              <a:gd name="connsiteY63" fmla="*/ 46734 h 110081"/>
              <a:gd name="connsiteX64" fmla="*/ 248380 w 604399"/>
              <a:gd name="connsiteY64" fmla="*/ 46734 h 110081"/>
              <a:gd name="connsiteX65" fmla="*/ 248380 w 604399"/>
              <a:gd name="connsiteY65" fmla="*/ 59428 h 110081"/>
              <a:gd name="connsiteX66" fmla="*/ 204008 w 604399"/>
              <a:gd name="connsiteY66" fmla="*/ 59428 h 110081"/>
              <a:gd name="connsiteX67" fmla="*/ 204008 w 604399"/>
              <a:gd name="connsiteY67" fmla="*/ 95893 h 110081"/>
              <a:gd name="connsiteX68" fmla="*/ 257045 w 604399"/>
              <a:gd name="connsiteY68" fmla="*/ 95893 h 110081"/>
              <a:gd name="connsiteX69" fmla="*/ 257045 w 604399"/>
              <a:gd name="connsiteY69" fmla="*/ 108588 h 110081"/>
              <a:gd name="connsiteX70" fmla="*/ 189965 w 604399"/>
              <a:gd name="connsiteY70" fmla="*/ 108588 h 110081"/>
              <a:gd name="connsiteX71" fmla="*/ 189965 w 604399"/>
              <a:gd name="connsiteY71" fmla="*/ 1493 h 110081"/>
              <a:gd name="connsiteX72" fmla="*/ 271629 w 604399"/>
              <a:gd name="connsiteY72" fmla="*/ 35844 h 110081"/>
              <a:gd name="connsiteX73" fmla="*/ 276261 w 604399"/>
              <a:gd name="connsiteY73" fmla="*/ 17051 h 110081"/>
              <a:gd name="connsiteX74" fmla="*/ 289109 w 604399"/>
              <a:gd name="connsiteY74" fmla="*/ 4480 h 110081"/>
              <a:gd name="connsiteX75" fmla="*/ 307186 w 604399"/>
              <a:gd name="connsiteY75" fmla="*/ 0 h 110081"/>
              <a:gd name="connsiteX76" fmla="*/ 328849 w 604399"/>
              <a:gd name="connsiteY76" fmla="*/ 5849 h 110081"/>
              <a:gd name="connsiteX77" fmla="*/ 340950 w 604399"/>
              <a:gd name="connsiteY77" fmla="*/ 21842 h 110081"/>
              <a:gd name="connsiteX78" fmla="*/ 344685 w 604399"/>
              <a:gd name="connsiteY78" fmla="*/ 45426 h 110081"/>
              <a:gd name="connsiteX79" fmla="*/ 340054 w 604399"/>
              <a:gd name="connsiteY79" fmla="*/ 80088 h 110081"/>
              <a:gd name="connsiteX80" fmla="*/ 325711 w 604399"/>
              <a:gd name="connsiteY80" fmla="*/ 102303 h 110081"/>
              <a:gd name="connsiteX81" fmla="*/ 301210 w 604399"/>
              <a:gd name="connsiteY81" fmla="*/ 110082 h 110081"/>
              <a:gd name="connsiteX82" fmla="*/ 278203 w 604399"/>
              <a:gd name="connsiteY82" fmla="*/ 104543 h 110081"/>
              <a:gd name="connsiteX83" fmla="*/ 278203 w 604399"/>
              <a:gd name="connsiteY83" fmla="*/ 91413 h 110081"/>
              <a:gd name="connsiteX84" fmla="*/ 301210 w 604399"/>
              <a:gd name="connsiteY84" fmla="*/ 98010 h 110081"/>
              <a:gd name="connsiteX85" fmla="*/ 316747 w 604399"/>
              <a:gd name="connsiteY85" fmla="*/ 92907 h 110081"/>
              <a:gd name="connsiteX86" fmla="*/ 326458 w 604399"/>
              <a:gd name="connsiteY86" fmla="*/ 79154 h 110081"/>
              <a:gd name="connsiteX87" fmla="*/ 330791 w 604399"/>
              <a:gd name="connsiteY87" fmla="*/ 59739 h 110081"/>
              <a:gd name="connsiteX88" fmla="*/ 319735 w 604399"/>
              <a:gd name="connsiteY88" fmla="*/ 68389 h 110081"/>
              <a:gd name="connsiteX89" fmla="*/ 305841 w 604399"/>
              <a:gd name="connsiteY89" fmla="*/ 71127 h 110081"/>
              <a:gd name="connsiteX90" fmla="*/ 288511 w 604399"/>
              <a:gd name="connsiteY90" fmla="*/ 67082 h 110081"/>
              <a:gd name="connsiteX91" fmla="*/ 276111 w 604399"/>
              <a:gd name="connsiteY91" fmla="*/ 55134 h 110081"/>
              <a:gd name="connsiteX92" fmla="*/ 271629 w 604399"/>
              <a:gd name="connsiteY92" fmla="*/ 35844 h 110081"/>
              <a:gd name="connsiteX93" fmla="*/ 307634 w 604399"/>
              <a:gd name="connsiteY93" fmla="*/ 12134 h 110081"/>
              <a:gd name="connsiteX94" fmla="*/ 296878 w 604399"/>
              <a:gd name="connsiteY94" fmla="*/ 14810 h 110081"/>
              <a:gd name="connsiteX95" fmla="*/ 288810 w 604399"/>
              <a:gd name="connsiteY95" fmla="*/ 22589 h 110081"/>
              <a:gd name="connsiteX96" fmla="*/ 285822 w 604399"/>
              <a:gd name="connsiteY96" fmla="*/ 35532 h 110081"/>
              <a:gd name="connsiteX97" fmla="*/ 288810 w 604399"/>
              <a:gd name="connsiteY97" fmla="*/ 48725 h 110081"/>
              <a:gd name="connsiteX98" fmla="*/ 296429 w 604399"/>
              <a:gd name="connsiteY98" fmla="*/ 56752 h 110081"/>
              <a:gd name="connsiteX99" fmla="*/ 306140 w 604399"/>
              <a:gd name="connsiteY99" fmla="*/ 59428 h 110081"/>
              <a:gd name="connsiteX100" fmla="*/ 322574 w 604399"/>
              <a:gd name="connsiteY100" fmla="*/ 53329 h 110081"/>
              <a:gd name="connsiteX101" fmla="*/ 329297 w 604399"/>
              <a:gd name="connsiteY101" fmla="*/ 35283 h 110081"/>
              <a:gd name="connsiteX102" fmla="*/ 323470 w 604399"/>
              <a:gd name="connsiteY102" fmla="*/ 18544 h 110081"/>
              <a:gd name="connsiteX103" fmla="*/ 307634 w 604399"/>
              <a:gd name="connsiteY103" fmla="*/ 12134 h 110081"/>
              <a:gd name="connsiteX104" fmla="*/ 412337 w 604399"/>
              <a:gd name="connsiteY104" fmla="*/ 108588 h 110081"/>
              <a:gd name="connsiteX105" fmla="*/ 399190 w 604399"/>
              <a:gd name="connsiteY105" fmla="*/ 108588 h 110081"/>
              <a:gd name="connsiteX106" fmla="*/ 399190 w 604399"/>
              <a:gd name="connsiteY106" fmla="*/ 83199 h 110081"/>
              <a:gd name="connsiteX107" fmla="*/ 352877 w 604399"/>
              <a:gd name="connsiteY107" fmla="*/ 83199 h 110081"/>
              <a:gd name="connsiteX108" fmla="*/ 352877 w 604399"/>
              <a:gd name="connsiteY108" fmla="*/ 73927 h 110081"/>
              <a:gd name="connsiteX109" fmla="*/ 394708 w 604399"/>
              <a:gd name="connsiteY109" fmla="*/ 1493 h 110081"/>
              <a:gd name="connsiteX110" fmla="*/ 412337 w 604399"/>
              <a:gd name="connsiteY110" fmla="*/ 1493 h 110081"/>
              <a:gd name="connsiteX111" fmla="*/ 412337 w 604399"/>
              <a:gd name="connsiteY111" fmla="*/ 71873 h 110081"/>
              <a:gd name="connsiteX112" fmla="*/ 426829 w 604399"/>
              <a:gd name="connsiteY112" fmla="*/ 71873 h 110081"/>
              <a:gd name="connsiteX113" fmla="*/ 426829 w 604399"/>
              <a:gd name="connsiteY113" fmla="*/ 83199 h 110081"/>
              <a:gd name="connsiteX114" fmla="*/ 412337 w 604399"/>
              <a:gd name="connsiteY114" fmla="*/ 83199 h 110081"/>
              <a:gd name="connsiteX115" fmla="*/ 412337 w 604399"/>
              <a:gd name="connsiteY115" fmla="*/ 108588 h 110081"/>
              <a:gd name="connsiteX116" fmla="*/ 366472 w 604399"/>
              <a:gd name="connsiteY116" fmla="*/ 71873 h 110081"/>
              <a:gd name="connsiteX117" fmla="*/ 399190 w 604399"/>
              <a:gd name="connsiteY117" fmla="*/ 71873 h 110081"/>
              <a:gd name="connsiteX118" fmla="*/ 399190 w 604399"/>
              <a:gd name="connsiteY118" fmla="*/ 16117 h 110081"/>
              <a:gd name="connsiteX119" fmla="*/ 366472 w 604399"/>
              <a:gd name="connsiteY119" fmla="*/ 71873 h 110081"/>
              <a:gd name="connsiteX120" fmla="*/ 455781 w 604399"/>
              <a:gd name="connsiteY120" fmla="*/ 58992 h 110081"/>
              <a:gd name="connsiteX121" fmla="*/ 455781 w 604399"/>
              <a:gd name="connsiteY121" fmla="*/ 46298 h 110081"/>
              <a:gd name="connsiteX122" fmla="*/ 470123 w 604399"/>
              <a:gd name="connsiteY122" fmla="*/ 46298 h 110081"/>
              <a:gd name="connsiteX123" fmla="*/ 483718 w 604399"/>
              <a:gd name="connsiteY123" fmla="*/ 41817 h 110081"/>
              <a:gd name="connsiteX124" fmla="*/ 489096 w 604399"/>
              <a:gd name="connsiteY124" fmla="*/ 28812 h 110081"/>
              <a:gd name="connsiteX125" fmla="*/ 484166 w 604399"/>
              <a:gd name="connsiteY125" fmla="*/ 16864 h 110081"/>
              <a:gd name="connsiteX126" fmla="*/ 469973 w 604399"/>
              <a:gd name="connsiteY126" fmla="*/ 12383 h 110081"/>
              <a:gd name="connsiteX127" fmla="*/ 455332 w 604399"/>
              <a:gd name="connsiteY127" fmla="*/ 15246 h 110081"/>
              <a:gd name="connsiteX128" fmla="*/ 441289 w 604399"/>
              <a:gd name="connsiteY128" fmla="*/ 24331 h 110081"/>
              <a:gd name="connsiteX129" fmla="*/ 441289 w 604399"/>
              <a:gd name="connsiteY129" fmla="*/ 9707 h 110081"/>
              <a:gd name="connsiteX130" fmla="*/ 470123 w 604399"/>
              <a:gd name="connsiteY130" fmla="*/ 0 h 110081"/>
              <a:gd name="connsiteX131" fmla="*/ 494176 w 604399"/>
              <a:gd name="connsiteY131" fmla="*/ 7779 h 110081"/>
              <a:gd name="connsiteX132" fmla="*/ 502990 w 604399"/>
              <a:gd name="connsiteY132" fmla="*/ 28065 h 110081"/>
              <a:gd name="connsiteX133" fmla="*/ 497313 w 604399"/>
              <a:gd name="connsiteY133" fmla="*/ 44244 h 110081"/>
              <a:gd name="connsiteX134" fmla="*/ 484017 w 604399"/>
              <a:gd name="connsiteY134" fmla="*/ 52147 h 110081"/>
              <a:gd name="connsiteX135" fmla="*/ 495520 w 604399"/>
              <a:gd name="connsiteY135" fmla="*/ 56441 h 110081"/>
              <a:gd name="connsiteX136" fmla="*/ 504185 w 604399"/>
              <a:gd name="connsiteY136" fmla="*/ 65153 h 110081"/>
              <a:gd name="connsiteX137" fmla="*/ 507472 w 604399"/>
              <a:gd name="connsiteY137" fmla="*/ 77661 h 110081"/>
              <a:gd name="connsiteX138" fmla="*/ 502542 w 604399"/>
              <a:gd name="connsiteY138" fmla="*/ 94836 h 110081"/>
              <a:gd name="connsiteX139" fmla="*/ 488947 w 604399"/>
              <a:gd name="connsiteY139" fmla="*/ 106224 h 110081"/>
              <a:gd name="connsiteX140" fmla="*/ 469077 w 604399"/>
              <a:gd name="connsiteY140" fmla="*/ 110082 h 110081"/>
              <a:gd name="connsiteX141" fmla="*/ 438600 w 604399"/>
              <a:gd name="connsiteY141" fmla="*/ 100997 h 110081"/>
              <a:gd name="connsiteX142" fmla="*/ 438600 w 604399"/>
              <a:gd name="connsiteY142" fmla="*/ 86062 h 110081"/>
              <a:gd name="connsiteX143" fmla="*/ 452344 w 604399"/>
              <a:gd name="connsiteY143" fmla="*/ 94711 h 110081"/>
              <a:gd name="connsiteX144" fmla="*/ 469226 w 604399"/>
              <a:gd name="connsiteY144" fmla="*/ 97823 h 110081"/>
              <a:gd name="connsiteX145" fmla="*/ 486556 w 604399"/>
              <a:gd name="connsiteY145" fmla="*/ 92596 h 110081"/>
              <a:gd name="connsiteX146" fmla="*/ 492981 w 604399"/>
              <a:gd name="connsiteY146" fmla="*/ 77972 h 110081"/>
              <a:gd name="connsiteX147" fmla="*/ 487154 w 604399"/>
              <a:gd name="connsiteY147" fmla="*/ 64095 h 110081"/>
              <a:gd name="connsiteX148" fmla="*/ 469525 w 604399"/>
              <a:gd name="connsiteY148" fmla="*/ 58992 h 110081"/>
              <a:gd name="connsiteX149" fmla="*/ 455781 w 604399"/>
              <a:gd name="connsiteY149" fmla="*/ 58992 h 110081"/>
              <a:gd name="connsiteX150" fmla="*/ 572130 w 604399"/>
              <a:gd name="connsiteY150" fmla="*/ 110082 h 110081"/>
              <a:gd name="connsiteX151" fmla="*/ 544342 w 604399"/>
              <a:gd name="connsiteY151" fmla="*/ 103486 h 110081"/>
              <a:gd name="connsiteX152" fmla="*/ 525966 w 604399"/>
              <a:gd name="connsiteY152" fmla="*/ 84693 h 110081"/>
              <a:gd name="connsiteX153" fmla="*/ 519393 w 604399"/>
              <a:gd name="connsiteY153" fmla="*/ 55134 h 110081"/>
              <a:gd name="connsiteX154" fmla="*/ 532988 w 604399"/>
              <a:gd name="connsiteY154" fmla="*/ 14810 h 110081"/>
              <a:gd name="connsiteX155" fmla="*/ 571831 w 604399"/>
              <a:gd name="connsiteY155" fmla="*/ 186 h 110081"/>
              <a:gd name="connsiteX156" fmla="*/ 589759 w 604399"/>
              <a:gd name="connsiteY156" fmla="*/ 2240 h 110081"/>
              <a:gd name="connsiteX157" fmla="*/ 604400 w 604399"/>
              <a:gd name="connsiteY157" fmla="*/ 7902 h 110081"/>
              <a:gd name="connsiteX158" fmla="*/ 604400 w 604399"/>
              <a:gd name="connsiteY158" fmla="*/ 21344 h 110081"/>
              <a:gd name="connsiteX159" fmla="*/ 589311 w 604399"/>
              <a:gd name="connsiteY159" fmla="*/ 15121 h 110081"/>
              <a:gd name="connsiteX160" fmla="*/ 571682 w 604399"/>
              <a:gd name="connsiteY160" fmla="*/ 12881 h 110081"/>
              <a:gd name="connsiteX161" fmla="*/ 543744 w 604399"/>
              <a:gd name="connsiteY161" fmla="*/ 23459 h 110081"/>
              <a:gd name="connsiteX162" fmla="*/ 534631 w 604399"/>
              <a:gd name="connsiteY162" fmla="*/ 55134 h 110081"/>
              <a:gd name="connsiteX163" fmla="*/ 544491 w 604399"/>
              <a:gd name="connsiteY163" fmla="*/ 86933 h 110081"/>
              <a:gd name="connsiteX164" fmla="*/ 573325 w 604399"/>
              <a:gd name="connsiteY164" fmla="*/ 97387 h 110081"/>
              <a:gd name="connsiteX165" fmla="*/ 604400 w 604399"/>
              <a:gd name="connsiteY165" fmla="*/ 87555 h 110081"/>
              <a:gd name="connsiteX166" fmla="*/ 604400 w 604399"/>
              <a:gd name="connsiteY166" fmla="*/ 100997 h 110081"/>
              <a:gd name="connsiteX167" fmla="*/ 590506 w 604399"/>
              <a:gd name="connsiteY167" fmla="*/ 107717 h 110081"/>
              <a:gd name="connsiteX168" fmla="*/ 572130 w 604399"/>
              <a:gd name="connsiteY168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60439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25" y="110082"/>
                </a:moveTo>
                <a:cubicBezTo>
                  <a:pt x="119773" y="110082"/>
                  <a:pt x="110261" y="107530"/>
                  <a:pt x="103190" y="102490"/>
                </a:cubicBezTo>
                <a:lnTo>
                  <a:pt x="103190" y="87804"/>
                </a:lnTo>
                <a:cubicBezTo>
                  <a:pt x="107373" y="91226"/>
                  <a:pt x="111755" y="93778"/>
                  <a:pt x="116337" y="95458"/>
                </a:cubicBezTo>
                <a:cubicBezTo>
                  <a:pt x="120919" y="97014"/>
                  <a:pt x="126048" y="97823"/>
                  <a:pt x="131725" y="97823"/>
                </a:cubicBezTo>
                <a:cubicBezTo>
                  <a:pt x="139095" y="97823"/>
                  <a:pt x="144772" y="95583"/>
                  <a:pt x="148756" y="91102"/>
                </a:cubicBezTo>
                <a:cubicBezTo>
                  <a:pt x="152840" y="86621"/>
                  <a:pt x="154881" y="80772"/>
                  <a:pt x="154881" y="73491"/>
                </a:cubicBezTo>
                <a:cubicBezTo>
                  <a:pt x="154881" y="65713"/>
                  <a:pt x="152889" y="60050"/>
                  <a:pt x="148906" y="56441"/>
                </a:cubicBezTo>
                <a:cubicBezTo>
                  <a:pt x="144922" y="52894"/>
                  <a:pt x="139892" y="51089"/>
                  <a:pt x="133816" y="51089"/>
                </a:cubicBezTo>
                <a:cubicBezTo>
                  <a:pt x="129434" y="51089"/>
                  <a:pt x="125898" y="51836"/>
                  <a:pt x="123209" y="53329"/>
                </a:cubicBezTo>
                <a:cubicBezTo>
                  <a:pt x="120520" y="54698"/>
                  <a:pt x="118478" y="56192"/>
                  <a:pt x="117084" y="57810"/>
                </a:cubicBezTo>
                <a:lnTo>
                  <a:pt x="106178" y="57810"/>
                </a:lnTo>
                <a:lnTo>
                  <a:pt x="106178" y="1493"/>
                </a:lnTo>
                <a:lnTo>
                  <a:pt x="164144" y="1493"/>
                </a:lnTo>
                <a:lnTo>
                  <a:pt x="164144" y="14374"/>
                </a:lnTo>
                <a:lnTo>
                  <a:pt x="118429" y="14374"/>
                </a:lnTo>
                <a:lnTo>
                  <a:pt x="118429" y="44991"/>
                </a:lnTo>
                <a:cubicBezTo>
                  <a:pt x="120421" y="43498"/>
                  <a:pt x="122861" y="42190"/>
                  <a:pt x="125749" y="41071"/>
                </a:cubicBezTo>
                <a:cubicBezTo>
                  <a:pt x="128637" y="39888"/>
                  <a:pt x="132073" y="39266"/>
                  <a:pt x="136057" y="39266"/>
                </a:cubicBezTo>
                <a:cubicBezTo>
                  <a:pt x="142233" y="39266"/>
                  <a:pt x="147810" y="40572"/>
                  <a:pt x="152790" y="43186"/>
                </a:cubicBezTo>
                <a:cubicBezTo>
                  <a:pt x="157770" y="45675"/>
                  <a:pt x="161704" y="49471"/>
                  <a:pt x="164592" y="54512"/>
                </a:cubicBezTo>
                <a:cubicBezTo>
                  <a:pt x="167580" y="59490"/>
                  <a:pt x="169074" y="65713"/>
                  <a:pt x="169074" y="73181"/>
                </a:cubicBezTo>
                <a:cubicBezTo>
                  <a:pt x="169074" y="80586"/>
                  <a:pt x="167531" y="87058"/>
                  <a:pt x="164443" y="92596"/>
                </a:cubicBezTo>
                <a:cubicBezTo>
                  <a:pt x="161455" y="98196"/>
                  <a:pt x="157172" y="102490"/>
                  <a:pt x="151595" y="105601"/>
                </a:cubicBezTo>
                <a:cubicBezTo>
                  <a:pt x="146017" y="108588"/>
                  <a:pt x="139394" y="110082"/>
                  <a:pt x="131725" y="110082"/>
                </a:cubicBezTo>
                <a:close/>
                <a:moveTo>
                  <a:pt x="189965" y="1493"/>
                </a:moveTo>
                <a:lnTo>
                  <a:pt x="256297" y="1493"/>
                </a:lnTo>
                <a:lnTo>
                  <a:pt x="256297" y="14374"/>
                </a:lnTo>
                <a:lnTo>
                  <a:pt x="204008" y="14374"/>
                </a:lnTo>
                <a:lnTo>
                  <a:pt x="204008" y="46734"/>
                </a:lnTo>
                <a:lnTo>
                  <a:pt x="248380" y="46734"/>
                </a:lnTo>
                <a:lnTo>
                  <a:pt x="248380" y="59428"/>
                </a:lnTo>
                <a:lnTo>
                  <a:pt x="204008" y="59428"/>
                </a:lnTo>
                <a:lnTo>
                  <a:pt x="204008" y="95893"/>
                </a:lnTo>
                <a:lnTo>
                  <a:pt x="257045" y="95893"/>
                </a:lnTo>
                <a:lnTo>
                  <a:pt x="257045" y="108588"/>
                </a:lnTo>
                <a:lnTo>
                  <a:pt x="189965" y="108588"/>
                </a:lnTo>
                <a:lnTo>
                  <a:pt x="189965" y="1493"/>
                </a:lnTo>
                <a:close/>
                <a:moveTo>
                  <a:pt x="271629" y="35844"/>
                </a:moveTo>
                <a:cubicBezTo>
                  <a:pt x="271629" y="28687"/>
                  <a:pt x="273173" y="22402"/>
                  <a:pt x="276261" y="17051"/>
                </a:cubicBezTo>
                <a:cubicBezTo>
                  <a:pt x="279448" y="11637"/>
                  <a:pt x="283731" y="7467"/>
                  <a:pt x="289109" y="4480"/>
                </a:cubicBezTo>
                <a:cubicBezTo>
                  <a:pt x="294487" y="1493"/>
                  <a:pt x="300513" y="0"/>
                  <a:pt x="307186" y="0"/>
                </a:cubicBezTo>
                <a:cubicBezTo>
                  <a:pt x="316150" y="0"/>
                  <a:pt x="323371" y="1929"/>
                  <a:pt x="328849" y="5849"/>
                </a:cubicBezTo>
                <a:cubicBezTo>
                  <a:pt x="334426" y="9645"/>
                  <a:pt x="338460" y="14934"/>
                  <a:pt x="340950" y="21842"/>
                </a:cubicBezTo>
                <a:cubicBezTo>
                  <a:pt x="343440" y="28563"/>
                  <a:pt x="344685" y="36466"/>
                  <a:pt x="344685" y="45426"/>
                </a:cubicBezTo>
                <a:cubicBezTo>
                  <a:pt x="344685" y="58868"/>
                  <a:pt x="343141" y="70380"/>
                  <a:pt x="340054" y="80088"/>
                </a:cubicBezTo>
                <a:cubicBezTo>
                  <a:pt x="336966" y="89733"/>
                  <a:pt x="332185" y="97138"/>
                  <a:pt x="325711" y="102303"/>
                </a:cubicBezTo>
                <a:cubicBezTo>
                  <a:pt x="319337" y="107468"/>
                  <a:pt x="311170" y="110082"/>
                  <a:pt x="301210" y="110082"/>
                </a:cubicBezTo>
                <a:cubicBezTo>
                  <a:pt x="292246" y="110082"/>
                  <a:pt x="284577" y="108215"/>
                  <a:pt x="278203" y="104543"/>
                </a:cubicBezTo>
                <a:lnTo>
                  <a:pt x="278203" y="91413"/>
                </a:lnTo>
                <a:cubicBezTo>
                  <a:pt x="284976" y="95769"/>
                  <a:pt x="292645" y="98010"/>
                  <a:pt x="301210" y="98010"/>
                </a:cubicBezTo>
                <a:cubicBezTo>
                  <a:pt x="307385" y="98010"/>
                  <a:pt x="312564" y="96267"/>
                  <a:pt x="316747" y="92907"/>
                </a:cubicBezTo>
                <a:cubicBezTo>
                  <a:pt x="320931" y="89546"/>
                  <a:pt x="324168" y="84941"/>
                  <a:pt x="326458" y="79154"/>
                </a:cubicBezTo>
                <a:cubicBezTo>
                  <a:pt x="328849" y="73367"/>
                  <a:pt x="330293" y="66896"/>
                  <a:pt x="330791" y="59739"/>
                </a:cubicBezTo>
                <a:cubicBezTo>
                  <a:pt x="327703" y="63660"/>
                  <a:pt x="324018" y="66522"/>
                  <a:pt x="319735" y="68389"/>
                </a:cubicBezTo>
                <a:cubicBezTo>
                  <a:pt x="315453" y="70193"/>
                  <a:pt x="310821" y="71127"/>
                  <a:pt x="305841" y="71127"/>
                </a:cubicBezTo>
                <a:cubicBezTo>
                  <a:pt x="299467" y="71127"/>
                  <a:pt x="293691" y="69758"/>
                  <a:pt x="288511" y="67082"/>
                </a:cubicBezTo>
                <a:cubicBezTo>
                  <a:pt x="283332" y="64406"/>
                  <a:pt x="279199" y="60424"/>
                  <a:pt x="276111" y="55134"/>
                </a:cubicBezTo>
                <a:cubicBezTo>
                  <a:pt x="273123" y="49845"/>
                  <a:pt x="271629" y="43435"/>
                  <a:pt x="271629" y="35844"/>
                </a:cubicBezTo>
                <a:close/>
                <a:moveTo>
                  <a:pt x="307634" y="12134"/>
                </a:moveTo>
                <a:cubicBezTo>
                  <a:pt x="303849" y="12134"/>
                  <a:pt x="300264" y="13006"/>
                  <a:pt x="296878" y="14810"/>
                </a:cubicBezTo>
                <a:cubicBezTo>
                  <a:pt x="293591" y="16490"/>
                  <a:pt x="290902" y="19104"/>
                  <a:pt x="288810" y="22589"/>
                </a:cubicBezTo>
                <a:cubicBezTo>
                  <a:pt x="286818" y="25949"/>
                  <a:pt x="285822" y="30305"/>
                  <a:pt x="285822" y="35532"/>
                </a:cubicBezTo>
                <a:cubicBezTo>
                  <a:pt x="285822" y="40759"/>
                  <a:pt x="286818" y="45116"/>
                  <a:pt x="288810" y="48725"/>
                </a:cubicBezTo>
                <a:cubicBezTo>
                  <a:pt x="290802" y="52271"/>
                  <a:pt x="293342" y="54947"/>
                  <a:pt x="296429" y="56752"/>
                </a:cubicBezTo>
                <a:cubicBezTo>
                  <a:pt x="299517" y="58556"/>
                  <a:pt x="302754" y="59428"/>
                  <a:pt x="306140" y="59428"/>
                </a:cubicBezTo>
                <a:cubicBezTo>
                  <a:pt x="312714" y="59428"/>
                  <a:pt x="318192" y="57437"/>
                  <a:pt x="322574" y="53329"/>
                </a:cubicBezTo>
                <a:cubicBezTo>
                  <a:pt x="327056" y="49160"/>
                  <a:pt x="329297" y="43124"/>
                  <a:pt x="329297" y="35283"/>
                </a:cubicBezTo>
                <a:cubicBezTo>
                  <a:pt x="329297" y="28313"/>
                  <a:pt x="327355" y="22713"/>
                  <a:pt x="323470" y="18544"/>
                </a:cubicBezTo>
                <a:cubicBezTo>
                  <a:pt x="319586" y="14250"/>
                  <a:pt x="314307" y="12134"/>
                  <a:pt x="307634" y="12134"/>
                </a:cubicBezTo>
                <a:close/>
                <a:moveTo>
                  <a:pt x="412337" y="108588"/>
                </a:moveTo>
                <a:lnTo>
                  <a:pt x="399190" y="108588"/>
                </a:lnTo>
                <a:lnTo>
                  <a:pt x="399190" y="83199"/>
                </a:lnTo>
                <a:lnTo>
                  <a:pt x="352877" y="83199"/>
                </a:lnTo>
                <a:lnTo>
                  <a:pt x="352877" y="73927"/>
                </a:lnTo>
                <a:lnTo>
                  <a:pt x="394708" y="1493"/>
                </a:lnTo>
                <a:lnTo>
                  <a:pt x="412337" y="1493"/>
                </a:lnTo>
                <a:lnTo>
                  <a:pt x="412337" y="71873"/>
                </a:lnTo>
                <a:lnTo>
                  <a:pt x="426829" y="71873"/>
                </a:lnTo>
                <a:lnTo>
                  <a:pt x="426829" y="83199"/>
                </a:lnTo>
                <a:lnTo>
                  <a:pt x="412337" y="83199"/>
                </a:lnTo>
                <a:lnTo>
                  <a:pt x="412337" y="108588"/>
                </a:lnTo>
                <a:close/>
                <a:moveTo>
                  <a:pt x="366472" y="71873"/>
                </a:moveTo>
                <a:lnTo>
                  <a:pt x="399190" y="71873"/>
                </a:lnTo>
                <a:lnTo>
                  <a:pt x="399190" y="16117"/>
                </a:lnTo>
                <a:lnTo>
                  <a:pt x="366472" y="71873"/>
                </a:lnTo>
                <a:close/>
                <a:moveTo>
                  <a:pt x="455781" y="58992"/>
                </a:moveTo>
                <a:lnTo>
                  <a:pt x="455781" y="46298"/>
                </a:lnTo>
                <a:lnTo>
                  <a:pt x="470123" y="46298"/>
                </a:lnTo>
                <a:cubicBezTo>
                  <a:pt x="475700" y="46298"/>
                  <a:pt x="480232" y="44804"/>
                  <a:pt x="483718" y="41817"/>
                </a:cubicBezTo>
                <a:cubicBezTo>
                  <a:pt x="487303" y="38768"/>
                  <a:pt x="489096" y="34412"/>
                  <a:pt x="489096" y="28812"/>
                </a:cubicBezTo>
                <a:cubicBezTo>
                  <a:pt x="489096" y="23771"/>
                  <a:pt x="487453" y="19788"/>
                  <a:pt x="484166" y="16864"/>
                </a:cubicBezTo>
                <a:cubicBezTo>
                  <a:pt x="480879" y="13877"/>
                  <a:pt x="476148" y="12383"/>
                  <a:pt x="469973" y="12383"/>
                </a:cubicBezTo>
                <a:cubicBezTo>
                  <a:pt x="464794" y="12383"/>
                  <a:pt x="459914" y="13379"/>
                  <a:pt x="455332" y="15246"/>
                </a:cubicBezTo>
                <a:cubicBezTo>
                  <a:pt x="450850" y="17113"/>
                  <a:pt x="446169" y="20162"/>
                  <a:pt x="441289" y="24331"/>
                </a:cubicBezTo>
                <a:lnTo>
                  <a:pt x="441289" y="9707"/>
                </a:lnTo>
                <a:cubicBezTo>
                  <a:pt x="449257" y="3235"/>
                  <a:pt x="458868" y="0"/>
                  <a:pt x="470123" y="0"/>
                </a:cubicBezTo>
                <a:cubicBezTo>
                  <a:pt x="480381" y="0"/>
                  <a:pt x="488399" y="2613"/>
                  <a:pt x="494176" y="7779"/>
                </a:cubicBezTo>
                <a:cubicBezTo>
                  <a:pt x="500052" y="12943"/>
                  <a:pt x="502990" y="19726"/>
                  <a:pt x="502990" y="28065"/>
                </a:cubicBezTo>
                <a:cubicBezTo>
                  <a:pt x="502990" y="34848"/>
                  <a:pt x="501098" y="40262"/>
                  <a:pt x="497313" y="44244"/>
                </a:cubicBezTo>
                <a:cubicBezTo>
                  <a:pt x="493628" y="48227"/>
                  <a:pt x="489196" y="50840"/>
                  <a:pt x="484017" y="52147"/>
                </a:cubicBezTo>
                <a:cubicBezTo>
                  <a:pt x="488200" y="52707"/>
                  <a:pt x="492034" y="54201"/>
                  <a:pt x="495520" y="56441"/>
                </a:cubicBezTo>
                <a:cubicBezTo>
                  <a:pt x="499106" y="58681"/>
                  <a:pt x="501994" y="61543"/>
                  <a:pt x="504185" y="65153"/>
                </a:cubicBezTo>
                <a:cubicBezTo>
                  <a:pt x="506376" y="68700"/>
                  <a:pt x="507472" y="72869"/>
                  <a:pt x="507472" y="77661"/>
                </a:cubicBezTo>
                <a:cubicBezTo>
                  <a:pt x="507472" y="84257"/>
                  <a:pt x="505829" y="89982"/>
                  <a:pt x="502542" y="94836"/>
                </a:cubicBezTo>
                <a:cubicBezTo>
                  <a:pt x="499255" y="99752"/>
                  <a:pt x="494723" y="103486"/>
                  <a:pt x="488947" y="106224"/>
                </a:cubicBezTo>
                <a:cubicBezTo>
                  <a:pt x="483270" y="108775"/>
                  <a:pt x="476646" y="110082"/>
                  <a:pt x="469077" y="110082"/>
                </a:cubicBezTo>
                <a:cubicBezTo>
                  <a:pt x="455930" y="110082"/>
                  <a:pt x="445771" y="107033"/>
                  <a:pt x="438600" y="100997"/>
                </a:cubicBezTo>
                <a:lnTo>
                  <a:pt x="438600" y="86062"/>
                </a:lnTo>
                <a:cubicBezTo>
                  <a:pt x="442385" y="89733"/>
                  <a:pt x="446966" y="92596"/>
                  <a:pt x="452344" y="94711"/>
                </a:cubicBezTo>
                <a:cubicBezTo>
                  <a:pt x="457723" y="96765"/>
                  <a:pt x="463350" y="97823"/>
                  <a:pt x="469226" y="97823"/>
                </a:cubicBezTo>
                <a:cubicBezTo>
                  <a:pt x="476597" y="97823"/>
                  <a:pt x="482373" y="96080"/>
                  <a:pt x="486556" y="92596"/>
                </a:cubicBezTo>
                <a:cubicBezTo>
                  <a:pt x="490839" y="89048"/>
                  <a:pt x="492981" y="84132"/>
                  <a:pt x="492981" y="77972"/>
                </a:cubicBezTo>
                <a:cubicBezTo>
                  <a:pt x="492981" y="71998"/>
                  <a:pt x="491038" y="67393"/>
                  <a:pt x="487154" y="64095"/>
                </a:cubicBezTo>
                <a:cubicBezTo>
                  <a:pt x="483369" y="60673"/>
                  <a:pt x="477493" y="58992"/>
                  <a:pt x="469525" y="58992"/>
                </a:cubicBezTo>
                <a:lnTo>
                  <a:pt x="455781" y="58992"/>
                </a:lnTo>
                <a:close/>
                <a:moveTo>
                  <a:pt x="572130" y="110082"/>
                </a:moveTo>
                <a:cubicBezTo>
                  <a:pt x="561573" y="110082"/>
                  <a:pt x="552310" y="107904"/>
                  <a:pt x="544342" y="103486"/>
                </a:cubicBezTo>
                <a:cubicBezTo>
                  <a:pt x="536474" y="99129"/>
                  <a:pt x="530349" y="92844"/>
                  <a:pt x="525966" y="84693"/>
                </a:cubicBezTo>
                <a:cubicBezTo>
                  <a:pt x="521584" y="76416"/>
                  <a:pt x="519393" y="66584"/>
                  <a:pt x="519393" y="55134"/>
                </a:cubicBezTo>
                <a:cubicBezTo>
                  <a:pt x="519393" y="37897"/>
                  <a:pt x="523925" y="24455"/>
                  <a:pt x="532988" y="14810"/>
                </a:cubicBezTo>
                <a:cubicBezTo>
                  <a:pt x="542051" y="5040"/>
                  <a:pt x="554999" y="186"/>
                  <a:pt x="571831" y="186"/>
                </a:cubicBezTo>
                <a:cubicBezTo>
                  <a:pt x="578106" y="186"/>
                  <a:pt x="584082" y="871"/>
                  <a:pt x="589759" y="2240"/>
                </a:cubicBezTo>
                <a:cubicBezTo>
                  <a:pt x="595536" y="3547"/>
                  <a:pt x="600416" y="5414"/>
                  <a:pt x="604400" y="7902"/>
                </a:cubicBezTo>
                <a:lnTo>
                  <a:pt x="604400" y="21344"/>
                </a:lnTo>
                <a:cubicBezTo>
                  <a:pt x="600117" y="18669"/>
                  <a:pt x="595087" y="16615"/>
                  <a:pt x="589311" y="15121"/>
                </a:cubicBezTo>
                <a:cubicBezTo>
                  <a:pt x="583634" y="13628"/>
                  <a:pt x="577757" y="12881"/>
                  <a:pt x="571682" y="12881"/>
                </a:cubicBezTo>
                <a:cubicBezTo>
                  <a:pt x="559132" y="12881"/>
                  <a:pt x="549820" y="16366"/>
                  <a:pt x="543744" y="23459"/>
                </a:cubicBezTo>
                <a:cubicBezTo>
                  <a:pt x="537669" y="30554"/>
                  <a:pt x="534631" y="41071"/>
                  <a:pt x="534631" y="55134"/>
                </a:cubicBezTo>
                <a:cubicBezTo>
                  <a:pt x="534631" y="69260"/>
                  <a:pt x="537918" y="79839"/>
                  <a:pt x="544491" y="86933"/>
                </a:cubicBezTo>
                <a:cubicBezTo>
                  <a:pt x="551065" y="93902"/>
                  <a:pt x="560676" y="97387"/>
                  <a:pt x="573325" y="97387"/>
                </a:cubicBezTo>
                <a:cubicBezTo>
                  <a:pt x="585277" y="97387"/>
                  <a:pt x="595635" y="94089"/>
                  <a:pt x="604400" y="87555"/>
                </a:cubicBezTo>
                <a:lnTo>
                  <a:pt x="604400" y="100997"/>
                </a:lnTo>
                <a:cubicBezTo>
                  <a:pt x="600914" y="103734"/>
                  <a:pt x="596283" y="105974"/>
                  <a:pt x="590506" y="107717"/>
                </a:cubicBezTo>
                <a:cubicBezTo>
                  <a:pt x="584729" y="109273"/>
                  <a:pt x="578604" y="110082"/>
                  <a:pt x="57213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7" name="Полилиния 1026">
            <a:extLst>
              <a:ext uri="{FF2B5EF4-FFF2-40B4-BE49-F238E27FC236}">
                <a16:creationId xmlns:a16="http://schemas.microsoft.com/office/drawing/2014/main" id="{66C7906E-C367-7D95-B111-410E85314B8C}"/>
              </a:ext>
            </a:extLst>
          </p:cNvPr>
          <p:cNvSpPr/>
          <p:nvPr userDrawn="1"/>
        </p:nvSpPr>
        <p:spPr>
          <a:xfrm>
            <a:off x="15359119" y="5966300"/>
            <a:ext cx="1398954" cy="726227"/>
          </a:xfrm>
          <a:custGeom>
            <a:avLst/>
            <a:gdLst>
              <a:gd name="connsiteX0" fmla="*/ 425 w 1198727"/>
              <a:gd name="connsiteY0" fmla="*/ 1322 h 622284"/>
              <a:gd name="connsiteX1" fmla="*/ 1199153 w 1198727"/>
              <a:gd name="connsiteY1" fmla="*/ 1322 h 622284"/>
              <a:gd name="connsiteX2" fmla="*/ 1199153 w 1198727"/>
              <a:gd name="connsiteY2" fmla="*/ 623606 h 622284"/>
              <a:gd name="connsiteX3" fmla="*/ 425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322"/>
                </a:moveTo>
                <a:lnTo>
                  <a:pt x="1199153" y="1322"/>
                </a:lnTo>
                <a:lnTo>
                  <a:pt x="1199153" y="623606"/>
                </a:lnTo>
                <a:lnTo>
                  <a:pt x="425" y="623606"/>
                </a:lnTo>
                <a:close/>
              </a:path>
            </a:pathLst>
          </a:custGeom>
          <a:solidFill>
            <a:srgbClr val="79C04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8" name="Полилиния 1027">
            <a:extLst>
              <a:ext uri="{FF2B5EF4-FFF2-40B4-BE49-F238E27FC236}">
                <a16:creationId xmlns:a16="http://schemas.microsoft.com/office/drawing/2014/main" id="{349EF87A-6D92-1325-F35C-7FBD9F8C3A78}"/>
              </a:ext>
            </a:extLst>
          </p:cNvPr>
          <p:cNvSpPr/>
          <p:nvPr userDrawn="1"/>
        </p:nvSpPr>
        <p:spPr>
          <a:xfrm>
            <a:off x="15482328" y="6268047"/>
            <a:ext cx="727540" cy="128468"/>
          </a:xfrm>
          <a:custGeom>
            <a:avLst/>
            <a:gdLst>
              <a:gd name="connsiteX0" fmla="*/ 22111 w 623410"/>
              <a:gd name="connsiteY0" fmla="*/ 108588 h 110081"/>
              <a:gd name="connsiteX1" fmla="*/ 10159 w 623410"/>
              <a:gd name="connsiteY1" fmla="*/ 108588 h 110081"/>
              <a:gd name="connsiteX2" fmla="*/ 16434 w 623410"/>
              <a:gd name="connsiteY2" fmla="*/ 77661 h 110081"/>
              <a:gd name="connsiteX3" fmla="*/ 0 w 623410"/>
              <a:gd name="connsiteY3" fmla="*/ 77661 h 110081"/>
              <a:gd name="connsiteX4" fmla="*/ 0 w 623410"/>
              <a:gd name="connsiteY4" fmla="*/ 67206 h 110081"/>
              <a:gd name="connsiteX5" fmla="*/ 18675 w 623410"/>
              <a:gd name="connsiteY5" fmla="*/ 67206 h 110081"/>
              <a:gd name="connsiteX6" fmla="*/ 24202 w 623410"/>
              <a:gd name="connsiteY6" fmla="*/ 40012 h 110081"/>
              <a:gd name="connsiteX7" fmla="*/ 4034 w 623410"/>
              <a:gd name="connsiteY7" fmla="*/ 40012 h 110081"/>
              <a:gd name="connsiteX8" fmla="*/ 4034 w 623410"/>
              <a:gd name="connsiteY8" fmla="*/ 29559 h 110081"/>
              <a:gd name="connsiteX9" fmla="*/ 26294 w 623410"/>
              <a:gd name="connsiteY9" fmla="*/ 29559 h 110081"/>
              <a:gd name="connsiteX10" fmla="*/ 32120 w 623410"/>
              <a:gd name="connsiteY10" fmla="*/ 1493 h 110081"/>
              <a:gd name="connsiteX11" fmla="*/ 44072 w 623410"/>
              <a:gd name="connsiteY11" fmla="*/ 1493 h 110081"/>
              <a:gd name="connsiteX12" fmla="*/ 38246 w 623410"/>
              <a:gd name="connsiteY12" fmla="*/ 29559 h 110081"/>
              <a:gd name="connsiteX13" fmla="*/ 60655 w 623410"/>
              <a:gd name="connsiteY13" fmla="*/ 29559 h 110081"/>
              <a:gd name="connsiteX14" fmla="*/ 66482 w 623410"/>
              <a:gd name="connsiteY14" fmla="*/ 1493 h 110081"/>
              <a:gd name="connsiteX15" fmla="*/ 78434 w 623410"/>
              <a:gd name="connsiteY15" fmla="*/ 1493 h 110081"/>
              <a:gd name="connsiteX16" fmla="*/ 72607 w 623410"/>
              <a:gd name="connsiteY16" fmla="*/ 29559 h 110081"/>
              <a:gd name="connsiteX17" fmla="*/ 89340 w 623410"/>
              <a:gd name="connsiteY17" fmla="*/ 29559 h 110081"/>
              <a:gd name="connsiteX18" fmla="*/ 89340 w 623410"/>
              <a:gd name="connsiteY18" fmla="*/ 40012 h 110081"/>
              <a:gd name="connsiteX19" fmla="*/ 70515 w 623410"/>
              <a:gd name="connsiteY19" fmla="*/ 40012 h 110081"/>
              <a:gd name="connsiteX20" fmla="*/ 64988 w 623410"/>
              <a:gd name="connsiteY20" fmla="*/ 67206 h 110081"/>
              <a:gd name="connsiteX21" fmla="*/ 85306 w 623410"/>
              <a:gd name="connsiteY21" fmla="*/ 67206 h 110081"/>
              <a:gd name="connsiteX22" fmla="*/ 85306 w 623410"/>
              <a:gd name="connsiteY22" fmla="*/ 77661 h 110081"/>
              <a:gd name="connsiteX23" fmla="*/ 62747 w 623410"/>
              <a:gd name="connsiteY23" fmla="*/ 77661 h 110081"/>
              <a:gd name="connsiteX24" fmla="*/ 56472 w 623410"/>
              <a:gd name="connsiteY24" fmla="*/ 108588 h 110081"/>
              <a:gd name="connsiteX25" fmla="*/ 44520 w 623410"/>
              <a:gd name="connsiteY25" fmla="*/ 108588 h 110081"/>
              <a:gd name="connsiteX26" fmla="*/ 50795 w 623410"/>
              <a:gd name="connsiteY26" fmla="*/ 77661 h 110081"/>
              <a:gd name="connsiteX27" fmla="*/ 28386 w 623410"/>
              <a:gd name="connsiteY27" fmla="*/ 77661 h 110081"/>
              <a:gd name="connsiteX28" fmla="*/ 22111 w 623410"/>
              <a:gd name="connsiteY28" fmla="*/ 108588 h 110081"/>
              <a:gd name="connsiteX29" fmla="*/ 30626 w 623410"/>
              <a:gd name="connsiteY29" fmla="*/ 67206 h 110081"/>
              <a:gd name="connsiteX30" fmla="*/ 53036 w 623410"/>
              <a:gd name="connsiteY30" fmla="*/ 67206 h 110081"/>
              <a:gd name="connsiteX31" fmla="*/ 58564 w 623410"/>
              <a:gd name="connsiteY31" fmla="*/ 40012 h 110081"/>
              <a:gd name="connsiteX32" fmla="*/ 36154 w 623410"/>
              <a:gd name="connsiteY32" fmla="*/ 40012 h 110081"/>
              <a:gd name="connsiteX33" fmla="*/ 30626 w 623410"/>
              <a:gd name="connsiteY33" fmla="*/ 67206 h 110081"/>
              <a:gd name="connsiteX34" fmla="*/ 170867 w 623410"/>
              <a:gd name="connsiteY34" fmla="*/ 13628 h 110081"/>
              <a:gd name="connsiteX35" fmla="*/ 125450 w 623410"/>
              <a:gd name="connsiteY35" fmla="*/ 108588 h 110081"/>
              <a:gd name="connsiteX36" fmla="*/ 110809 w 623410"/>
              <a:gd name="connsiteY36" fmla="*/ 108588 h 110081"/>
              <a:gd name="connsiteX37" fmla="*/ 156525 w 623410"/>
              <a:gd name="connsiteY37" fmla="*/ 14374 h 110081"/>
              <a:gd name="connsiteX38" fmla="*/ 101995 w 623410"/>
              <a:gd name="connsiteY38" fmla="*/ 14374 h 110081"/>
              <a:gd name="connsiteX39" fmla="*/ 101995 w 623410"/>
              <a:gd name="connsiteY39" fmla="*/ 1493 h 110081"/>
              <a:gd name="connsiteX40" fmla="*/ 170867 w 623410"/>
              <a:gd name="connsiteY40" fmla="*/ 1493 h 110081"/>
              <a:gd name="connsiteX41" fmla="*/ 170867 w 623410"/>
              <a:gd name="connsiteY41" fmla="*/ 13628 h 110081"/>
              <a:gd name="connsiteX42" fmla="*/ 182346 w 623410"/>
              <a:gd name="connsiteY42" fmla="*/ 35844 h 110081"/>
              <a:gd name="connsiteX43" fmla="*/ 186977 w 623410"/>
              <a:gd name="connsiteY43" fmla="*/ 17051 h 110081"/>
              <a:gd name="connsiteX44" fmla="*/ 199825 w 623410"/>
              <a:gd name="connsiteY44" fmla="*/ 4480 h 110081"/>
              <a:gd name="connsiteX45" fmla="*/ 217902 w 623410"/>
              <a:gd name="connsiteY45" fmla="*/ 0 h 110081"/>
              <a:gd name="connsiteX46" fmla="*/ 239565 w 623410"/>
              <a:gd name="connsiteY46" fmla="*/ 5849 h 110081"/>
              <a:gd name="connsiteX47" fmla="*/ 251666 w 623410"/>
              <a:gd name="connsiteY47" fmla="*/ 21842 h 110081"/>
              <a:gd name="connsiteX48" fmla="*/ 255401 w 623410"/>
              <a:gd name="connsiteY48" fmla="*/ 45426 h 110081"/>
              <a:gd name="connsiteX49" fmla="*/ 250770 w 623410"/>
              <a:gd name="connsiteY49" fmla="*/ 80088 h 110081"/>
              <a:gd name="connsiteX50" fmla="*/ 236428 w 623410"/>
              <a:gd name="connsiteY50" fmla="*/ 102303 h 110081"/>
              <a:gd name="connsiteX51" fmla="*/ 211926 w 623410"/>
              <a:gd name="connsiteY51" fmla="*/ 110082 h 110081"/>
              <a:gd name="connsiteX52" fmla="*/ 188919 w 623410"/>
              <a:gd name="connsiteY52" fmla="*/ 104543 h 110081"/>
              <a:gd name="connsiteX53" fmla="*/ 188919 w 623410"/>
              <a:gd name="connsiteY53" fmla="*/ 91413 h 110081"/>
              <a:gd name="connsiteX54" fmla="*/ 211926 w 623410"/>
              <a:gd name="connsiteY54" fmla="*/ 98010 h 110081"/>
              <a:gd name="connsiteX55" fmla="*/ 227464 w 623410"/>
              <a:gd name="connsiteY55" fmla="*/ 92907 h 110081"/>
              <a:gd name="connsiteX56" fmla="*/ 237175 w 623410"/>
              <a:gd name="connsiteY56" fmla="*/ 79154 h 110081"/>
              <a:gd name="connsiteX57" fmla="*/ 241507 w 623410"/>
              <a:gd name="connsiteY57" fmla="*/ 59739 h 110081"/>
              <a:gd name="connsiteX58" fmla="*/ 230452 w 623410"/>
              <a:gd name="connsiteY58" fmla="*/ 68389 h 110081"/>
              <a:gd name="connsiteX59" fmla="*/ 216558 w 623410"/>
              <a:gd name="connsiteY59" fmla="*/ 71127 h 110081"/>
              <a:gd name="connsiteX60" fmla="*/ 199228 w 623410"/>
              <a:gd name="connsiteY60" fmla="*/ 67082 h 110081"/>
              <a:gd name="connsiteX61" fmla="*/ 186828 w 623410"/>
              <a:gd name="connsiteY61" fmla="*/ 55134 h 110081"/>
              <a:gd name="connsiteX62" fmla="*/ 182346 w 623410"/>
              <a:gd name="connsiteY62" fmla="*/ 35844 h 110081"/>
              <a:gd name="connsiteX63" fmla="*/ 218351 w 623410"/>
              <a:gd name="connsiteY63" fmla="*/ 12134 h 110081"/>
              <a:gd name="connsiteX64" fmla="*/ 207594 w 623410"/>
              <a:gd name="connsiteY64" fmla="*/ 14810 h 110081"/>
              <a:gd name="connsiteX65" fmla="*/ 199526 w 623410"/>
              <a:gd name="connsiteY65" fmla="*/ 22589 h 110081"/>
              <a:gd name="connsiteX66" fmla="*/ 196539 w 623410"/>
              <a:gd name="connsiteY66" fmla="*/ 35532 h 110081"/>
              <a:gd name="connsiteX67" fmla="*/ 199526 w 623410"/>
              <a:gd name="connsiteY67" fmla="*/ 48725 h 110081"/>
              <a:gd name="connsiteX68" fmla="*/ 207146 w 623410"/>
              <a:gd name="connsiteY68" fmla="*/ 56752 h 110081"/>
              <a:gd name="connsiteX69" fmla="*/ 216857 w 623410"/>
              <a:gd name="connsiteY69" fmla="*/ 59428 h 110081"/>
              <a:gd name="connsiteX70" fmla="*/ 233290 w 623410"/>
              <a:gd name="connsiteY70" fmla="*/ 53329 h 110081"/>
              <a:gd name="connsiteX71" fmla="*/ 240013 w 623410"/>
              <a:gd name="connsiteY71" fmla="*/ 35283 h 110081"/>
              <a:gd name="connsiteX72" fmla="*/ 234187 w 623410"/>
              <a:gd name="connsiteY72" fmla="*/ 18544 h 110081"/>
              <a:gd name="connsiteX73" fmla="*/ 218351 w 623410"/>
              <a:gd name="connsiteY73" fmla="*/ 12134 h 110081"/>
              <a:gd name="connsiteX74" fmla="*/ 318565 w 623410"/>
              <a:gd name="connsiteY74" fmla="*/ 110082 h 110081"/>
              <a:gd name="connsiteX75" fmla="*/ 290777 w 623410"/>
              <a:gd name="connsiteY75" fmla="*/ 103486 h 110081"/>
              <a:gd name="connsiteX76" fmla="*/ 272401 w 623410"/>
              <a:gd name="connsiteY76" fmla="*/ 84693 h 110081"/>
              <a:gd name="connsiteX77" fmla="*/ 265828 w 623410"/>
              <a:gd name="connsiteY77" fmla="*/ 55134 h 110081"/>
              <a:gd name="connsiteX78" fmla="*/ 279423 w 623410"/>
              <a:gd name="connsiteY78" fmla="*/ 14810 h 110081"/>
              <a:gd name="connsiteX79" fmla="*/ 318266 w 623410"/>
              <a:gd name="connsiteY79" fmla="*/ 186 h 110081"/>
              <a:gd name="connsiteX80" fmla="*/ 336194 w 623410"/>
              <a:gd name="connsiteY80" fmla="*/ 2240 h 110081"/>
              <a:gd name="connsiteX81" fmla="*/ 350835 w 623410"/>
              <a:gd name="connsiteY81" fmla="*/ 7902 h 110081"/>
              <a:gd name="connsiteX82" fmla="*/ 350835 w 623410"/>
              <a:gd name="connsiteY82" fmla="*/ 21344 h 110081"/>
              <a:gd name="connsiteX83" fmla="*/ 335746 w 623410"/>
              <a:gd name="connsiteY83" fmla="*/ 15121 h 110081"/>
              <a:gd name="connsiteX84" fmla="*/ 318117 w 623410"/>
              <a:gd name="connsiteY84" fmla="*/ 12881 h 110081"/>
              <a:gd name="connsiteX85" fmla="*/ 290180 w 623410"/>
              <a:gd name="connsiteY85" fmla="*/ 23459 h 110081"/>
              <a:gd name="connsiteX86" fmla="*/ 281066 w 623410"/>
              <a:gd name="connsiteY86" fmla="*/ 55134 h 110081"/>
              <a:gd name="connsiteX87" fmla="*/ 290927 w 623410"/>
              <a:gd name="connsiteY87" fmla="*/ 86933 h 110081"/>
              <a:gd name="connsiteX88" fmla="*/ 319760 w 623410"/>
              <a:gd name="connsiteY88" fmla="*/ 97387 h 110081"/>
              <a:gd name="connsiteX89" fmla="*/ 350835 w 623410"/>
              <a:gd name="connsiteY89" fmla="*/ 87555 h 110081"/>
              <a:gd name="connsiteX90" fmla="*/ 350835 w 623410"/>
              <a:gd name="connsiteY90" fmla="*/ 100997 h 110081"/>
              <a:gd name="connsiteX91" fmla="*/ 336941 w 623410"/>
              <a:gd name="connsiteY91" fmla="*/ 107717 h 110081"/>
              <a:gd name="connsiteX92" fmla="*/ 318565 w 623410"/>
              <a:gd name="connsiteY92" fmla="*/ 110082 h 110081"/>
              <a:gd name="connsiteX93" fmla="*/ 401163 w 623410"/>
              <a:gd name="connsiteY93" fmla="*/ 110082 h 110081"/>
              <a:gd name="connsiteX94" fmla="*/ 382937 w 623410"/>
              <a:gd name="connsiteY94" fmla="*/ 104233 h 110081"/>
              <a:gd name="connsiteX95" fmla="*/ 370238 w 623410"/>
              <a:gd name="connsiteY95" fmla="*/ 86311 h 110081"/>
              <a:gd name="connsiteX96" fmla="*/ 365756 w 623410"/>
              <a:gd name="connsiteY96" fmla="*/ 54947 h 110081"/>
              <a:gd name="connsiteX97" fmla="*/ 370238 w 623410"/>
              <a:gd name="connsiteY97" fmla="*/ 23584 h 110081"/>
              <a:gd name="connsiteX98" fmla="*/ 382937 w 623410"/>
              <a:gd name="connsiteY98" fmla="*/ 5849 h 110081"/>
              <a:gd name="connsiteX99" fmla="*/ 401163 w 623410"/>
              <a:gd name="connsiteY99" fmla="*/ 186 h 110081"/>
              <a:gd name="connsiteX100" fmla="*/ 419240 w 623410"/>
              <a:gd name="connsiteY100" fmla="*/ 5849 h 110081"/>
              <a:gd name="connsiteX101" fmla="*/ 431640 w 623410"/>
              <a:gd name="connsiteY101" fmla="*/ 23584 h 110081"/>
              <a:gd name="connsiteX102" fmla="*/ 436122 w 623410"/>
              <a:gd name="connsiteY102" fmla="*/ 54698 h 110081"/>
              <a:gd name="connsiteX103" fmla="*/ 431640 w 623410"/>
              <a:gd name="connsiteY103" fmla="*/ 86062 h 110081"/>
              <a:gd name="connsiteX104" fmla="*/ 419240 w 623410"/>
              <a:gd name="connsiteY104" fmla="*/ 104233 h 110081"/>
              <a:gd name="connsiteX105" fmla="*/ 401163 w 623410"/>
              <a:gd name="connsiteY105" fmla="*/ 110082 h 110081"/>
              <a:gd name="connsiteX106" fmla="*/ 401014 w 623410"/>
              <a:gd name="connsiteY106" fmla="*/ 98258 h 110081"/>
              <a:gd name="connsiteX107" fmla="*/ 412368 w 623410"/>
              <a:gd name="connsiteY107" fmla="*/ 94275 h 110081"/>
              <a:gd name="connsiteX108" fmla="*/ 419539 w 623410"/>
              <a:gd name="connsiteY108" fmla="*/ 80648 h 110081"/>
              <a:gd name="connsiteX109" fmla="*/ 422079 w 623410"/>
              <a:gd name="connsiteY109" fmla="*/ 55134 h 110081"/>
              <a:gd name="connsiteX110" fmla="*/ 419689 w 623410"/>
              <a:gd name="connsiteY110" fmla="*/ 29745 h 110081"/>
              <a:gd name="connsiteX111" fmla="*/ 412517 w 623410"/>
              <a:gd name="connsiteY111" fmla="*/ 16117 h 110081"/>
              <a:gd name="connsiteX112" fmla="*/ 401163 w 623410"/>
              <a:gd name="connsiteY112" fmla="*/ 11947 h 110081"/>
              <a:gd name="connsiteX113" fmla="*/ 389660 w 623410"/>
              <a:gd name="connsiteY113" fmla="*/ 16117 h 110081"/>
              <a:gd name="connsiteX114" fmla="*/ 382339 w 623410"/>
              <a:gd name="connsiteY114" fmla="*/ 29745 h 110081"/>
              <a:gd name="connsiteX115" fmla="*/ 379800 w 623410"/>
              <a:gd name="connsiteY115" fmla="*/ 55134 h 110081"/>
              <a:gd name="connsiteX116" fmla="*/ 382190 w 623410"/>
              <a:gd name="connsiteY116" fmla="*/ 80648 h 110081"/>
              <a:gd name="connsiteX117" fmla="*/ 389510 w 623410"/>
              <a:gd name="connsiteY117" fmla="*/ 94275 h 110081"/>
              <a:gd name="connsiteX118" fmla="*/ 401014 w 623410"/>
              <a:gd name="connsiteY118" fmla="*/ 98258 h 110081"/>
              <a:gd name="connsiteX119" fmla="*/ 505418 w 623410"/>
              <a:gd name="connsiteY119" fmla="*/ 108588 h 110081"/>
              <a:gd name="connsiteX120" fmla="*/ 492271 w 623410"/>
              <a:gd name="connsiteY120" fmla="*/ 108588 h 110081"/>
              <a:gd name="connsiteX121" fmla="*/ 492271 w 623410"/>
              <a:gd name="connsiteY121" fmla="*/ 83199 h 110081"/>
              <a:gd name="connsiteX122" fmla="*/ 445958 w 623410"/>
              <a:gd name="connsiteY122" fmla="*/ 83199 h 110081"/>
              <a:gd name="connsiteX123" fmla="*/ 445958 w 623410"/>
              <a:gd name="connsiteY123" fmla="*/ 73927 h 110081"/>
              <a:gd name="connsiteX124" fmla="*/ 487789 w 623410"/>
              <a:gd name="connsiteY124" fmla="*/ 1493 h 110081"/>
              <a:gd name="connsiteX125" fmla="*/ 505418 w 623410"/>
              <a:gd name="connsiteY125" fmla="*/ 1493 h 110081"/>
              <a:gd name="connsiteX126" fmla="*/ 505418 w 623410"/>
              <a:gd name="connsiteY126" fmla="*/ 71873 h 110081"/>
              <a:gd name="connsiteX127" fmla="*/ 519909 w 623410"/>
              <a:gd name="connsiteY127" fmla="*/ 71873 h 110081"/>
              <a:gd name="connsiteX128" fmla="*/ 519909 w 623410"/>
              <a:gd name="connsiteY128" fmla="*/ 83199 h 110081"/>
              <a:gd name="connsiteX129" fmla="*/ 505418 w 623410"/>
              <a:gd name="connsiteY129" fmla="*/ 83199 h 110081"/>
              <a:gd name="connsiteX130" fmla="*/ 505418 w 623410"/>
              <a:gd name="connsiteY130" fmla="*/ 108588 h 110081"/>
              <a:gd name="connsiteX131" fmla="*/ 459553 w 623410"/>
              <a:gd name="connsiteY131" fmla="*/ 71873 h 110081"/>
              <a:gd name="connsiteX132" fmla="*/ 492271 w 623410"/>
              <a:gd name="connsiteY132" fmla="*/ 71873 h 110081"/>
              <a:gd name="connsiteX133" fmla="*/ 492271 w 623410"/>
              <a:gd name="connsiteY133" fmla="*/ 16117 h 110081"/>
              <a:gd name="connsiteX134" fmla="*/ 459553 w 623410"/>
              <a:gd name="connsiteY134" fmla="*/ 71873 h 110081"/>
              <a:gd name="connsiteX135" fmla="*/ 536611 w 623410"/>
              <a:gd name="connsiteY135" fmla="*/ 1493 h 110081"/>
              <a:gd name="connsiteX136" fmla="*/ 572616 w 623410"/>
              <a:gd name="connsiteY136" fmla="*/ 1493 h 110081"/>
              <a:gd name="connsiteX137" fmla="*/ 592635 w 623410"/>
              <a:gd name="connsiteY137" fmla="*/ 4044 h 110081"/>
              <a:gd name="connsiteX138" fmla="*/ 608770 w 623410"/>
              <a:gd name="connsiteY138" fmla="*/ 12383 h 110081"/>
              <a:gd name="connsiteX139" fmla="*/ 619526 w 623410"/>
              <a:gd name="connsiteY139" fmla="*/ 27629 h 110081"/>
              <a:gd name="connsiteX140" fmla="*/ 623411 w 623410"/>
              <a:gd name="connsiteY140" fmla="*/ 51401 h 110081"/>
              <a:gd name="connsiteX141" fmla="*/ 616539 w 623410"/>
              <a:gd name="connsiteY141" fmla="*/ 83075 h 110081"/>
              <a:gd name="connsiteX142" fmla="*/ 598013 w 623410"/>
              <a:gd name="connsiteY142" fmla="*/ 102179 h 110081"/>
              <a:gd name="connsiteX143" fmla="*/ 570972 w 623410"/>
              <a:gd name="connsiteY143" fmla="*/ 108588 h 110081"/>
              <a:gd name="connsiteX144" fmla="*/ 536611 w 623410"/>
              <a:gd name="connsiteY144" fmla="*/ 108588 h 110081"/>
              <a:gd name="connsiteX145" fmla="*/ 536611 w 623410"/>
              <a:gd name="connsiteY145" fmla="*/ 1493 h 110081"/>
              <a:gd name="connsiteX146" fmla="*/ 570972 w 623410"/>
              <a:gd name="connsiteY146" fmla="*/ 95893 h 110081"/>
              <a:gd name="connsiteX147" fmla="*/ 590394 w 623410"/>
              <a:gd name="connsiteY147" fmla="*/ 91413 h 110081"/>
              <a:gd name="connsiteX148" fmla="*/ 603392 w 623410"/>
              <a:gd name="connsiteY148" fmla="*/ 77225 h 110081"/>
              <a:gd name="connsiteX149" fmla="*/ 608172 w 623410"/>
              <a:gd name="connsiteY149" fmla="*/ 52458 h 110081"/>
              <a:gd name="connsiteX150" fmla="*/ 603541 w 623410"/>
              <a:gd name="connsiteY150" fmla="*/ 29122 h 110081"/>
              <a:gd name="connsiteX151" fmla="*/ 590842 w 623410"/>
              <a:gd name="connsiteY151" fmla="*/ 17610 h 110081"/>
              <a:gd name="connsiteX152" fmla="*/ 572616 w 623410"/>
              <a:gd name="connsiteY152" fmla="*/ 14374 h 110081"/>
              <a:gd name="connsiteX153" fmla="*/ 550654 w 623410"/>
              <a:gd name="connsiteY153" fmla="*/ 14374 h 110081"/>
              <a:gd name="connsiteX154" fmla="*/ 550654 w 623410"/>
              <a:gd name="connsiteY154" fmla="*/ 95893 h 110081"/>
              <a:gd name="connsiteX155" fmla="*/ 570972 w 623410"/>
              <a:gd name="connsiteY155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623410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0867" y="13628"/>
                </a:moveTo>
                <a:lnTo>
                  <a:pt x="125450" y="108588"/>
                </a:lnTo>
                <a:lnTo>
                  <a:pt x="110809" y="108588"/>
                </a:lnTo>
                <a:lnTo>
                  <a:pt x="156525" y="14374"/>
                </a:lnTo>
                <a:lnTo>
                  <a:pt x="101995" y="14374"/>
                </a:lnTo>
                <a:lnTo>
                  <a:pt x="101995" y="1493"/>
                </a:lnTo>
                <a:lnTo>
                  <a:pt x="170867" y="1493"/>
                </a:lnTo>
                <a:lnTo>
                  <a:pt x="170867" y="13628"/>
                </a:lnTo>
                <a:close/>
                <a:moveTo>
                  <a:pt x="182346" y="35844"/>
                </a:moveTo>
                <a:cubicBezTo>
                  <a:pt x="182346" y="28687"/>
                  <a:pt x="183890" y="22402"/>
                  <a:pt x="186977" y="17051"/>
                </a:cubicBezTo>
                <a:cubicBezTo>
                  <a:pt x="190164" y="11637"/>
                  <a:pt x="194447" y="7467"/>
                  <a:pt x="199825" y="4480"/>
                </a:cubicBezTo>
                <a:cubicBezTo>
                  <a:pt x="205204" y="1493"/>
                  <a:pt x="211229" y="0"/>
                  <a:pt x="217902" y="0"/>
                </a:cubicBezTo>
                <a:cubicBezTo>
                  <a:pt x="226866" y="0"/>
                  <a:pt x="234087" y="1929"/>
                  <a:pt x="239565" y="5849"/>
                </a:cubicBezTo>
                <a:cubicBezTo>
                  <a:pt x="245142" y="9645"/>
                  <a:pt x="249176" y="14934"/>
                  <a:pt x="251666" y="21842"/>
                </a:cubicBezTo>
                <a:cubicBezTo>
                  <a:pt x="254156" y="28563"/>
                  <a:pt x="255401" y="36466"/>
                  <a:pt x="255401" y="45426"/>
                </a:cubicBezTo>
                <a:cubicBezTo>
                  <a:pt x="255401" y="58868"/>
                  <a:pt x="253857" y="70380"/>
                  <a:pt x="250770" y="80088"/>
                </a:cubicBezTo>
                <a:cubicBezTo>
                  <a:pt x="247682" y="89733"/>
                  <a:pt x="242902" y="97138"/>
                  <a:pt x="236428" y="102303"/>
                </a:cubicBezTo>
                <a:cubicBezTo>
                  <a:pt x="230053" y="107468"/>
                  <a:pt x="221886" y="110082"/>
                  <a:pt x="211926" y="110082"/>
                </a:cubicBezTo>
                <a:cubicBezTo>
                  <a:pt x="202963" y="110082"/>
                  <a:pt x="195294" y="108215"/>
                  <a:pt x="188919" y="104543"/>
                </a:cubicBezTo>
                <a:lnTo>
                  <a:pt x="188919" y="91413"/>
                </a:lnTo>
                <a:cubicBezTo>
                  <a:pt x="195692" y="95769"/>
                  <a:pt x="203361" y="98010"/>
                  <a:pt x="211926" y="98010"/>
                </a:cubicBezTo>
                <a:cubicBezTo>
                  <a:pt x="218102" y="98010"/>
                  <a:pt x="223281" y="96267"/>
                  <a:pt x="227464" y="92907"/>
                </a:cubicBezTo>
                <a:cubicBezTo>
                  <a:pt x="231647" y="89546"/>
                  <a:pt x="234884" y="84941"/>
                  <a:pt x="237175" y="79154"/>
                </a:cubicBezTo>
                <a:cubicBezTo>
                  <a:pt x="239565" y="73367"/>
                  <a:pt x="241009" y="66896"/>
                  <a:pt x="241507" y="59739"/>
                </a:cubicBezTo>
                <a:cubicBezTo>
                  <a:pt x="238420" y="63660"/>
                  <a:pt x="234734" y="66522"/>
                  <a:pt x="230452" y="68389"/>
                </a:cubicBezTo>
                <a:cubicBezTo>
                  <a:pt x="226169" y="70193"/>
                  <a:pt x="221538" y="71127"/>
                  <a:pt x="216558" y="71127"/>
                </a:cubicBezTo>
                <a:cubicBezTo>
                  <a:pt x="210183" y="71127"/>
                  <a:pt x="204407" y="69758"/>
                  <a:pt x="199228" y="67082"/>
                </a:cubicBezTo>
                <a:cubicBezTo>
                  <a:pt x="194048" y="64406"/>
                  <a:pt x="189915" y="60424"/>
                  <a:pt x="186828" y="55134"/>
                </a:cubicBezTo>
                <a:cubicBezTo>
                  <a:pt x="183840" y="49845"/>
                  <a:pt x="182346" y="43435"/>
                  <a:pt x="182346" y="35844"/>
                </a:cubicBezTo>
                <a:close/>
                <a:moveTo>
                  <a:pt x="218351" y="12134"/>
                </a:moveTo>
                <a:cubicBezTo>
                  <a:pt x="214566" y="12134"/>
                  <a:pt x="210980" y="13006"/>
                  <a:pt x="207594" y="14810"/>
                </a:cubicBezTo>
                <a:cubicBezTo>
                  <a:pt x="204307" y="16490"/>
                  <a:pt x="201618" y="19104"/>
                  <a:pt x="199526" y="22589"/>
                </a:cubicBezTo>
                <a:cubicBezTo>
                  <a:pt x="197535" y="25949"/>
                  <a:pt x="196539" y="30305"/>
                  <a:pt x="196539" y="35532"/>
                </a:cubicBezTo>
                <a:cubicBezTo>
                  <a:pt x="196539" y="40759"/>
                  <a:pt x="197535" y="45116"/>
                  <a:pt x="199526" y="48725"/>
                </a:cubicBezTo>
                <a:cubicBezTo>
                  <a:pt x="201518" y="52271"/>
                  <a:pt x="204058" y="54947"/>
                  <a:pt x="207146" y="56752"/>
                </a:cubicBezTo>
                <a:cubicBezTo>
                  <a:pt x="210233" y="58556"/>
                  <a:pt x="213470" y="59428"/>
                  <a:pt x="216857" y="59428"/>
                </a:cubicBezTo>
                <a:cubicBezTo>
                  <a:pt x="223430" y="59428"/>
                  <a:pt x="228908" y="57437"/>
                  <a:pt x="233290" y="53329"/>
                </a:cubicBezTo>
                <a:cubicBezTo>
                  <a:pt x="237772" y="49160"/>
                  <a:pt x="240013" y="43124"/>
                  <a:pt x="240013" y="35283"/>
                </a:cubicBezTo>
                <a:cubicBezTo>
                  <a:pt x="240013" y="28313"/>
                  <a:pt x="238071" y="22713"/>
                  <a:pt x="234187" y="18544"/>
                </a:cubicBezTo>
                <a:cubicBezTo>
                  <a:pt x="230302" y="14250"/>
                  <a:pt x="225024" y="12134"/>
                  <a:pt x="218351" y="12134"/>
                </a:cubicBezTo>
                <a:close/>
                <a:moveTo>
                  <a:pt x="318565" y="110082"/>
                </a:moveTo>
                <a:cubicBezTo>
                  <a:pt x="308008" y="110082"/>
                  <a:pt x="298745" y="107904"/>
                  <a:pt x="290777" y="103486"/>
                </a:cubicBezTo>
                <a:cubicBezTo>
                  <a:pt x="282909" y="99129"/>
                  <a:pt x="276784" y="92844"/>
                  <a:pt x="272401" y="84693"/>
                </a:cubicBezTo>
                <a:cubicBezTo>
                  <a:pt x="268019" y="76416"/>
                  <a:pt x="265828" y="66584"/>
                  <a:pt x="265828" y="55134"/>
                </a:cubicBezTo>
                <a:cubicBezTo>
                  <a:pt x="265828" y="37897"/>
                  <a:pt x="270359" y="24455"/>
                  <a:pt x="279423" y="14810"/>
                </a:cubicBezTo>
                <a:cubicBezTo>
                  <a:pt x="288487" y="5040"/>
                  <a:pt x="301434" y="186"/>
                  <a:pt x="318266" y="186"/>
                </a:cubicBezTo>
                <a:cubicBezTo>
                  <a:pt x="324541" y="186"/>
                  <a:pt x="330517" y="871"/>
                  <a:pt x="336194" y="2240"/>
                </a:cubicBezTo>
                <a:cubicBezTo>
                  <a:pt x="341971" y="3547"/>
                  <a:pt x="346851" y="5414"/>
                  <a:pt x="350835" y="7902"/>
                </a:cubicBezTo>
                <a:lnTo>
                  <a:pt x="350835" y="21344"/>
                </a:lnTo>
                <a:cubicBezTo>
                  <a:pt x="346552" y="18669"/>
                  <a:pt x="341523" y="16615"/>
                  <a:pt x="335746" y="15121"/>
                </a:cubicBezTo>
                <a:cubicBezTo>
                  <a:pt x="330069" y="13628"/>
                  <a:pt x="324192" y="12881"/>
                  <a:pt x="318117" y="12881"/>
                </a:cubicBezTo>
                <a:cubicBezTo>
                  <a:pt x="305568" y="12881"/>
                  <a:pt x="296255" y="16366"/>
                  <a:pt x="290180" y="23459"/>
                </a:cubicBezTo>
                <a:cubicBezTo>
                  <a:pt x="284104" y="30554"/>
                  <a:pt x="281066" y="41071"/>
                  <a:pt x="281066" y="55134"/>
                </a:cubicBezTo>
                <a:cubicBezTo>
                  <a:pt x="281066" y="69260"/>
                  <a:pt x="284353" y="79839"/>
                  <a:pt x="290927" y="86933"/>
                </a:cubicBezTo>
                <a:cubicBezTo>
                  <a:pt x="297500" y="93902"/>
                  <a:pt x="307111" y="97387"/>
                  <a:pt x="319760" y="97387"/>
                </a:cubicBezTo>
                <a:cubicBezTo>
                  <a:pt x="331712" y="97387"/>
                  <a:pt x="342070" y="94089"/>
                  <a:pt x="350835" y="87555"/>
                </a:cubicBezTo>
                <a:lnTo>
                  <a:pt x="350835" y="100997"/>
                </a:lnTo>
                <a:cubicBezTo>
                  <a:pt x="347349" y="103734"/>
                  <a:pt x="342718" y="105974"/>
                  <a:pt x="336941" y="107717"/>
                </a:cubicBezTo>
                <a:cubicBezTo>
                  <a:pt x="331164" y="109273"/>
                  <a:pt x="325039" y="110082"/>
                  <a:pt x="318565" y="110082"/>
                </a:cubicBezTo>
                <a:close/>
                <a:moveTo>
                  <a:pt x="401163" y="110082"/>
                </a:moveTo>
                <a:cubicBezTo>
                  <a:pt x="394391" y="110082"/>
                  <a:pt x="388315" y="108153"/>
                  <a:pt x="382937" y="104233"/>
                </a:cubicBezTo>
                <a:cubicBezTo>
                  <a:pt x="377558" y="100374"/>
                  <a:pt x="373326" y="94400"/>
                  <a:pt x="370238" y="86311"/>
                </a:cubicBezTo>
                <a:cubicBezTo>
                  <a:pt x="367250" y="78159"/>
                  <a:pt x="365756" y="67705"/>
                  <a:pt x="365756" y="54947"/>
                </a:cubicBezTo>
                <a:cubicBezTo>
                  <a:pt x="365756" y="42128"/>
                  <a:pt x="367250" y="31674"/>
                  <a:pt x="370238" y="23584"/>
                </a:cubicBezTo>
                <a:cubicBezTo>
                  <a:pt x="373326" y="15557"/>
                  <a:pt x="377558" y="9645"/>
                  <a:pt x="382937" y="5849"/>
                </a:cubicBezTo>
                <a:cubicBezTo>
                  <a:pt x="388315" y="2053"/>
                  <a:pt x="394391" y="186"/>
                  <a:pt x="401163" y="186"/>
                </a:cubicBezTo>
                <a:cubicBezTo>
                  <a:pt x="407936" y="186"/>
                  <a:pt x="413962" y="2053"/>
                  <a:pt x="419240" y="5849"/>
                </a:cubicBezTo>
                <a:cubicBezTo>
                  <a:pt x="424519" y="9645"/>
                  <a:pt x="428652" y="15557"/>
                  <a:pt x="431640" y="23584"/>
                </a:cubicBezTo>
                <a:cubicBezTo>
                  <a:pt x="434628" y="31549"/>
                  <a:pt x="436122" y="41942"/>
                  <a:pt x="436122" y="54698"/>
                </a:cubicBezTo>
                <a:cubicBezTo>
                  <a:pt x="436122" y="67331"/>
                  <a:pt x="434628" y="77786"/>
                  <a:pt x="431640" y="86062"/>
                </a:cubicBezTo>
                <a:cubicBezTo>
                  <a:pt x="428652" y="94213"/>
                  <a:pt x="424519" y="100250"/>
                  <a:pt x="419240" y="104233"/>
                </a:cubicBezTo>
                <a:cubicBezTo>
                  <a:pt x="413962" y="108153"/>
                  <a:pt x="407936" y="110082"/>
                  <a:pt x="401163" y="110082"/>
                </a:cubicBezTo>
                <a:close/>
                <a:moveTo>
                  <a:pt x="401014" y="98258"/>
                </a:moveTo>
                <a:cubicBezTo>
                  <a:pt x="405496" y="98258"/>
                  <a:pt x="409281" y="96952"/>
                  <a:pt x="412368" y="94275"/>
                </a:cubicBezTo>
                <a:cubicBezTo>
                  <a:pt x="415555" y="91475"/>
                  <a:pt x="417946" y="86933"/>
                  <a:pt x="419539" y="80648"/>
                </a:cubicBezTo>
                <a:cubicBezTo>
                  <a:pt x="421232" y="74300"/>
                  <a:pt x="422079" y="65775"/>
                  <a:pt x="422079" y="55134"/>
                </a:cubicBezTo>
                <a:cubicBezTo>
                  <a:pt x="422079" y="44493"/>
                  <a:pt x="421282" y="36030"/>
                  <a:pt x="419689" y="29745"/>
                </a:cubicBezTo>
                <a:cubicBezTo>
                  <a:pt x="418095" y="23336"/>
                  <a:pt x="415705" y="18855"/>
                  <a:pt x="412517" y="16117"/>
                </a:cubicBezTo>
                <a:cubicBezTo>
                  <a:pt x="409430" y="13379"/>
                  <a:pt x="405645" y="11947"/>
                  <a:pt x="401163" y="11947"/>
                </a:cubicBezTo>
                <a:cubicBezTo>
                  <a:pt x="396681" y="11947"/>
                  <a:pt x="392847" y="13379"/>
                  <a:pt x="389660" y="16117"/>
                </a:cubicBezTo>
                <a:cubicBezTo>
                  <a:pt x="386473" y="18855"/>
                  <a:pt x="384032" y="23336"/>
                  <a:pt x="382339" y="29745"/>
                </a:cubicBezTo>
                <a:cubicBezTo>
                  <a:pt x="380646" y="36030"/>
                  <a:pt x="379800" y="44493"/>
                  <a:pt x="379800" y="55134"/>
                </a:cubicBezTo>
                <a:cubicBezTo>
                  <a:pt x="379800" y="65775"/>
                  <a:pt x="380596" y="74300"/>
                  <a:pt x="382190" y="80648"/>
                </a:cubicBezTo>
                <a:cubicBezTo>
                  <a:pt x="383883" y="86933"/>
                  <a:pt x="386323" y="91475"/>
                  <a:pt x="389510" y="94275"/>
                </a:cubicBezTo>
                <a:cubicBezTo>
                  <a:pt x="392697" y="96952"/>
                  <a:pt x="396532" y="98258"/>
                  <a:pt x="401014" y="98258"/>
                </a:cubicBezTo>
                <a:close/>
                <a:moveTo>
                  <a:pt x="505418" y="108588"/>
                </a:moveTo>
                <a:lnTo>
                  <a:pt x="492271" y="108588"/>
                </a:lnTo>
                <a:lnTo>
                  <a:pt x="492271" y="83199"/>
                </a:lnTo>
                <a:lnTo>
                  <a:pt x="445958" y="83199"/>
                </a:lnTo>
                <a:lnTo>
                  <a:pt x="445958" y="73927"/>
                </a:lnTo>
                <a:lnTo>
                  <a:pt x="487789" y="1493"/>
                </a:lnTo>
                <a:lnTo>
                  <a:pt x="505418" y="1493"/>
                </a:lnTo>
                <a:lnTo>
                  <a:pt x="505418" y="71873"/>
                </a:lnTo>
                <a:lnTo>
                  <a:pt x="519909" y="71873"/>
                </a:lnTo>
                <a:lnTo>
                  <a:pt x="519909" y="83199"/>
                </a:lnTo>
                <a:lnTo>
                  <a:pt x="505418" y="83199"/>
                </a:lnTo>
                <a:lnTo>
                  <a:pt x="505418" y="108588"/>
                </a:lnTo>
                <a:close/>
                <a:moveTo>
                  <a:pt x="459553" y="71873"/>
                </a:moveTo>
                <a:lnTo>
                  <a:pt x="492271" y="71873"/>
                </a:lnTo>
                <a:lnTo>
                  <a:pt x="492271" y="16117"/>
                </a:lnTo>
                <a:lnTo>
                  <a:pt x="459553" y="71873"/>
                </a:lnTo>
                <a:close/>
                <a:moveTo>
                  <a:pt x="536611" y="1493"/>
                </a:moveTo>
                <a:lnTo>
                  <a:pt x="572616" y="1493"/>
                </a:lnTo>
                <a:cubicBezTo>
                  <a:pt x="579787" y="1493"/>
                  <a:pt x="586460" y="2365"/>
                  <a:pt x="592635" y="4044"/>
                </a:cubicBezTo>
                <a:cubicBezTo>
                  <a:pt x="598810" y="5725"/>
                  <a:pt x="604188" y="8525"/>
                  <a:pt x="608770" y="12383"/>
                </a:cubicBezTo>
                <a:cubicBezTo>
                  <a:pt x="613351" y="16179"/>
                  <a:pt x="616937" y="21282"/>
                  <a:pt x="619526" y="27629"/>
                </a:cubicBezTo>
                <a:cubicBezTo>
                  <a:pt x="622116" y="34039"/>
                  <a:pt x="623411" y="41942"/>
                  <a:pt x="623411" y="51401"/>
                </a:cubicBezTo>
                <a:cubicBezTo>
                  <a:pt x="623411" y="63908"/>
                  <a:pt x="621120" y="74487"/>
                  <a:pt x="616539" y="83075"/>
                </a:cubicBezTo>
                <a:cubicBezTo>
                  <a:pt x="612056" y="91538"/>
                  <a:pt x="605881" y="97885"/>
                  <a:pt x="598013" y="102179"/>
                </a:cubicBezTo>
                <a:cubicBezTo>
                  <a:pt x="590145" y="106473"/>
                  <a:pt x="581131" y="108588"/>
                  <a:pt x="570972" y="108588"/>
                </a:cubicBezTo>
                <a:lnTo>
                  <a:pt x="536611" y="108588"/>
                </a:lnTo>
                <a:lnTo>
                  <a:pt x="536611" y="1493"/>
                </a:lnTo>
                <a:close/>
                <a:moveTo>
                  <a:pt x="570972" y="95893"/>
                </a:moveTo>
                <a:cubicBezTo>
                  <a:pt x="578342" y="95893"/>
                  <a:pt x="584816" y="94400"/>
                  <a:pt x="590394" y="91413"/>
                </a:cubicBezTo>
                <a:cubicBezTo>
                  <a:pt x="595971" y="88302"/>
                  <a:pt x="600304" y="83572"/>
                  <a:pt x="603392" y="77225"/>
                </a:cubicBezTo>
                <a:cubicBezTo>
                  <a:pt x="606578" y="70754"/>
                  <a:pt x="608172" y="62477"/>
                  <a:pt x="608172" y="52458"/>
                </a:cubicBezTo>
                <a:cubicBezTo>
                  <a:pt x="608172" y="42377"/>
                  <a:pt x="606628" y="34599"/>
                  <a:pt x="603541" y="29122"/>
                </a:cubicBezTo>
                <a:cubicBezTo>
                  <a:pt x="600453" y="23646"/>
                  <a:pt x="596220" y="19851"/>
                  <a:pt x="590842" y="17610"/>
                </a:cubicBezTo>
                <a:cubicBezTo>
                  <a:pt x="585563" y="15433"/>
                  <a:pt x="579488" y="14374"/>
                  <a:pt x="572616" y="14374"/>
                </a:cubicBezTo>
                <a:lnTo>
                  <a:pt x="550654" y="14374"/>
                </a:lnTo>
                <a:lnTo>
                  <a:pt x="550654" y="95893"/>
                </a:lnTo>
                <a:lnTo>
                  <a:pt x="570972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9" name="Полилиния 1028">
            <a:extLst>
              <a:ext uri="{FF2B5EF4-FFF2-40B4-BE49-F238E27FC236}">
                <a16:creationId xmlns:a16="http://schemas.microsoft.com/office/drawing/2014/main" id="{98D9317E-5C22-9C0E-5364-065A2AD1B92A}"/>
              </a:ext>
            </a:extLst>
          </p:cNvPr>
          <p:cNvSpPr/>
          <p:nvPr userDrawn="1"/>
        </p:nvSpPr>
        <p:spPr>
          <a:xfrm>
            <a:off x="15359119" y="6692525"/>
            <a:ext cx="1398954" cy="726227"/>
          </a:xfrm>
          <a:custGeom>
            <a:avLst/>
            <a:gdLst>
              <a:gd name="connsiteX0" fmla="*/ 425 w 1198727"/>
              <a:gd name="connsiteY0" fmla="*/ 1422 h 622284"/>
              <a:gd name="connsiteX1" fmla="*/ 1199153 w 1198727"/>
              <a:gd name="connsiteY1" fmla="*/ 1422 h 622284"/>
              <a:gd name="connsiteX2" fmla="*/ 1199153 w 1198727"/>
              <a:gd name="connsiteY2" fmla="*/ 623706 h 622284"/>
              <a:gd name="connsiteX3" fmla="*/ 425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422"/>
                </a:moveTo>
                <a:lnTo>
                  <a:pt x="1199153" y="1422"/>
                </a:lnTo>
                <a:lnTo>
                  <a:pt x="1199153" y="623706"/>
                </a:lnTo>
                <a:lnTo>
                  <a:pt x="425" y="623706"/>
                </a:lnTo>
                <a:close/>
              </a:path>
            </a:pathLst>
          </a:custGeom>
          <a:solidFill>
            <a:srgbClr val="94EA5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0" name="Полилиния 1029">
            <a:extLst>
              <a:ext uri="{FF2B5EF4-FFF2-40B4-BE49-F238E27FC236}">
                <a16:creationId xmlns:a16="http://schemas.microsoft.com/office/drawing/2014/main" id="{7E1005BE-54FA-B597-3A78-55C76C303265}"/>
              </a:ext>
            </a:extLst>
          </p:cNvPr>
          <p:cNvSpPr/>
          <p:nvPr userDrawn="1"/>
        </p:nvSpPr>
        <p:spPr>
          <a:xfrm>
            <a:off x="15482328" y="6994273"/>
            <a:ext cx="714696" cy="128468"/>
          </a:xfrm>
          <a:custGeom>
            <a:avLst/>
            <a:gdLst>
              <a:gd name="connsiteX0" fmla="*/ 22111 w 612405"/>
              <a:gd name="connsiteY0" fmla="*/ 108588 h 110081"/>
              <a:gd name="connsiteX1" fmla="*/ 10159 w 612405"/>
              <a:gd name="connsiteY1" fmla="*/ 108588 h 110081"/>
              <a:gd name="connsiteX2" fmla="*/ 16434 w 612405"/>
              <a:gd name="connsiteY2" fmla="*/ 77661 h 110081"/>
              <a:gd name="connsiteX3" fmla="*/ 0 w 612405"/>
              <a:gd name="connsiteY3" fmla="*/ 77661 h 110081"/>
              <a:gd name="connsiteX4" fmla="*/ 0 w 612405"/>
              <a:gd name="connsiteY4" fmla="*/ 67206 h 110081"/>
              <a:gd name="connsiteX5" fmla="*/ 18675 w 612405"/>
              <a:gd name="connsiteY5" fmla="*/ 67206 h 110081"/>
              <a:gd name="connsiteX6" fmla="*/ 24202 w 612405"/>
              <a:gd name="connsiteY6" fmla="*/ 40012 h 110081"/>
              <a:gd name="connsiteX7" fmla="*/ 4034 w 612405"/>
              <a:gd name="connsiteY7" fmla="*/ 40012 h 110081"/>
              <a:gd name="connsiteX8" fmla="*/ 4034 w 612405"/>
              <a:gd name="connsiteY8" fmla="*/ 29559 h 110081"/>
              <a:gd name="connsiteX9" fmla="*/ 26294 w 612405"/>
              <a:gd name="connsiteY9" fmla="*/ 29559 h 110081"/>
              <a:gd name="connsiteX10" fmla="*/ 32120 w 612405"/>
              <a:gd name="connsiteY10" fmla="*/ 1493 h 110081"/>
              <a:gd name="connsiteX11" fmla="*/ 44072 w 612405"/>
              <a:gd name="connsiteY11" fmla="*/ 1493 h 110081"/>
              <a:gd name="connsiteX12" fmla="*/ 38246 w 612405"/>
              <a:gd name="connsiteY12" fmla="*/ 29559 h 110081"/>
              <a:gd name="connsiteX13" fmla="*/ 60655 w 612405"/>
              <a:gd name="connsiteY13" fmla="*/ 29559 h 110081"/>
              <a:gd name="connsiteX14" fmla="*/ 66482 w 612405"/>
              <a:gd name="connsiteY14" fmla="*/ 1493 h 110081"/>
              <a:gd name="connsiteX15" fmla="*/ 78434 w 612405"/>
              <a:gd name="connsiteY15" fmla="*/ 1493 h 110081"/>
              <a:gd name="connsiteX16" fmla="*/ 72607 w 612405"/>
              <a:gd name="connsiteY16" fmla="*/ 29559 h 110081"/>
              <a:gd name="connsiteX17" fmla="*/ 89340 w 612405"/>
              <a:gd name="connsiteY17" fmla="*/ 29559 h 110081"/>
              <a:gd name="connsiteX18" fmla="*/ 89340 w 612405"/>
              <a:gd name="connsiteY18" fmla="*/ 40012 h 110081"/>
              <a:gd name="connsiteX19" fmla="*/ 70515 w 612405"/>
              <a:gd name="connsiteY19" fmla="*/ 40012 h 110081"/>
              <a:gd name="connsiteX20" fmla="*/ 64988 w 612405"/>
              <a:gd name="connsiteY20" fmla="*/ 67206 h 110081"/>
              <a:gd name="connsiteX21" fmla="*/ 85306 w 612405"/>
              <a:gd name="connsiteY21" fmla="*/ 67206 h 110081"/>
              <a:gd name="connsiteX22" fmla="*/ 85306 w 612405"/>
              <a:gd name="connsiteY22" fmla="*/ 77661 h 110081"/>
              <a:gd name="connsiteX23" fmla="*/ 62747 w 612405"/>
              <a:gd name="connsiteY23" fmla="*/ 77661 h 110081"/>
              <a:gd name="connsiteX24" fmla="*/ 56472 w 612405"/>
              <a:gd name="connsiteY24" fmla="*/ 108588 h 110081"/>
              <a:gd name="connsiteX25" fmla="*/ 44520 w 612405"/>
              <a:gd name="connsiteY25" fmla="*/ 108588 h 110081"/>
              <a:gd name="connsiteX26" fmla="*/ 50795 w 612405"/>
              <a:gd name="connsiteY26" fmla="*/ 77661 h 110081"/>
              <a:gd name="connsiteX27" fmla="*/ 28386 w 612405"/>
              <a:gd name="connsiteY27" fmla="*/ 77661 h 110081"/>
              <a:gd name="connsiteX28" fmla="*/ 22111 w 612405"/>
              <a:gd name="connsiteY28" fmla="*/ 108588 h 110081"/>
              <a:gd name="connsiteX29" fmla="*/ 30626 w 612405"/>
              <a:gd name="connsiteY29" fmla="*/ 67206 h 110081"/>
              <a:gd name="connsiteX30" fmla="*/ 53036 w 612405"/>
              <a:gd name="connsiteY30" fmla="*/ 67206 h 110081"/>
              <a:gd name="connsiteX31" fmla="*/ 58564 w 612405"/>
              <a:gd name="connsiteY31" fmla="*/ 40012 h 110081"/>
              <a:gd name="connsiteX32" fmla="*/ 36154 w 612405"/>
              <a:gd name="connsiteY32" fmla="*/ 40012 h 110081"/>
              <a:gd name="connsiteX33" fmla="*/ 30626 w 612405"/>
              <a:gd name="connsiteY33" fmla="*/ 67206 h 110081"/>
              <a:gd name="connsiteX34" fmla="*/ 100202 w 612405"/>
              <a:gd name="connsiteY34" fmla="*/ 35844 h 110081"/>
              <a:gd name="connsiteX35" fmla="*/ 104833 w 612405"/>
              <a:gd name="connsiteY35" fmla="*/ 17051 h 110081"/>
              <a:gd name="connsiteX36" fmla="*/ 117682 w 612405"/>
              <a:gd name="connsiteY36" fmla="*/ 4480 h 110081"/>
              <a:gd name="connsiteX37" fmla="*/ 135759 w 612405"/>
              <a:gd name="connsiteY37" fmla="*/ 0 h 110081"/>
              <a:gd name="connsiteX38" fmla="*/ 157421 w 612405"/>
              <a:gd name="connsiteY38" fmla="*/ 5849 h 110081"/>
              <a:gd name="connsiteX39" fmla="*/ 169523 w 612405"/>
              <a:gd name="connsiteY39" fmla="*/ 21842 h 110081"/>
              <a:gd name="connsiteX40" fmla="*/ 173257 w 612405"/>
              <a:gd name="connsiteY40" fmla="*/ 45426 h 110081"/>
              <a:gd name="connsiteX41" fmla="*/ 168626 w 612405"/>
              <a:gd name="connsiteY41" fmla="*/ 80088 h 110081"/>
              <a:gd name="connsiteX42" fmla="*/ 154284 w 612405"/>
              <a:gd name="connsiteY42" fmla="*/ 102303 h 110081"/>
              <a:gd name="connsiteX43" fmla="*/ 129783 w 612405"/>
              <a:gd name="connsiteY43" fmla="*/ 110082 h 110081"/>
              <a:gd name="connsiteX44" fmla="*/ 106776 w 612405"/>
              <a:gd name="connsiteY44" fmla="*/ 104543 h 110081"/>
              <a:gd name="connsiteX45" fmla="*/ 106776 w 612405"/>
              <a:gd name="connsiteY45" fmla="*/ 91413 h 110081"/>
              <a:gd name="connsiteX46" fmla="*/ 129783 w 612405"/>
              <a:gd name="connsiteY46" fmla="*/ 98010 h 110081"/>
              <a:gd name="connsiteX47" fmla="*/ 145320 w 612405"/>
              <a:gd name="connsiteY47" fmla="*/ 92907 h 110081"/>
              <a:gd name="connsiteX48" fmla="*/ 155031 w 612405"/>
              <a:gd name="connsiteY48" fmla="*/ 79154 h 110081"/>
              <a:gd name="connsiteX49" fmla="*/ 159363 w 612405"/>
              <a:gd name="connsiteY49" fmla="*/ 59739 h 110081"/>
              <a:gd name="connsiteX50" fmla="*/ 148308 w 612405"/>
              <a:gd name="connsiteY50" fmla="*/ 68389 h 110081"/>
              <a:gd name="connsiteX51" fmla="*/ 134414 w 612405"/>
              <a:gd name="connsiteY51" fmla="*/ 71127 h 110081"/>
              <a:gd name="connsiteX52" fmla="*/ 117084 w 612405"/>
              <a:gd name="connsiteY52" fmla="*/ 67082 h 110081"/>
              <a:gd name="connsiteX53" fmla="*/ 104684 w 612405"/>
              <a:gd name="connsiteY53" fmla="*/ 55134 h 110081"/>
              <a:gd name="connsiteX54" fmla="*/ 100202 w 612405"/>
              <a:gd name="connsiteY54" fmla="*/ 35844 h 110081"/>
              <a:gd name="connsiteX55" fmla="*/ 136207 w 612405"/>
              <a:gd name="connsiteY55" fmla="*/ 12134 h 110081"/>
              <a:gd name="connsiteX56" fmla="*/ 125450 w 612405"/>
              <a:gd name="connsiteY56" fmla="*/ 14810 h 110081"/>
              <a:gd name="connsiteX57" fmla="*/ 117383 w 612405"/>
              <a:gd name="connsiteY57" fmla="*/ 22589 h 110081"/>
              <a:gd name="connsiteX58" fmla="*/ 114395 w 612405"/>
              <a:gd name="connsiteY58" fmla="*/ 35532 h 110081"/>
              <a:gd name="connsiteX59" fmla="*/ 117383 w 612405"/>
              <a:gd name="connsiteY59" fmla="*/ 48725 h 110081"/>
              <a:gd name="connsiteX60" fmla="*/ 125002 w 612405"/>
              <a:gd name="connsiteY60" fmla="*/ 56752 h 110081"/>
              <a:gd name="connsiteX61" fmla="*/ 134713 w 612405"/>
              <a:gd name="connsiteY61" fmla="*/ 59428 h 110081"/>
              <a:gd name="connsiteX62" fmla="*/ 151147 w 612405"/>
              <a:gd name="connsiteY62" fmla="*/ 53329 h 110081"/>
              <a:gd name="connsiteX63" fmla="*/ 157870 w 612405"/>
              <a:gd name="connsiteY63" fmla="*/ 35283 h 110081"/>
              <a:gd name="connsiteX64" fmla="*/ 152043 w 612405"/>
              <a:gd name="connsiteY64" fmla="*/ 18544 h 110081"/>
              <a:gd name="connsiteX65" fmla="*/ 136207 w 612405"/>
              <a:gd name="connsiteY65" fmla="*/ 12134 h 110081"/>
              <a:gd name="connsiteX66" fmla="*/ 240910 w 612405"/>
              <a:gd name="connsiteY66" fmla="*/ 108588 h 110081"/>
              <a:gd name="connsiteX67" fmla="*/ 227763 w 612405"/>
              <a:gd name="connsiteY67" fmla="*/ 108588 h 110081"/>
              <a:gd name="connsiteX68" fmla="*/ 227763 w 612405"/>
              <a:gd name="connsiteY68" fmla="*/ 83199 h 110081"/>
              <a:gd name="connsiteX69" fmla="*/ 181449 w 612405"/>
              <a:gd name="connsiteY69" fmla="*/ 83199 h 110081"/>
              <a:gd name="connsiteX70" fmla="*/ 181449 w 612405"/>
              <a:gd name="connsiteY70" fmla="*/ 73927 h 110081"/>
              <a:gd name="connsiteX71" fmla="*/ 223281 w 612405"/>
              <a:gd name="connsiteY71" fmla="*/ 1493 h 110081"/>
              <a:gd name="connsiteX72" fmla="*/ 240910 w 612405"/>
              <a:gd name="connsiteY72" fmla="*/ 1493 h 110081"/>
              <a:gd name="connsiteX73" fmla="*/ 240910 w 612405"/>
              <a:gd name="connsiteY73" fmla="*/ 71873 h 110081"/>
              <a:gd name="connsiteX74" fmla="*/ 255401 w 612405"/>
              <a:gd name="connsiteY74" fmla="*/ 71873 h 110081"/>
              <a:gd name="connsiteX75" fmla="*/ 255401 w 612405"/>
              <a:gd name="connsiteY75" fmla="*/ 83199 h 110081"/>
              <a:gd name="connsiteX76" fmla="*/ 240910 w 612405"/>
              <a:gd name="connsiteY76" fmla="*/ 83199 h 110081"/>
              <a:gd name="connsiteX77" fmla="*/ 240910 w 612405"/>
              <a:gd name="connsiteY77" fmla="*/ 108588 h 110081"/>
              <a:gd name="connsiteX78" fmla="*/ 195044 w 612405"/>
              <a:gd name="connsiteY78" fmla="*/ 71873 h 110081"/>
              <a:gd name="connsiteX79" fmla="*/ 227763 w 612405"/>
              <a:gd name="connsiteY79" fmla="*/ 71873 h 110081"/>
              <a:gd name="connsiteX80" fmla="*/ 227763 w 612405"/>
              <a:gd name="connsiteY80" fmla="*/ 16117 h 110081"/>
              <a:gd name="connsiteX81" fmla="*/ 195044 w 612405"/>
              <a:gd name="connsiteY81" fmla="*/ 71873 h 110081"/>
              <a:gd name="connsiteX82" fmla="*/ 272102 w 612405"/>
              <a:gd name="connsiteY82" fmla="*/ 1493 h 110081"/>
              <a:gd name="connsiteX83" fmla="*/ 338435 w 612405"/>
              <a:gd name="connsiteY83" fmla="*/ 1493 h 110081"/>
              <a:gd name="connsiteX84" fmla="*/ 338435 w 612405"/>
              <a:gd name="connsiteY84" fmla="*/ 14374 h 110081"/>
              <a:gd name="connsiteX85" fmla="*/ 286146 w 612405"/>
              <a:gd name="connsiteY85" fmla="*/ 14374 h 110081"/>
              <a:gd name="connsiteX86" fmla="*/ 286146 w 612405"/>
              <a:gd name="connsiteY86" fmla="*/ 46734 h 110081"/>
              <a:gd name="connsiteX87" fmla="*/ 330517 w 612405"/>
              <a:gd name="connsiteY87" fmla="*/ 46734 h 110081"/>
              <a:gd name="connsiteX88" fmla="*/ 330517 w 612405"/>
              <a:gd name="connsiteY88" fmla="*/ 59428 h 110081"/>
              <a:gd name="connsiteX89" fmla="*/ 286146 w 612405"/>
              <a:gd name="connsiteY89" fmla="*/ 59428 h 110081"/>
              <a:gd name="connsiteX90" fmla="*/ 286146 w 612405"/>
              <a:gd name="connsiteY90" fmla="*/ 95893 h 110081"/>
              <a:gd name="connsiteX91" fmla="*/ 339182 w 612405"/>
              <a:gd name="connsiteY91" fmla="*/ 95893 h 110081"/>
              <a:gd name="connsiteX92" fmla="*/ 339182 w 612405"/>
              <a:gd name="connsiteY92" fmla="*/ 108588 h 110081"/>
              <a:gd name="connsiteX93" fmla="*/ 272102 w 612405"/>
              <a:gd name="connsiteY93" fmla="*/ 108588 h 110081"/>
              <a:gd name="connsiteX94" fmla="*/ 272102 w 612405"/>
              <a:gd name="connsiteY94" fmla="*/ 1493 h 110081"/>
              <a:gd name="connsiteX95" fmla="*/ 449238 w 612405"/>
              <a:gd name="connsiteY95" fmla="*/ 108588 h 110081"/>
              <a:gd name="connsiteX96" fmla="*/ 434298 w 612405"/>
              <a:gd name="connsiteY96" fmla="*/ 108588 h 110081"/>
              <a:gd name="connsiteX97" fmla="*/ 423243 w 612405"/>
              <a:gd name="connsiteY97" fmla="*/ 77972 h 110081"/>
              <a:gd name="connsiteX98" fmla="*/ 375884 w 612405"/>
              <a:gd name="connsiteY98" fmla="*/ 77972 h 110081"/>
              <a:gd name="connsiteX99" fmla="*/ 364978 w 612405"/>
              <a:gd name="connsiteY99" fmla="*/ 108588 h 110081"/>
              <a:gd name="connsiteX100" fmla="*/ 351831 w 612405"/>
              <a:gd name="connsiteY100" fmla="*/ 108588 h 110081"/>
              <a:gd name="connsiteX101" fmla="*/ 389927 w 612405"/>
              <a:gd name="connsiteY101" fmla="*/ 1493 h 110081"/>
              <a:gd name="connsiteX102" fmla="*/ 410843 w 612405"/>
              <a:gd name="connsiteY102" fmla="*/ 1493 h 110081"/>
              <a:gd name="connsiteX103" fmla="*/ 449238 w 612405"/>
              <a:gd name="connsiteY103" fmla="*/ 108588 h 110081"/>
              <a:gd name="connsiteX104" fmla="*/ 380515 w 612405"/>
              <a:gd name="connsiteY104" fmla="*/ 65278 h 110081"/>
              <a:gd name="connsiteX105" fmla="*/ 418761 w 612405"/>
              <a:gd name="connsiteY105" fmla="*/ 65278 h 110081"/>
              <a:gd name="connsiteX106" fmla="*/ 399638 w 612405"/>
              <a:gd name="connsiteY106" fmla="*/ 11947 h 110081"/>
              <a:gd name="connsiteX107" fmla="*/ 380515 w 612405"/>
              <a:gd name="connsiteY107" fmla="*/ 65278 h 110081"/>
              <a:gd name="connsiteX108" fmla="*/ 488735 w 612405"/>
              <a:gd name="connsiteY108" fmla="*/ 110082 h 110081"/>
              <a:gd name="connsiteX109" fmla="*/ 460200 w 612405"/>
              <a:gd name="connsiteY109" fmla="*/ 102490 h 110081"/>
              <a:gd name="connsiteX110" fmla="*/ 460200 w 612405"/>
              <a:gd name="connsiteY110" fmla="*/ 87804 h 110081"/>
              <a:gd name="connsiteX111" fmla="*/ 473347 w 612405"/>
              <a:gd name="connsiteY111" fmla="*/ 95458 h 110081"/>
              <a:gd name="connsiteX112" fmla="*/ 488735 w 612405"/>
              <a:gd name="connsiteY112" fmla="*/ 97823 h 110081"/>
              <a:gd name="connsiteX113" fmla="*/ 505766 w 612405"/>
              <a:gd name="connsiteY113" fmla="*/ 91102 h 110081"/>
              <a:gd name="connsiteX114" fmla="*/ 511892 w 612405"/>
              <a:gd name="connsiteY114" fmla="*/ 73491 h 110081"/>
              <a:gd name="connsiteX115" fmla="*/ 505916 w 612405"/>
              <a:gd name="connsiteY115" fmla="*/ 56441 h 110081"/>
              <a:gd name="connsiteX116" fmla="*/ 490827 w 612405"/>
              <a:gd name="connsiteY116" fmla="*/ 51089 h 110081"/>
              <a:gd name="connsiteX117" fmla="*/ 480219 w 612405"/>
              <a:gd name="connsiteY117" fmla="*/ 53329 h 110081"/>
              <a:gd name="connsiteX118" fmla="*/ 474094 w 612405"/>
              <a:gd name="connsiteY118" fmla="*/ 57810 h 110081"/>
              <a:gd name="connsiteX119" fmla="*/ 463188 w 612405"/>
              <a:gd name="connsiteY119" fmla="*/ 57810 h 110081"/>
              <a:gd name="connsiteX120" fmla="*/ 463188 w 612405"/>
              <a:gd name="connsiteY120" fmla="*/ 1493 h 110081"/>
              <a:gd name="connsiteX121" fmla="*/ 521154 w 612405"/>
              <a:gd name="connsiteY121" fmla="*/ 1493 h 110081"/>
              <a:gd name="connsiteX122" fmla="*/ 521154 w 612405"/>
              <a:gd name="connsiteY122" fmla="*/ 14374 h 110081"/>
              <a:gd name="connsiteX123" fmla="*/ 475439 w 612405"/>
              <a:gd name="connsiteY123" fmla="*/ 14374 h 110081"/>
              <a:gd name="connsiteX124" fmla="*/ 475439 w 612405"/>
              <a:gd name="connsiteY124" fmla="*/ 44991 h 110081"/>
              <a:gd name="connsiteX125" fmla="*/ 482759 w 612405"/>
              <a:gd name="connsiteY125" fmla="*/ 41071 h 110081"/>
              <a:gd name="connsiteX126" fmla="*/ 493068 w 612405"/>
              <a:gd name="connsiteY126" fmla="*/ 39266 h 110081"/>
              <a:gd name="connsiteX127" fmla="*/ 509800 w 612405"/>
              <a:gd name="connsiteY127" fmla="*/ 43186 h 110081"/>
              <a:gd name="connsiteX128" fmla="*/ 521602 w 612405"/>
              <a:gd name="connsiteY128" fmla="*/ 54512 h 110081"/>
              <a:gd name="connsiteX129" fmla="*/ 526085 w 612405"/>
              <a:gd name="connsiteY129" fmla="*/ 73181 h 110081"/>
              <a:gd name="connsiteX130" fmla="*/ 521453 w 612405"/>
              <a:gd name="connsiteY130" fmla="*/ 92596 h 110081"/>
              <a:gd name="connsiteX131" fmla="*/ 508605 w 612405"/>
              <a:gd name="connsiteY131" fmla="*/ 105601 h 110081"/>
              <a:gd name="connsiteX132" fmla="*/ 488735 w 612405"/>
              <a:gd name="connsiteY132" fmla="*/ 110082 h 110081"/>
              <a:gd name="connsiteX133" fmla="*/ 546969 w 612405"/>
              <a:gd name="connsiteY133" fmla="*/ 1493 h 110081"/>
              <a:gd name="connsiteX134" fmla="*/ 612405 w 612405"/>
              <a:gd name="connsiteY134" fmla="*/ 1493 h 110081"/>
              <a:gd name="connsiteX135" fmla="*/ 612405 w 612405"/>
              <a:gd name="connsiteY135" fmla="*/ 14374 h 110081"/>
              <a:gd name="connsiteX136" fmla="*/ 561012 w 612405"/>
              <a:gd name="connsiteY136" fmla="*/ 14374 h 110081"/>
              <a:gd name="connsiteX137" fmla="*/ 561012 w 612405"/>
              <a:gd name="connsiteY137" fmla="*/ 49907 h 110081"/>
              <a:gd name="connsiteX138" fmla="*/ 604636 w 612405"/>
              <a:gd name="connsiteY138" fmla="*/ 49907 h 110081"/>
              <a:gd name="connsiteX139" fmla="*/ 604636 w 612405"/>
              <a:gd name="connsiteY139" fmla="*/ 62601 h 110081"/>
              <a:gd name="connsiteX140" fmla="*/ 561012 w 612405"/>
              <a:gd name="connsiteY140" fmla="*/ 62601 h 110081"/>
              <a:gd name="connsiteX141" fmla="*/ 561012 w 612405"/>
              <a:gd name="connsiteY141" fmla="*/ 108588 h 110081"/>
              <a:gd name="connsiteX142" fmla="*/ 546969 w 612405"/>
              <a:gd name="connsiteY142" fmla="*/ 108588 h 110081"/>
              <a:gd name="connsiteX143" fmla="*/ 546969 w 612405"/>
              <a:gd name="connsiteY143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612405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0202" y="35844"/>
                </a:moveTo>
                <a:cubicBezTo>
                  <a:pt x="100202" y="28687"/>
                  <a:pt x="101746" y="22402"/>
                  <a:pt x="104833" y="17051"/>
                </a:cubicBezTo>
                <a:cubicBezTo>
                  <a:pt x="108021" y="11637"/>
                  <a:pt x="112303" y="7467"/>
                  <a:pt x="117682" y="4480"/>
                </a:cubicBezTo>
                <a:cubicBezTo>
                  <a:pt x="123060" y="1493"/>
                  <a:pt x="129086" y="0"/>
                  <a:pt x="135759" y="0"/>
                </a:cubicBezTo>
                <a:cubicBezTo>
                  <a:pt x="144723" y="0"/>
                  <a:pt x="151943" y="1929"/>
                  <a:pt x="157421" y="5849"/>
                </a:cubicBezTo>
                <a:cubicBezTo>
                  <a:pt x="162999" y="9645"/>
                  <a:pt x="167032" y="14934"/>
                  <a:pt x="169523" y="21842"/>
                </a:cubicBezTo>
                <a:cubicBezTo>
                  <a:pt x="172012" y="28563"/>
                  <a:pt x="173257" y="36466"/>
                  <a:pt x="173257" y="45426"/>
                </a:cubicBezTo>
                <a:cubicBezTo>
                  <a:pt x="173257" y="58868"/>
                  <a:pt x="171714" y="70380"/>
                  <a:pt x="168626" y="80088"/>
                </a:cubicBezTo>
                <a:cubicBezTo>
                  <a:pt x="165539" y="89733"/>
                  <a:pt x="160758" y="97138"/>
                  <a:pt x="154284" y="102303"/>
                </a:cubicBezTo>
                <a:cubicBezTo>
                  <a:pt x="147910" y="107468"/>
                  <a:pt x="139743" y="110082"/>
                  <a:pt x="129783" y="110082"/>
                </a:cubicBezTo>
                <a:cubicBezTo>
                  <a:pt x="120819" y="110082"/>
                  <a:pt x="113150" y="108215"/>
                  <a:pt x="106776" y="104543"/>
                </a:cubicBezTo>
                <a:lnTo>
                  <a:pt x="106776" y="91413"/>
                </a:lnTo>
                <a:cubicBezTo>
                  <a:pt x="113548" y="95769"/>
                  <a:pt x="121217" y="98010"/>
                  <a:pt x="129783" y="98010"/>
                </a:cubicBezTo>
                <a:cubicBezTo>
                  <a:pt x="135958" y="98010"/>
                  <a:pt x="141137" y="96267"/>
                  <a:pt x="145320" y="92907"/>
                </a:cubicBezTo>
                <a:cubicBezTo>
                  <a:pt x="149503" y="89546"/>
                  <a:pt x="152740" y="84941"/>
                  <a:pt x="155031" y="79154"/>
                </a:cubicBezTo>
                <a:cubicBezTo>
                  <a:pt x="157421" y="73367"/>
                  <a:pt x="158866" y="66896"/>
                  <a:pt x="159363" y="59739"/>
                </a:cubicBezTo>
                <a:cubicBezTo>
                  <a:pt x="156276" y="63660"/>
                  <a:pt x="152591" y="66522"/>
                  <a:pt x="148308" y="68389"/>
                </a:cubicBezTo>
                <a:cubicBezTo>
                  <a:pt x="144025" y="70193"/>
                  <a:pt x="139394" y="71127"/>
                  <a:pt x="134414" y="71127"/>
                </a:cubicBezTo>
                <a:cubicBezTo>
                  <a:pt x="128040" y="71127"/>
                  <a:pt x="122263" y="69758"/>
                  <a:pt x="117084" y="67082"/>
                </a:cubicBezTo>
                <a:cubicBezTo>
                  <a:pt x="111905" y="64406"/>
                  <a:pt x="107772" y="60424"/>
                  <a:pt x="104684" y="55134"/>
                </a:cubicBezTo>
                <a:cubicBezTo>
                  <a:pt x="101696" y="49845"/>
                  <a:pt x="100202" y="43435"/>
                  <a:pt x="100202" y="35844"/>
                </a:cubicBezTo>
                <a:close/>
                <a:moveTo>
                  <a:pt x="136207" y="12134"/>
                </a:moveTo>
                <a:cubicBezTo>
                  <a:pt x="132422" y="12134"/>
                  <a:pt x="128837" y="13006"/>
                  <a:pt x="125450" y="14810"/>
                </a:cubicBezTo>
                <a:cubicBezTo>
                  <a:pt x="122164" y="16490"/>
                  <a:pt x="119474" y="19104"/>
                  <a:pt x="117383" y="22589"/>
                </a:cubicBezTo>
                <a:cubicBezTo>
                  <a:pt x="115391" y="25949"/>
                  <a:pt x="114395" y="30305"/>
                  <a:pt x="114395" y="35532"/>
                </a:cubicBezTo>
                <a:cubicBezTo>
                  <a:pt x="114395" y="40759"/>
                  <a:pt x="115391" y="45116"/>
                  <a:pt x="117383" y="48725"/>
                </a:cubicBezTo>
                <a:cubicBezTo>
                  <a:pt x="119375" y="52271"/>
                  <a:pt x="121915" y="54947"/>
                  <a:pt x="125002" y="56752"/>
                </a:cubicBezTo>
                <a:cubicBezTo>
                  <a:pt x="128090" y="58556"/>
                  <a:pt x="131327" y="59428"/>
                  <a:pt x="134713" y="59428"/>
                </a:cubicBezTo>
                <a:cubicBezTo>
                  <a:pt x="141286" y="59428"/>
                  <a:pt x="146764" y="57437"/>
                  <a:pt x="151147" y="53329"/>
                </a:cubicBezTo>
                <a:cubicBezTo>
                  <a:pt x="155628" y="49160"/>
                  <a:pt x="157870" y="43124"/>
                  <a:pt x="157870" y="35283"/>
                </a:cubicBezTo>
                <a:cubicBezTo>
                  <a:pt x="157870" y="28313"/>
                  <a:pt x="155927" y="22713"/>
                  <a:pt x="152043" y="18544"/>
                </a:cubicBezTo>
                <a:cubicBezTo>
                  <a:pt x="148159" y="14250"/>
                  <a:pt x="142880" y="12134"/>
                  <a:pt x="136207" y="12134"/>
                </a:cubicBezTo>
                <a:close/>
                <a:moveTo>
                  <a:pt x="240910" y="108588"/>
                </a:moveTo>
                <a:lnTo>
                  <a:pt x="227763" y="108588"/>
                </a:lnTo>
                <a:lnTo>
                  <a:pt x="227763" y="83199"/>
                </a:lnTo>
                <a:lnTo>
                  <a:pt x="181449" y="83199"/>
                </a:lnTo>
                <a:lnTo>
                  <a:pt x="181449" y="73927"/>
                </a:lnTo>
                <a:lnTo>
                  <a:pt x="223281" y="1493"/>
                </a:lnTo>
                <a:lnTo>
                  <a:pt x="240910" y="1493"/>
                </a:lnTo>
                <a:lnTo>
                  <a:pt x="240910" y="71873"/>
                </a:lnTo>
                <a:lnTo>
                  <a:pt x="255401" y="71873"/>
                </a:lnTo>
                <a:lnTo>
                  <a:pt x="255401" y="83199"/>
                </a:lnTo>
                <a:lnTo>
                  <a:pt x="240910" y="83199"/>
                </a:lnTo>
                <a:lnTo>
                  <a:pt x="240910" y="108588"/>
                </a:lnTo>
                <a:close/>
                <a:moveTo>
                  <a:pt x="195044" y="71873"/>
                </a:moveTo>
                <a:lnTo>
                  <a:pt x="227763" y="71873"/>
                </a:lnTo>
                <a:lnTo>
                  <a:pt x="227763" y="16117"/>
                </a:lnTo>
                <a:lnTo>
                  <a:pt x="195044" y="71873"/>
                </a:lnTo>
                <a:close/>
                <a:moveTo>
                  <a:pt x="272102" y="1493"/>
                </a:moveTo>
                <a:lnTo>
                  <a:pt x="338435" y="1493"/>
                </a:lnTo>
                <a:lnTo>
                  <a:pt x="338435" y="14374"/>
                </a:lnTo>
                <a:lnTo>
                  <a:pt x="286146" y="14374"/>
                </a:lnTo>
                <a:lnTo>
                  <a:pt x="286146" y="46734"/>
                </a:lnTo>
                <a:lnTo>
                  <a:pt x="330517" y="46734"/>
                </a:lnTo>
                <a:lnTo>
                  <a:pt x="330517" y="59428"/>
                </a:lnTo>
                <a:lnTo>
                  <a:pt x="286146" y="59428"/>
                </a:lnTo>
                <a:lnTo>
                  <a:pt x="286146" y="95893"/>
                </a:lnTo>
                <a:lnTo>
                  <a:pt x="339182" y="95893"/>
                </a:lnTo>
                <a:lnTo>
                  <a:pt x="339182" y="108588"/>
                </a:lnTo>
                <a:lnTo>
                  <a:pt x="272102" y="108588"/>
                </a:lnTo>
                <a:lnTo>
                  <a:pt x="272102" y="1493"/>
                </a:lnTo>
                <a:close/>
                <a:moveTo>
                  <a:pt x="449238" y="108588"/>
                </a:moveTo>
                <a:lnTo>
                  <a:pt x="434298" y="108588"/>
                </a:lnTo>
                <a:lnTo>
                  <a:pt x="423243" y="77972"/>
                </a:lnTo>
                <a:lnTo>
                  <a:pt x="375884" y="77972"/>
                </a:lnTo>
                <a:lnTo>
                  <a:pt x="364978" y="108588"/>
                </a:lnTo>
                <a:lnTo>
                  <a:pt x="351831" y="108588"/>
                </a:lnTo>
                <a:lnTo>
                  <a:pt x="389927" y="1493"/>
                </a:lnTo>
                <a:lnTo>
                  <a:pt x="410843" y="1493"/>
                </a:lnTo>
                <a:lnTo>
                  <a:pt x="449238" y="108588"/>
                </a:lnTo>
                <a:close/>
                <a:moveTo>
                  <a:pt x="380515" y="65278"/>
                </a:moveTo>
                <a:lnTo>
                  <a:pt x="418761" y="65278"/>
                </a:lnTo>
                <a:lnTo>
                  <a:pt x="399638" y="11947"/>
                </a:lnTo>
                <a:lnTo>
                  <a:pt x="380515" y="65278"/>
                </a:lnTo>
                <a:close/>
                <a:moveTo>
                  <a:pt x="488735" y="110082"/>
                </a:moveTo>
                <a:cubicBezTo>
                  <a:pt x="476783" y="110082"/>
                  <a:pt x="467272" y="107530"/>
                  <a:pt x="460200" y="102490"/>
                </a:cubicBezTo>
                <a:lnTo>
                  <a:pt x="460200" y="87804"/>
                </a:lnTo>
                <a:cubicBezTo>
                  <a:pt x="464383" y="91226"/>
                  <a:pt x="468766" y="93778"/>
                  <a:pt x="473347" y="95458"/>
                </a:cubicBezTo>
                <a:cubicBezTo>
                  <a:pt x="477929" y="97014"/>
                  <a:pt x="483058" y="97823"/>
                  <a:pt x="488735" y="97823"/>
                </a:cubicBezTo>
                <a:cubicBezTo>
                  <a:pt x="496105" y="97823"/>
                  <a:pt x="501783" y="95583"/>
                  <a:pt x="505766" y="91102"/>
                </a:cubicBezTo>
                <a:cubicBezTo>
                  <a:pt x="509850" y="86621"/>
                  <a:pt x="511892" y="80772"/>
                  <a:pt x="511892" y="73491"/>
                </a:cubicBezTo>
                <a:cubicBezTo>
                  <a:pt x="511892" y="65713"/>
                  <a:pt x="509900" y="60050"/>
                  <a:pt x="505916" y="56441"/>
                </a:cubicBezTo>
                <a:cubicBezTo>
                  <a:pt x="501932" y="52894"/>
                  <a:pt x="496902" y="51089"/>
                  <a:pt x="490827" y="51089"/>
                </a:cubicBezTo>
                <a:cubicBezTo>
                  <a:pt x="486444" y="51089"/>
                  <a:pt x="482908" y="51836"/>
                  <a:pt x="480219" y="53329"/>
                </a:cubicBezTo>
                <a:cubicBezTo>
                  <a:pt x="477530" y="54698"/>
                  <a:pt x="475489" y="56192"/>
                  <a:pt x="474094" y="57810"/>
                </a:cubicBezTo>
                <a:lnTo>
                  <a:pt x="463188" y="57810"/>
                </a:lnTo>
                <a:lnTo>
                  <a:pt x="463188" y="1493"/>
                </a:lnTo>
                <a:lnTo>
                  <a:pt x="521154" y="1493"/>
                </a:lnTo>
                <a:lnTo>
                  <a:pt x="521154" y="14374"/>
                </a:lnTo>
                <a:lnTo>
                  <a:pt x="475439" y="14374"/>
                </a:lnTo>
                <a:lnTo>
                  <a:pt x="475439" y="44991"/>
                </a:lnTo>
                <a:cubicBezTo>
                  <a:pt x="477431" y="43498"/>
                  <a:pt x="479871" y="42190"/>
                  <a:pt x="482759" y="41071"/>
                </a:cubicBezTo>
                <a:cubicBezTo>
                  <a:pt x="485647" y="39888"/>
                  <a:pt x="489084" y="39266"/>
                  <a:pt x="493068" y="39266"/>
                </a:cubicBezTo>
                <a:cubicBezTo>
                  <a:pt x="499243" y="39266"/>
                  <a:pt x="504820" y="40572"/>
                  <a:pt x="509800" y="43186"/>
                </a:cubicBezTo>
                <a:cubicBezTo>
                  <a:pt x="514780" y="45675"/>
                  <a:pt x="518714" y="49471"/>
                  <a:pt x="521602" y="54512"/>
                </a:cubicBezTo>
                <a:cubicBezTo>
                  <a:pt x="524591" y="59490"/>
                  <a:pt x="526085" y="65713"/>
                  <a:pt x="526085" y="73181"/>
                </a:cubicBezTo>
                <a:cubicBezTo>
                  <a:pt x="526085" y="80586"/>
                  <a:pt x="524541" y="87058"/>
                  <a:pt x="521453" y="92596"/>
                </a:cubicBezTo>
                <a:cubicBezTo>
                  <a:pt x="518465" y="98196"/>
                  <a:pt x="514183" y="102490"/>
                  <a:pt x="508605" y="105601"/>
                </a:cubicBezTo>
                <a:cubicBezTo>
                  <a:pt x="503027" y="108588"/>
                  <a:pt x="496404" y="110082"/>
                  <a:pt x="488735" y="110082"/>
                </a:cubicBezTo>
                <a:close/>
                <a:moveTo>
                  <a:pt x="546969" y="1493"/>
                </a:moveTo>
                <a:lnTo>
                  <a:pt x="612405" y="1493"/>
                </a:lnTo>
                <a:lnTo>
                  <a:pt x="612405" y="14374"/>
                </a:lnTo>
                <a:lnTo>
                  <a:pt x="561012" y="14374"/>
                </a:lnTo>
                <a:lnTo>
                  <a:pt x="561012" y="49907"/>
                </a:lnTo>
                <a:lnTo>
                  <a:pt x="604636" y="49907"/>
                </a:lnTo>
                <a:lnTo>
                  <a:pt x="604636" y="62601"/>
                </a:lnTo>
                <a:lnTo>
                  <a:pt x="561012" y="62601"/>
                </a:lnTo>
                <a:lnTo>
                  <a:pt x="561012" y="108588"/>
                </a:lnTo>
                <a:lnTo>
                  <a:pt x="546969" y="108588"/>
                </a:lnTo>
                <a:lnTo>
                  <a:pt x="546969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1" name="Полилиния 1030">
            <a:extLst>
              <a:ext uri="{FF2B5EF4-FFF2-40B4-BE49-F238E27FC236}">
                <a16:creationId xmlns:a16="http://schemas.microsoft.com/office/drawing/2014/main" id="{E0EDB722-C464-3497-2A3B-FC368AF556B7}"/>
              </a:ext>
            </a:extLst>
          </p:cNvPr>
          <p:cNvSpPr/>
          <p:nvPr userDrawn="1"/>
        </p:nvSpPr>
        <p:spPr>
          <a:xfrm>
            <a:off x="15359119" y="7418752"/>
            <a:ext cx="1398954" cy="726227"/>
          </a:xfrm>
          <a:custGeom>
            <a:avLst/>
            <a:gdLst>
              <a:gd name="connsiteX0" fmla="*/ 425 w 1198727"/>
              <a:gd name="connsiteY0" fmla="*/ 1522 h 622284"/>
              <a:gd name="connsiteX1" fmla="*/ 1199153 w 1198727"/>
              <a:gd name="connsiteY1" fmla="*/ 1522 h 622284"/>
              <a:gd name="connsiteX2" fmla="*/ 1199153 w 1198727"/>
              <a:gd name="connsiteY2" fmla="*/ 623806 h 622284"/>
              <a:gd name="connsiteX3" fmla="*/ 425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522"/>
                </a:moveTo>
                <a:lnTo>
                  <a:pt x="1199153" y="1522"/>
                </a:lnTo>
                <a:lnTo>
                  <a:pt x="1199153" y="623806"/>
                </a:lnTo>
                <a:lnTo>
                  <a:pt x="425" y="623806"/>
                </a:lnTo>
                <a:close/>
              </a:path>
            </a:pathLst>
          </a:custGeom>
          <a:solidFill>
            <a:srgbClr val="A2FF6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2" name="Полилиния 1031">
            <a:extLst>
              <a:ext uri="{FF2B5EF4-FFF2-40B4-BE49-F238E27FC236}">
                <a16:creationId xmlns:a16="http://schemas.microsoft.com/office/drawing/2014/main" id="{97492615-5F09-3AD6-D0F3-39ECB450860C}"/>
              </a:ext>
            </a:extLst>
          </p:cNvPr>
          <p:cNvSpPr/>
          <p:nvPr userDrawn="1"/>
        </p:nvSpPr>
        <p:spPr>
          <a:xfrm>
            <a:off x="15482328" y="7720500"/>
            <a:ext cx="703050" cy="128468"/>
          </a:xfrm>
          <a:custGeom>
            <a:avLst/>
            <a:gdLst>
              <a:gd name="connsiteX0" fmla="*/ 22111 w 602426"/>
              <a:gd name="connsiteY0" fmla="*/ 108588 h 110081"/>
              <a:gd name="connsiteX1" fmla="*/ 10159 w 602426"/>
              <a:gd name="connsiteY1" fmla="*/ 108588 h 110081"/>
              <a:gd name="connsiteX2" fmla="*/ 16434 w 602426"/>
              <a:gd name="connsiteY2" fmla="*/ 77661 h 110081"/>
              <a:gd name="connsiteX3" fmla="*/ 0 w 602426"/>
              <a:gd name="connsiteY3" fmla="*/ 77661 h 110081"/>
              <a:gd name="connsiteX4" fmla="*/ 0 w 602426"/>
              <a:gd name="connsiteY4" fmla="*/ 67206 h 110081"/>
              <a:gd name="connsiteX5" fmla="*/ 18675 w 602426"/>
              <a:gd name="connsiteY5" fmla="*/ 67206 h 110081"/>
              <a:gd name="connsiteX6" fmla="*/ 24202 w 602426"/>
              <a:gd name="connsiteY6" fmla="*/ 40012 h 110081"/>
              <a:gd name="connsiteX7" fmla="*/ 4034 w 602426"/>
              <a:gd name="connsiteY7" fmla="*/ 40012 h 110081"/>
              <a:gd name="connsiteX8" fmla="*/ 4034 w 602426"/>
              <a:gd name="connsiteY8" fmla="*/ 29559 h 110081"/>
              <a:gd name="connsiteX9" fmla="*/ 26294 w 602426"/>
              <a:gd name="connsiteY9" fmla="*/ 29559 h 110081"/>
              <a:gd name="connsiteX10" fmla="*/ 32120 w 602426"/>
              <a:gd name="connsiteY10" fmla="*/ 1493 h 110081"/>
              <a:gd name="connsiteX11" fmla="*/ 44072 w 602426"/>
              <a:gd name="connsiteY11" fmla="*/ 1493 h 110081"/>
              <a:gd name="connsiteX12" fmla="*/ 38246 w 602426"/>
              <a:gd name="connsiteY12" fmla="*/ 29559 h 110081"/>
              <a:gd name="connsiteX13" fmla="*/ 60655 w 602426"/>
              <a:gd name="connsiteY13" fmla="*/ 29559 h 110081"/>
              <a:gd name="connsiteX14" fmla="*/ 66482 w 602426"/>
              <a:gd name="connsiteY14" fmla="*/ 1493 h 110081"/>
              <a:gd name="connsiteX15" fmla="*/ 78434 w 602426"/>
              <a:gd name="connsiteY15" fmla="*/ 1493 h 110081"/>
              <a:gd name="connsiteX16" fmla="*/ 72607 w 602426"/>
              <a:gd name="connsiteY16" fmla="*/ 29559 h 110081"/>
              <a:gd name="connsiteX17" fmla="*/ 89340 w 602426"/>
              <a:gd name="connsiteY17" fmla="*/ 29559 h 110081"/>
              <a:gd name="connsiteX18" fmla="*/ 89340 w 602426"/>
              <a:gd name="connsiteY18" fmla="*/ 40012 h 110081"/>
              <a:gd name="connsiteX19" fmla="*/ 70515 w 602426"/>
              <a:gd name="connsiteY19" fmla="*/ 40012 h 110081"/>
              <a:gd name="connsiteX20" fmla="*/ 64988 w 602426"/>
              <a:gd name="connsiteY20" fmla="*/ 67206 h 110081"/>
              <a:gd name="connsiteX21" fmla="*/ 85306 w 602426"/>
              <a:gd name="connsiteY21" fmla="*/ 67206 h 110081"/>
              <a:gd name="connsiteX22" fmla="*/ 85306 w 602426"/>
              <a:gd name="connsiteY22" fmla="*/ 77661 h 110081"/>
              <a:gd name="connsiteX23" fmla="*/ 62747 w 602426"/>
              <a:gd name="connsiteY23" fmla="*/ 77661 h 110081"/>
              <a:gd name="connsiteX24" fmla="*/ 56472 w 602426"/>
              <a:gd name="connsiteY24" fmla="*/ 108588 h 110081"/>
              <a:gd name="connsiteX25" fmla="*/ 44520 w 602426"/>
              <a:gd name="connsiteY25" fmla="*/ 108588 h 110081"/>
              <a:gd name="connsiteX26" fmla="*/ 50795 w 602426"/>
              <a:gd name="connsiteY26" fmla="*/ 77661 h 110081"/>
              <a:gd name="connsiteX27" fmla="*/ 28386 w 602426"/>
              <a:gd name="connsiteY27" fmla="*/ 77661 h 110081"/>
              <a:gd name="connsiteX28" fmla="*/ 22111 w 602426"/>
              <a:gd name="connsiteY28" fmla="*/ 108588 h 110081"/>
              <a:gd name="connsiteX29" fmla="*/ 30626 w 602426"/>
              <a:gd name="connsiteY29" fmla="*/ 67206 h 110081"/>
              <a:gd name="connsiteX30" fmla="*/ 53036 w 602426"/>
              <a:gd name="connsiteY30" fmla="*/ 67206 h 110081"/>
              <a:gd name="connsiteX31" fmla="*/ 58564 w 602426"/>
              <a:gd name="connsiteY31" fmla="*/ 40012 h 110081"/>
              <a:gd name="connsiteX32" fmla="*/ 36154 w 602426"/>
              <a:gd name="connsiteY32" fmla="*/ 40012 h 110081"/>
              <a:gd name="connsiteX33" fmla="*/ 30626 w 602426"/>
              <a:gd name="connsiteY33" fmla="*/ 67206 h 110081"/>
              <a:gd name="connsiteX34" fmla="*/ 189685 w 602426"/>
              <a:gd name="connsiteY34" fmla="*/ 108588 h 110081"/>
              <a:gd name="connsiteX35" fmla="*/ 174745 w 602426"/>
              <a:gd name="connsiteY35" fmla="*/ 108588 h 110081"/>
              <a:gd name="connsiteX36" fmla="*/ 163690 w 602426"/>
              <a:gd name="connsiteY36" fmla="*/ 77972 h 110081"/>
              <a:gd name="connsiteX37" fmla="*/ 116331 w 602426"/>
              <a:gd name="connsiteY37" fmla="*/ 77972 h 110081"/>
              <a:gd name="connsiteX38" fmla="*/ 105425 w 602426"/>
              <a:gd name="connsiteY38" fmla="*/ 108588 h 110081"/>
              <a:gd name="connsiteX39" fmla="*/ 92278 w 602426"/>
              <a:gd name="connsiteY39" fmla="*/ 108588 h 110081"/>
              <a:gd name="connsiteX40" fmla="*/ 130374 w 602426"/>
              <a:gd name="connsiteY40" fmla="*/ 1493 h 110081"/>
              <a:gd name="connsiteX41" fmla="*/ 151290 w 602426"/>
              <a:gd name="connsiteY41" fmla="*/ 1493 h 110081"/>
              <a:gd name="connsiteX42" fmla="*/ 189685 w 602426"/>
              <a:gd name="connsiteY42" fmla="*/ 108588 h 110081"/>
              <a:gd name="connsiteX43" fmla="*/ 120962 w 602426"/>
              <a:gd name="connsiteY43" fmla="*/ 65278 h 110081"/>
              <a:gd name="connsiteX44" fmla="*/ 159208 w 602426"/>
              <a:gd name="connsiteY44" fmla="*/ 65278 h 110081"/>
              <a:gd name="connsiteX45" fmla="*/ 140085 w 602426"/>
              <a:gd name="connsiteY45" fmla="*/ 11947 h 110081"/>
              <a:gd name="connsiteX46" fmla="*/ 120962 w 602426"/>
              <a:gd name="connsiteY46" fmla="*/ 65278 h 110081"/>
              <a:gd name="connsiteX47" fmla="*/ 268330 w 602426"/>
              <a:gd name="connsiteY47" fmla="*/ 108588 h 110081"/>
              <a:gd name="connsiteX48" fmla="*/ 200056 w 602426"/>
              <a:gd name="connsiteY48" fmla="*/ 108588 h 110081"/>
              <a:gd name="connsiteX49" fmla="*/ 200056 w 602426"/>
              <a:gd name="connsiteY49" fmla="*/ 94400 h 110081"/>
              <a:gd name="connsiteX50" fmla="*/ 226200 w 602426"/>
              <a:gd name="connsiteY50" fmla="*/ 72433 h 110081"/>
              <a:gd name="connsiteX51" fmla="*/ 242186 w 602426"/>
              <a:gd name="connsiteY51" fmla="*/ 56628 h 110081"/>
              <a:gd name="connsiteX52" fmla="*/ 250253 w 602426"/>
              <a:gd name="connsiteY52" fmla="*/ 43933 h 110081"/>
              <a:gd name="connsiteX53" fmla="*/ 252644 w 602426"/>
              <a:gd name="connsiteY53" fmla="*/ 32109 h 110081"/>
              <a:gd name="connsiteX54" fmla="*/ 247116 w 602426"/>
              <a:gd name="connsiteY54" fmla="*/ 17610 h 110081"/>
              <a:gd name="connsiteX55" fmla="*/ 231877 w 602426"/>
              <a:gd name="connsiteY55" fmla="*/ 12383 h 110081"/>
              <a:gd name="connsiteX56" fmla="*/ 202894 w 602426"/>
              <a:gd name="connsiteY56" fmla="*/ 27194 h 110081"/>
              <a:gd name="connsiteX57" fmla="*/ 202894 w 602426"/>
              <a:gd name="connsiteY57" fmla="*/ 12134 h 110081"/>
              <a:gd name="connsiteX58" fmla="*/ 232325 w 602426"/>
              <a:gd name="connsiteY58" fmla="*/ 0 h 110081"/>
              <a:gd name="connsiteX59" fmla="*/ 257723 w 602426"/>
              <a:gd name="connsiteY59" fmla="*/ 8401 h 110081"/>
              <a:gd name="connsiteX60" fmla="*/ 267135 w 602426"/>
              <a:gd name="connsiteY60" fmla="*/ 30803 h 110081"/>
              <a:gd name="connsiteX61" fmla="*/ 264745 w 602426"/>
              <a:gd name="connsiteY61" fmla="*/ 44804 h 110081"/>
              <a:gd name="connsiteX62" fmla="*/ 256677 w 602426"/>
              <a:gd name="connsiteY62" fmla="*/ 58681 h 110081"/>
              <a:gd name="connsiteX63" fmla="*/ 240991 w 602426"/>
              <a:gd name="connsiteY63" fmla="*/ 74860 h 110081"/>
              <a:gd name="connsiteX64" fmla="*/ 215593 w 602426"/>
              <a:gd name="connsiteY64" fmla="*/ 95769 h 110081"/>
              <a:gd name="connsiteX65" fmla="*/ 268330 w 602426"/>
              <a:gd name="connsiteY65" fmla="*/ 95769 h 110081"/>
              <a:gd name="connsiteX66" fmla="*/ 268330 w 602426"/>
              <a:gd name="connsiteY66" fmla="*/ 108588 h 110081"/>
              <a:gd name="connsiteX67" fmla="*/ 287422 w 602426"/>
              <a:gd name="connsiteY67" fmla="*/ 1493 h 110081"/>
              <a:gd name="connsiteX68" fmla="*/ 352858 w 602426"/>
              <a:gd name="connsiteY68" fmla="*/ 1493 h 110081"/>
              <a:gd name="connsiteX69" fmla="*/ 352858 w 602426"/>
              <a:gd name="connsiteY69" fmla="*/ 14374 h 110081"/>
              <a:gd name="connsiteX70" fmla="*/ 301465 w 602426"/>
              <a:gd name="connsiteY70" fmla="*/ 14374 h 110081"/>
              <a:gd name="connsiteX71" fmla="*/ 301465 w 602426"/>
              <a:gd name="connsiteY71" fmla="*/ 49907 h 110081"/>
              <a:gd name="connsiteX72" fmla="*/ 345089 w 602426"/>
              <a:gd name="connsiteY72" fmla="*/ 49907 h 110081"/>
              <a:gd name="connsiteX73" fmla="*/ 345089 w 602426"/>
              <a:gd name="connsiteY73" fmla="*/ 62601 h 110081"/>
              <a:gd name="connsiteX74" fmla="*/ 301465 w 602426"/>
              <a:gd name="connsiteY74" fmla="*/ 62601 h 110081"/>
              <a:gd name="connsiteX75" fmla="*/ 301465 w 602426"/>
              <a:gd name="connsiteY75" fmla="*/ 108588 h 110081"/>
              <a:gd name="connsiteX76" fmla="*/ 287422 w 602426"/>
              <a:gd name="connsiteY76" fmla="*/ 108588 h 110081"/>
              <a:gd name="connsiteX77" fmla="*/ 287422 w 602426"/>
              <a:gd name="connsiteY77" fmla="*/ 1493 h 110081"/>
              <a:gd name="connsiteX78" fmla="*/ 372330 w 602426"/>
              <a:gd name="connsiteY78" fmla="*/ 1493 h 110081"/>
              <a:gd name="connsiteX79" fmla="*/ 437766 w 602426"/>
              <a:gd name="connsiteY79" fmla="*/ 1493 h 110081"/>
              <a:gd name="connsiteX80" fmla="*/ 437766 w 602426"/>
              <a:gd name="connsiteY80" fmla="*/ 14374 h 110081"/>
              <a:gd name="connsiteX81" fmla="*/ 386373 w 602426"/>
              <a:gd name="connsiteY81" fmla="*/ 14374 h 110081"/>
              <a:gd name="connsiteX82" fmla="*/ 386373 w 602426"/>
              <a:gd name="connsiteY82" fmla="*/ 49907 h 110081"/>
              <a:gd name="connsiteX83" fmla="*/ 429997 w 602426"/>
              <a:gd name="connsiteY83" fmla="*/ 49907 h 110081"/>
              <a:gd name="connsiteX84" fmla="*/ 429997 w 602426"/>
              <a:gd name="connsiteY84" fmla="*/ 62601 h 110081"/>
              <a:gd name="connsiteX85" fmla="*/ 386373 w 602426"/>
              <a:gd name="connsiteY85" fmla="*/ 62601 h 110081"/>
              <a:gd name="connsiteX86" fmla="*/ 386373 w 602426"/>
              <a:gd name="connsiteY86" fmla="*/ 108588 h 110081"/>
              <a:gd name="connsiteX87" fmla="*/ 372330 w 602426"/>
              <a:gd name="connsiteY87" fmla="*/ 108588 h 110081"/>
              <a:gd name="connsiteX88" fmla="*/ 372330 w 602426"/>
              <a:gd name="connsiteY88" fmla="*/ 1493 h 110081"/>
              <a:gd name="connsiteX89" fmla="*/ 522680 w 602426"/>
              <a:gd name="connsiteY89" fmla="*/ 73491 h 110081"/>
              <a:gd name="connsiteX90" fmla="*/ 517899 w 602426"/>
              <a:gd name="connsiteY90" fmla="*/ 92782 h 110081"/>
              <a:gd name="connsiteX91" fmla="*/ 505200 w 602426"/>
              <a:gd name="connsiteY91" fmla="*/ 105601 h 110081"/>
              <a:gd name="connsiteX92" fmla="*/ 487123 w 602426"/>
              <a:gd name="connsiteY92" fmla="*/ 110082 h 110081"/>
              <a:gd name="connsiteX93" fmla="*/ 465460 w 602426"/>
              <a:gd name="connsiteY93" fmla="*/ 104108 h 110081"/>
              <a:gd name="connsiteX94" fmla="*/ 453359 w 602426"/>
              <a:gd name="connsiteY94" fmla="*/ 87555 h 110081"/>
              <a:gd name="connsiteX95" fmla="*/ 449624 w 602426"/>
              <a:gd name="connsiteY95" fmla="*/ 63161 h 110081"/>
              <a:gd name="connsiteX96" fmla="*/ 454106 w 602426"/>
              <a:gd name="connsiteY96" fmla="*/ 30181 h 110081"/>
              <a:gd name="connsiteX97" fmla="*/ 468149 w 602426"/>
              <a:gd name="connsiteY97" fmla="*/ 8089 h 110081"/>
              <a:gd name="connsiteX98" fmla="*/ 492650 w 602426"/>
              <a:gd name="connsiteY98" fmla="*/ 0 h 110081"/>
              <a:gd name="connsiteX99" fmla="*/ 515210 w 602426"/>
              <a:gd name="connsiteY99" fmla="*/ 5538 h 110081"/>
              <a:gd name="connsiteX100" fmla="*/ 515210 w 602426"/>
              <a:gd name="connsiteY100" fmla="*/ 18855 h 110081"/>
              <a:gd name="connsiteX101" fmla="*/ 492650 w 602426"/>
              <a:gd name="connsiteY101" fmla="*/ 12259 h 110081"/>
              <a:gd name="connsiteX102" fmla="*/ 477113 w 602426"/>
              <a:gd name="connsiteY102" fmla="*/ 17361 h 110081"/>
              <a:gd name="connsiteX103" fmla="*/ 467253 w 602426"/>
              <a:gd name="connsiteY103" fmla="*/ 31238 h 110081"/>
              <a:gd name="connsiteX104" fmla="*/ 463070 w 602426"/>
              <a:gd name="connsiteY104" fmla="*/ 50778 h 110081"/>
              <a:gd name="connsiteX105" fmla="*/ 474424 w 602426"/>
              <a:gd name="connsiteY105" fmla="*/ 40759 h 110081"/>
              <a:gd name="connsiteX106" fmla="*/ 488467 w 602426"/>
              <a:gd name="connsiteY106" fmla="*/ 37523 h 110081"/>
              <a:gd name="connsiteX107" fmla="*/ 505797 w 602426"/>
              <a:gd name="connsiteY107" fmla="*/ 41693 h 110081"/>
              <a:gd name="connsiteX108" fmla="*/ 518048 w 602426"/>
              <a:gd name="connsiteY108" fmla="*/ 53952 h 110081"/>
              <a:gd name="connsiteX109" fmla="*/ 522680 w 602426"/>
              <a:gd name="connsiteY109" fmla="*/ 73491 h 110081"/>
              <a:gd name="connsiteX110" fmla="*/ 486675 w 602426"/>
              <a:gd name="connsiteY110" fmla="*/ 98134 h 110081"/>
              <a:gd name="connsiteX111" fmla="*/ 497431 w 602426"/>
              <a:gd name="connsiteY111" fmla="*/ 95458 h 110081"/>
              <a:gd name="connsiteX112" fmla="*/ 505349 w 602426"/>
              <a:gd name="connsiteY112" fmla="*/ 87244 h 110081"/>
              <a:gd name="connsiteX113" fmla="*/ 508487 w 602426"/>
              <a:gd name="connsiteY113" fmla="*/ 73803 h 110081"/>
              <a:gd name="connsiteX114" fmla="*/ 505499 w 602426"/>
              <a:gd name="connsiteY114" fmla="*/ 60174 h 110081"/>
              <a:gd name="connsiteX115" fmla="*/ 497880 w 602426"/>
              <a:gd name="connsiteY115" fmla="*/ 51961 h 110081"/>
              <a:gd name="connsiteX116" fmla="*/ 488169 w 602426"/>
              <a:gd name="connsiteY116" fmla="*/ 49160 h 110081"/>
              <a:gd name="connsiteX117" fmla="*/ 471586 w 602426"/>
              <a:gd name="connsiteY117" fmla="*/ 55570 h 110081"/>
              <a:gd name="connsiteX118" fmla="*/ 465012 w 602426"/>
              <a:gd name="connsiteY118" fmla="*/ 74114 h 110081"/>
              <a:gd name="connsiteX119" fmla="*/ 470839 w 602426"/>
              <a:gd name="connsiteY119" fmla="*/ 91538 h 110081"/>
              <a:gd name="connsiteX120" fmla="*/ 486675 w 602426"/>
              <a:gd name="connsiteY120" fmla="*/ 98134 h 110081"/>
              <a:gd name="connsiteX121" fmla="*/ 602427 w 602426"/>
              <a:gd name="connsiteY121" fmla="*/ 13628 h 110081"/>
              <a:gd name="connsiteX122" fmla="*/ 557010 w 602426"/>
              <a:gd name="connsiteY122" fmla="*/ 108588 h 110081"/>
              <a:gd name="connsiteX123" fmla="*/ 542369 w 602426"/>
              <a:gd name="connsiteY123" fmla="*/ 108588 h 110081"/>
              <a:gd name="connsiteX124" fmla="*/ 588084 w 602426"/>
              <a:gd name="connsiteY124" fmla="*/ 14374 h 110081"/>
              <a:gd name="connsiteX125" fmla="*/ 533555 w 602426"/>
              <a:gd name="connsiteY125" fmla="*/ 14374 h 110081"/>
              <a:gd name="connsiteX126" fmla="*/ 533555 w 602426"/>
              <a:gd name="connsiteY126" fmla="*/ 1493 h 110081"/>
              <a:gd name="connsiteX127" fmla="*/ 602427 w 602426"/>
              <a:gd name="connsiteY127" fmla="*/ 1493 h 110081"/>
              <a:gd name="connsiteX128" fmla="*/ 602427 w 602426"/>
              <a:gd name="connsiteY128" fmla="*/ 1362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</a:cxnLst>
            <a:rect l="l" t="t" r="r" b="b"/>
            <a:pathLst>
              <a:path w="60242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89685" y="108588"/>
                </a:moveTo>
                <a:lnTo>
                  <a:pt x="174745" y="108588"/>
                </a:lnTo>
                <a:lnTo>
                  <a:pt x="163690" y="77972"/>
                </a:lnTo>
                <a:lnTo>
                  <a:pt x="116331" y="77972"/>
                </a:lnTo>
                <a:lnTo>
                  <a:pt x="105425" y="108588"/>
                </a:lnTo>
                <a:lnTo>
                  <a:pt x="92278" y="108588"/>
                </a:lnTo>
                <a:lnTo>
                  <a:pt x="130374" y="1493"/>
                </a:lnTo>
                <a:lnTo>
                  <a:pt x="151290" y="1493"/>
                </a:lnTo>
                <a:lnTo>
                  <a:pt x="189685" y="108588"/>
                </a:lnTo>
                <a:close/>
                <a:moveTo>
                  <a:pt x="120962" y="65278"/>
                </a:moveTo>
                <a:lnTo>
                  <a:pt x="159208" y="65278"/>
                </a:lnTo>
                <a:lnTo>
                  <a:pt x="140085" y="11947"/>
                </a:lnTo>
                <a:lnTo>
                  <a:pt x="120962" y="65278"/>
                </a:lnTo>
                <a:close/>
                <a:moveTo>
                  <a:pt x="268330" y="108588"/>
                </a:moveTo>
                <a:lnTo>
                  <a:pt x="200056" y="108588"/>
                </a:lnTo>
                <a:lnTo>
                  <a:pt x="200056" y="94400"/>
                </a:lnTo>
                <a:cubicBezTo>
                  <a:pt x="210713" y="85812"/>
                  <a:pt x="219428" y="78532"/>
                  <a:pt x="226200" y="72433"/>
                </a:cubicBezTo>
                <a:cubicBezTo>
                  <a:pt x="233072" y="66397"/>
                  <a:pt x="238401" y="61108"/>
                  <a:pt x="242186" y="56628"/>
                </a:cubicBezTo>
                <a:cubicBezTo>
                  <a:pt x="246070" y="52023"/>
                  <a:pt x="248759" y="47791"/>
                  <a:pt x="250253" y="43933"/>
                </a:cubicBezTo>
                <a:cubicBezTo>
                  <a:pt x="251847" y="40012"/>
                  <a:pt x="252644" y="36092"/>
                  <a:pt x="252644" y="32109"/>
                </a:cubicBezTo>
                <a:cubicBezTo>
                  <a:pt x="252644" y="25949"/>
                  <a:pt x="250801" y="21095"/>
                  <a:pt x="247116" y="17610"/>
                </a:cubicBezTo>
                <a:cubicBezTo>
                  <a:pt x="243431" y="14125"/>
                  <a:pt x="238351" y="12383"/>
                  <a:pt x="231877" y="12383"/>
                </a:cubicBezTo>
                <a:cubicBezTo>
                  <a:pt x="221519" y="12383"/>
                  <a:pt x="211858" y="17361"/>
                  <a:pt x="202894" y="27194"/>
                </a:cubicBezTo>
                <a:lnTo>
                  <a:pt x="202894" y="12134"/>
                </a:lnTo>
                <a:cubicBezTo>
                  <a:pt x="211161" y="4044"/>
                  <a:pt x="220971" y="0"/>
                  <a:pt x="232325" y="0"/>
                </a:cubicBezTo>
                <a:cubicBezTo>
                  <a:pt x="243082" y="0"/>
                  <a:pt x="251548" y="2800"/>
                  <a:pt x="257723" y="8401"/>
                </a:cubicBezTo>
                <a:cubicBezTo>
                  <a:pt x="263998" y="13877"/>
                  <a:pt x="267135" y="21344"/>
                  <a:pt x="267135" y="30803"/>
                </a:cubicBezTo>
                <a:cubicBezTo>
                  <a:pt x="267135" y="35657"/>
                  <a:pt x="266338" y="40324"/>
                  <a:pt x="264745" y="44804"/>
                </a:cubicBezTo>
                <a:cubicBezTo>
                  <a:pt x="263251" y="49222"/>
                  <a:pt x="260562" y="53827"/>
                  <a:pt x="256677" y="58681"/>
                </a:cubicBezTo>
                <a:cubicBezTo>
                  <a:pt x="252892" y="63473"/>
                  <a:pt x="247664" y="68887"/>
                  <a:pt x="240991" y="74860"/>
                </a:cubicBezTo>
                <a:cubicBezTo>
                  <a:pt x="234317" y="80835"/>
                  <a:pt x="225852" y="87804"/>
                  <a:pt x="215593" y="95769"/>
                </a:cubicBezTo>
                <a:lnTo>
                  <a:pt x="268330" y="95769"/>
                </a:lnTo>
                <a:lnTo>
                  <a:pt x="268330" y="108588"/>
                </a:lnTo>
                <a:close/>
                <a:moveTo>
                  <a:pt x="287422" y="1493"/>
                </a:moveTo>
                <a:lnTo>
                  <a:pt x="352858" y="1493"/>
                </a:lnTo>
                <a:lnTo>
                  <a:pt x="352858" y="14374"/>
                </a:lnTo>
                <a:lnTo>
                  <a:pt x="301465" y="14374"/>
                </a:lnTo>
                <a:lnTo>
                  <a:pt x="301465" y="49907"/>
                </a:lnTo>
                <a:lnTo>
                  <a:pt x="345089" y="49907"/>
                </a:lnTo>
                <a:lnTo>
                  <a:pt x="345089" y="62601"/>
                </a:lnTo>
                <a:lnTo>
                  <a:pt x="301465" y="62601"/>
                </a:lnTo>
                <a:lnTo>
                  <a:pt x="301465" y="108588"/>
                </a:lnTo>
                <a:lnTo>
                  <a:pt x="287422" y="108588"/>
                </a:lnTo>
                <a:lnTo>
                  <a:pt x="287422" y="1493"/>
                </a:lnTo>
                <a:close/>
                <a:moveTo>
                  <a:pt x="372330" y="1493"/>
                </a:moveTo>
                <a:lnTo>
                  <a:pt x="437766" y="1493"/>
                </a:lnTo>
                <a:lnTo>
                  <a:pt x="437766" y="14374"/>
                </a:lnTo>
                <a:lnTo>
                  <a:pt x="386373" y="14374"/>
                </a:lnTo>
                <a:lnTo>
                  <a:pt x="386373" y="49907"/>
                </a:lnTo>
                <a:lnTo>
                  <a:pt x="429997" y="49907"/>
                </a:lnTo>
                <a:lnTo>
                  <a:pt x="429997" y="62601"/>
                </a:lnTo>
                <a:lnTo>
                  <a:pt x="386373" y="62601"/>
                </a:lnTo>
                <a:lnTo>
                  <a:pt x="386373" y="108588"/>
                </a:lnTo>
                <a:lnTo>
                  <a:pt x="372330" y="108588"/>
                </a:lnTo>
                <a:lnTo>
                  <a:pt x="372330" y="1493"/>
                </a:lnTo>
                <a:close/>
                <a:moveTo>
                  <a:pt x="522680" y="73491"/>
                </a:moveTo>
                <a:cubicBezTo>
                  <a:pt x="522680" y="80772"/>
                  <a:pt x="521086" y="87182"/>
                  <a:pt x="517899" y="92782"/>
                </a:cubicBezTo>
                <a:cubicBezTo>
                  <a:pt x="514811" y="98258"/>
                  <a:pt x="510578" y="102490"/>
                  <a:pt x="505200" y="105601"/>
                </a:cubicBezTo>
                <a:cubicBezTo>
                  <a:pt x="499822" y="108588"/>
                  <a:pt x="493796" y="110082"/>
                  <a:pt x="487123" y="110082"/>
                </a:cubicBezTo>
                <a:cubicBezTo>
                  <a:pt x="478159" y="110082"/>
                  <a:pt x="470938" y="108091"/>
                  <a:pt x="465460" y="104108"/>
                </a:cubicBezTo>
                <a:cubicBezTo>
                  <a:pt x="459982" y="100125"/>
                  <a:pt x="455948" y="94587"/>
                  <a:pt x="453359" y="87555"/>
                </a:cubicBezTo>
                <a:cubicBezTo>
                  <a:pt x="450869" y="80461"/>
                  <a:pt x="449624" y="72372"/>
                  <a:pt x="449624" y="63161"/>
                </a:cubicBezTo>
                <a:cubicBezTo>
                  <a:pt x="449624" y="50653"/>
                  <a:pt x="451118" y="39639"/>
                  <a:pt x="454106" y="30181"/>
                </a:cubicBezTo>
                <a:cubicBezTo>
                  <a:pt x="457194" y="20722"/>
                  <a:pt x="461875" y="13379"/>
                  <a:pt x="468149" y="8089"/>
                </a:cubicBezTo>
                <a:cubicBezTo>
                  <a:pt x="474524" y="2675"/>
                  <a:pt x="482691" y="0"/>
                  <a:pt x="492650" y="0"/>
                </a:cubicBezTo>
                <a:cubicBezTo>
                  <a:pt x="501216" y="0"/>
                  <a:pt x="508736" y="1866"/>
                  <a:pt x="515210" y="5538"/>
                </a:cubicBezTo>
                <a:lnTo>
                  <a:pt x="515210" y="18855"/>
                </a:lnTo>
                <a:cubicBezTo>
                  <a:pt x="508736" y="14437"/>
                  <a:pt x="501216" y="12259"/>
                  <a:pt x="492650" y="12259"/>
                </a:cubicBezTo>
                <a:cubicBezTo>
                  <a:pt x="486475" y="12259"/>
                  <a:pt x="481296" y="13939"/>
                  <a:pt x="477113" y="17361"/>
                </a:cubicBezTo>
                <a:cubicBezTo>
                  <a:pt x="472930" y="20722"/>
                  <a:pt x="469643" y="25327"/>
                  <a:pt x="467253" y="31238"/>
                </a:cubicBezTo>
                <a:cubicBezTo>
                  <a:pt x="464962" y="37026"/>
                  <a:pt x="463568" y="43498"/>
                  <a:pt x="463070" y="50778"/>
                </a:cubicBezTo>
                <a:cubicBezTo>
                  <a:pt x="466356" y="46298"/>
                  <a:pt x="470141" y="42999"/>
                  <a:pt x="474424" y="40759"/>
                </a:cubicBezTo>
                <a:cubicBezTo>
                  <a:pt x="478707" y="38581"/>
                  <a:pt x="483388" y="37523"/>
                  <a:pt x="488467" y="37523"/>
                </a:cubicBezTo>
                <a:cubicBezTo>
                  <a:pt x="494941" y="37523"/>
                  <a:pt x="500718" y="38893"/>
                  <a:pt x="505797" y="41693"/>
                </a:cubicBezTo>
                <a:cubicBezTo>
                  <a:pt x="510977" y="44493"/>
                  <a:pt x="515060" y="48538"/>
                  <a:pt x="518048" y="53952"/>
                </a:cubicBezTo>
                <a:cubicBezTo>
                  <a:pt x="521135" y="59179"/>
                  <a:pt x="522680" y="65713"/>
                  <a:pt x="522680" y="73491"/>
                </a:cubicBezTo>
                <a:close/>
                <a:moveTo>
                  <a:pt x="486675" y="98134"/>
                </a:moveTo>
                <a:cubicBezTo>
                  <a:pt x="490559" y="98134"/>
                  <a:pt x="494144" y="97263"/>
                  <a:pt x="497431" y="95458"/>
                </a:cubicBezTo>
                <a:cubicBezTo>
                  <a:pt x="500718" y="93529"/>
                  <a:pt x="503357" y="90791"/>
                  <a:pt x="505349" y="87244"/>
                </a:cubicBezTo>
                <a:cubicBezTo>
                  <a:pt x="507441" y="83635"/>
                  <a:pt x="508487" y="79154"/>
                  <a:pt x="508487" y="73803"/>
                </a:cubicBezTo>
                <a:cubicBezTo>
                  <a:pt x="508487" y="68389"/>
                  <a:pt x="507491" y="63908"/>
                  <a:pt x="505499" y="60174"/>
                </a:cubicBezTo>
                <a:cubicBezTo>
                  <a:pt x="503507" y="56503"/>
                  <a:pt x="500967" y="53765"/>
                  <a:pt x="497880" y="51961"/>
                </a:cubicBezTo>
                <a:cubicBezTo>
                  <a:pt x="494792" y="50093"/>
                  <a:pt x="491555" y="49160"/>
                  <a:pt x="488169" y="49160"/>
                </a:cubicBezTo>
                <a:cubicBezTo>
                  <a:pt x="481595" y="49160"/>
                  <a:pt x="476067" y="51276"/>
                  <a:pt x="471586" y="55570"/>
                </a:cubicBezTo>
                <a:cubicBezTo>
                  <a:pt x="467203" y="59739"/>
                  <a:pt x="465012" y="65900"/>
                  <a:pt x="465012" y="74114"/>
                </a:cubicBezTo>
                <a:cubicBezTo>
                  <a:pt x="465012" y="81270"/>
                  <a:pt x="466954" y="87058"/>
                  <a:pt x="470839" y="91538"/>
                </a:cubicBezTo>
                <a:cubicBezTo>
                  <a:pt x="474723" y="95956"/>
                  <a:pt x="480002" y="98134"/>
                  <a:pt x="486675" y="98134"/>
                </a:cubicBezTo>
                <a:close/>
                <a:moveTo>
                  <a:pt x="602427" y="13628"/>
                </a:moveTo>
                <a:lnTo>
                  <a:pt x="557010" y="108588"/>
                </a:lnTo>
                <a:lnTo>
                  <a:pt x="542369" y="108588"/>
                </a:lnTo>
                <a:lnTo>
                  <a:pt x="588084" y="14374"/>
                </a:lnTo>
                <a:lnTo>
                  <a:pt x="533555" y="14374"/>
                </a:lnTo>
                <a:lnTo>
                  <a:pt x="533555" y="1493"/>
                </a:lnTo>
                <a:lnTo>
                  <a:pt x="602427" y="1493"/>
                </a:lnTo>
                <a:lnTo>
                  <a:pt x="602427" y="1362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3" name="Полилиния 1032">
            <a:extLst>
              <a:ext uri="{FF2B5EF4-FFF2-40B4-BE49-F238E27FC236}">
                <a16:creationId xmlns:a16="http://schemas.microsoft.com/office/drawing/2014/main" id="{2FE08E30-BF7E-A9B6-8649-E8801B41F745}"/>
              </a:ext>
            </a:extLst>
          </p:cNvPr>
          <p:cNvSpPr/>
          <p:nvPr userDrawn="1"/>
        </p:nvSpPr>
        <p:spPr>
          <a:xfrm>
            <a:off x="15359119" y="8144980"/>
            <a:ext cx="1398954" cy="726227"/>
          </a:xfrm>
          <a:custGeom>
            <a:avLst/>
            <a:gdLst>
              <a:gd name="connsiteX0" fmla="*/ 425 w 1198727"/>
              <a:gd name="connsiteY0" fmla="*/ 1622 h 622284"/>
              <a:gd name="connsiteX1" fmla="*/ 1199153 w 1198727"/>
              <a:gd name="connsiteY1" fmla="*/ 1622 h 622284"/>
              <a:gd name="connsiteX2" fmla="*/ 1199153 w 1198727"/>
              <a:gd name="connsiteY2" fmla="*/ 623906 h 622284"/>
              <a:gd name="connsiteX3" fmla="*/ 425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622"/>
                </a:moveTo>
                <a:lnTo>
                  <a:pt x="1199153" y="1622"/>
                </a:lnTo>
                <a:lnTo>
                  <a:pt x="1199153" y="623906"/>
                </a:lnTo>
                <a:lnTo>
                  <a:pt x="425" y="623906"/>
                </a:lnTo>
                <a:close/>
              </a:path>
            </a:pathLst>
          </a:custGeom>
          <a:solidFill>
            <a:srgbClr val="BDFF9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4" name="Полилиния 1033">
            <a:extLst>
              <a:ext uri="{FF2B5EF4-FFF2-40B4-BE49-F238E27FC236}">
                <a16:creationId xmlns:a16="http://schemas.microsoft.com/office/drawing/2014/main" id="{CB9E2445-89E0-3CEC-FC2F-A00064E08AEA}"/>
              </a:ext>
            </a:extLst>
          </p:cNvPr>
          <p:cNvSpPr/>
          <p:nvPr userDrawn="1"/>
        </p:nvSpPr>
        <p:spPr>
          <a:xfrm>
            <a:off x="15482328" y="8446726"/>
            <a:ext cx="731725" cy="128468"/>
          </a:xfrm>
          <a:custGeom>
            <a:avLst/>
            <a:gdLst>
              <a:gd name="connsiteX0" fmla="*/ 22111 w 626996"/>
              <a:gd name="connsiteY0" fmla="*/ 108588 h 110081"/>
              <a:gd name="connsiteX1" fmla="*/ 10159 w 626996"/>
              <a:gd name="connsiteY1" fmla="*/ 108588 h 110081"/>
              <a:gd name="connsiteX2" fmla="*/ 16434 w 626996"/>
              <a:gd name="connsiteY2" fmla="*/ 77661 h 110081"/>
              <a:gd name="connsiteX3" fmla="*/ 0 w 626996"/>
              <a:gd name="connsiteY3" fmla="*/ 77661 h 110081"/>
              <a:gd name="connsiteX4" fmla="*/ 0 w 626996"/>
              <a:gd name="connsiteY4" fmla="*/ 67206 h 110081"/>
              <a:gd name="connsiteX5" fmla="*/ 18675 w 626996"/>
              <a:gd name="connsiteY5" fmla="*/ 67206 h 110081"/>
              <a:gd name="connsiteX6" fmla="*/ 24202 w 626996"/>
              <a:gd name="connsiteY6" fmla="*/ 40012 h 110081"/>
              <a:gd name="connsiteX7" fmla="*/ 4034 w 626996"/>
              <a:gd name="connsiteY7" fmla="*/ 40012 h 110081"/>
              <a:gd name="connsiteX8" fmla="*/ 4034 w 626996"/>
              <a:gd name="connsiteY8" fmla="*/ 29559 h 110081"/>
              <a:gd name="connsiteX9" fmla="*/ 26294 w 626996"/>
              <a:gd name="connsiteY9" fmla="*/ 29559 h 110081"/>
              <a:gd name="connsiteX10" fmla="*/ 32120 w 626996"/>
              <a:gd name="connsiteY10" fmla="*/ 1493 h 110081"/>
              <a:gd name="connsiteX11" fmla="*/ 44072 w 626996"/>
              <a:gd name="connsiteY11" fmla="*/ 1493 h 110081"/>
              <a:gd name="connsiteX12" fmla="*/ 38246 w 626996"/>
              <a:gd name="connsiteY12" fmla="*/ 29559 h 110081"/>
              <a:gd name="connsiteX13" fmla="*/ 60655 w 626996"/>
              <a:gd name="connsiteY13" fmla="*/ 29559 h 110081"/>
              <a:gd name="connsiteX14" fmla="*/ 66482 w 626996"/>
              <a:gd name="connsiteY14" fmla="*/ 1493 h 110081"/>
              <a:gd name="connsiteX15" fmla="*/ 78434 w 626996"/>
              <a:gd name="connsiteY15" fmla="*/ 1493 h 110081"/>
              <a:gd name="connsiteX16" fmla="*/ 72607 w 626996"/>
              <a:gd name="connsiteY16" fmla="*/ 29559 h 110081"/>
              <a:gd name="connsiteX17" fmla="*/ 89340 w 626996"/>
              <a:gd name="connsiteY17" fmla="*/ 29559 h 110081"/>
              <a:gd name="connsiteX18" fmla="*/ 89340 w 626996"/>
              <a:gd name="connsiteY18" fmla="*/ 40012 h 110081"/>
              <a:gd name="connsiteX19" fmla="*/ 70515 w 626996"/>
              <a:gd name="connsiteY19" fmla="*/ 40012 h 110081"/>
              <a:gd name="connsiteX20" fmla="*/ 64988 w 626996"/>
              <a:gd name="connsiteY20" fmla="*/ 67206 h 110081"/>
              <a:gd name="connsiteX21" fmla="*/ 85306 w 626996"/>
              <a:gd name="connsiteY21" fmla="*/ 67206 h 110081"/>
              <a:gd name="connsiteX22" fmla="*/ 85306 w 626996"/>
              <a:gd name="connsiteY22" fmla="*/ 77661 h 110081"/>
              <a:gd name="connsiteX23" fmla="*/ 62747 w 626996"/>
              <a:gd name="connsiteY23" fmla="*/ 77661 h 110081"/>
              <a:gd name="connsiteX24" fmla="*/ 56472 w 626996"/>
              <a:gd name="connsiteY24" fmla="*/ 108588 h 110081"/>
              <a:gd name="connsiteX25" fmla="*/ 44520 w 626996"/>
              <a:gd name="connsiteY25" fmla="*/ 108588 h 110081"/>
              <a:gd name="connsiteX26" fmla="*/ 50795 w 626996"/>
              <a:gd name="connsiteY26" fmla="*/ 77661 h 110081"/>
              <a:gd name="connsiteX27" fmla="*/ 28386 w 626996"/>
              <a:gd name="connsiteY27" fmla="*/ 77661 h 110081"/>
              <a:gd name="connsiteX28" fmla="*/ 22111 w 626996"/>
              <a:gd name="connsiteY28" fmla="*/ 108588 h 110081"/>
              <a:gd name="connsiteX29" fmla="*/ 30626 w 626996"/>
              <a:gd name="connsiteY29" fmla="*/ 67206 h 110081"/>
              <a:gd name="connsiteX30" fmla="*/ 53036 w 626996"/>
              <a:gd name="connsiteY30" fmla="*/ 67206 h 110081"/>
              <a:gd name="connsiteX31" fmla="*/ 58564 w 626996"/>
              <a:gd name="connsiteY31" fmla="*/ 40012 h 110081"/>
              <a:gd name="connsiteX32" fmla="*/ 36154 w 626996"/>
              <a:gd name="connsiteY32" fmla="*/ 40012 h 110081"/>
              <a:gd name="connsiteX33" fmla="*/ 30626 w 626996"/>
              <a:gd name="connsiteY33" fmla="*/ 67206 h 110081"/>
              <a:gd name="connsiteX34" fmla="*/ 107821 w 626996"/>
              <a:gd name="connsiteY34" fmla="*/ 1493 h 110081"/>
              <a:gd name="connsiteX35" fmla="*/ 144125 w 626996"/>
              <a:gd name="connsiteY35" fmla="*/ 1493 h 110081"/>
              <a:gd name="connsiteX36" fmla="*/ 170867 w 626996"/>
              <a:gd name="connsiteY36" fmla="*/ 7467 h 110081"/>
              <a:gd name="connsiteX37" fmla="*/ 180130 w 626996"/>
              <a:gd name="connsiteY37" fmla="*/ 27629 h 110081"/>
              <a:gd name="connsiteX38" fmla="*/ 174303 w 626996"/>
              <a:gd name="connsiteY38" fmla="*/ 45116 h 110081"/>
              <a:gd name="connsiteX39" fmla="*/ 158766 w 626996"/>
              <a:gd name="connsiteY39" fmla="*/ 53018 h 110081"/>
              <a:gd name="connsiteX40" fmla="*/ 177590 w 626996"/>
              <a:gd name="connsiteY40" fmla="*/ 60361 h 110081"/>
              <a:gd name="connsiteX41" fmla="*/ 184014 w 626996"/>
              <a:gd name="connsiteY41" fmla="*/ 77661 h 110081"/>
              <a:gd name="connsiteX42" fmla="*/ 178785 w 626996"/>
              <a:gd name="connsiteY42" fmla="*/ 95583 h 110081"/>
              <a:gd name="connsiteX43" fmla="*/ 164443 w 626996"/>
              <a:gd name="connsiteY43" fmla="*/ 105601 h 110081"/>
              <a:gd name="connsiteX44" fmla="*/ 143826 w 626996"/>
              <a:gd name="connsiteY44" fmla="*/ 108588 h 110081"/>
              <a:gd name="connsiteX45" fmla="*/ 107821 w 626996"/>
              <a:gd name="connsiteY45" fmla="*/ 108588 h 110081"/>
              <a:gd name="connsiteX46" fmla="*/ 107821 w 626996"/>
              <a:gd name="connsiteY46" fmla="*/ 1493 h 110081"/>
              <a:gd name="connsiteX47" fmla="*/ 143079 w 626996"/>
              <a:gd name="connsiteY47" fmla="*/ 47231 h 110081"/>
              <a:gd name="connsiteX48" fmla="*/ 159513 w 626996"/>
              <a:gd name="connsiteY48" fmla="*/ 42751 h 110081"/>
              <a:gd name="connsiteX49" fmla="*/ 165937 w 626996"/>
              <a:gd name="connsiteY49" fmla="*/ 28376 h 110081"/>
              <a:gd name="connsiteX50" fmla="*/ 160260 w 626996"/>
              <a:gd name="connsiteY50" fmla="*/ 17361 h 110081"/>
              <a:gd name="connsiteX51" fmla="*/ 144125 w 626996"/>
              <a:gd name="connsiteY51" fmla="*/ 14374 h 110081"/>
              <a:gd name="connsiteX52" fmla="*/ 121865 w 626996"/>
              <a:gd name="connsiteY52" fmla="*/ 14374 h 110081"/>
              <a:gd name="connsiteX53" fmla="*/ 121865 w 626996"/>
              <a:gd name="connsiteY53" fmla="*/ 47231 h 110081"/>
              <a:gd name="connsiteX54" fmla="*/ 143079 w 626996"/>
              <a:gd name="connsiteY54" fmla="*/ 47231 h 110081"/>
              <a:gd name="connsiteX55" fmla="*/ 143826 w 626996"/>
              <a:gd name="connsiteY55" fmla="*/ 95893 h 110081"/>
              <a:gd name="connsiteX56" fmla="*/ 162202 w 626996"/>
              <a:gd name="connsiteY56" fmla="*/ 92035 h 110081"/>
              <a:gd name="connsiteX57" fmla="*/ 169224 w 626996"/>
              <a:gd name="connsiteY57" fmla="*/ 77972 h 110081"/>
              <a:gd name="connsiteX58" fmla="*/ 162650 w 626996"/>
              <a:gd name="connsiteY58" fmla="*/ 63908 h 110081"/>
              <a:gd name="connsiteX59" fmla="*/ 142183 w 626996"/>
              <a:gd name="connsiteY59" fmla="*/ 59926 h 110081"/>
              <a:gd name="connsiteX60" fmla="*/ 121865 w 626996"/>
              <a:gd name="connsiteY60" fmla="*/ 59926 h 110081"/>
              <a:gd name="connsiteX61" fmla="*/ 121865 w 626996"/>
              <a:gd name="connsiteY61" fmla="*/ 95893 h 110081"/>
              <a:gd name="connsiteX62" fmla="*/ 143826 w 626996"/>
              <a:gd name="connsiteY62" fmla="*/ 95893 h 110081"/>
              <a:gd name="connsiteX63" fmla="*/ 204114 w 626996"/>
              <a:gd name="connsiteY63" fmla="*/ 1493 h 110081"/>
              <a:gd name="connsiteX64" fmla="*/ 240119 w 626996"/>
              <a:gd name="connsiteY64" fmla="*/ 1493 h 110081"/>
              <a:gd name="connsiteX65" fmla="*/ 260138 w 626996"/>
              <a:gd name="connsiteY65" fmla="*/ 4044 h 110081"/>
              <a:gd name="connsiteX66" fmla="*/ 276273 w 626996"/>
              <a:gd name="connsiteY66" fmla="*/ 12383 h 110081"/>
              <a:gd name="connsiteX67" fmla="*/ 287030 w 626996"/>
              <a:gd name="connsiteY67" fmla="*/ 27629 h 110081"/>
              <a:gd name="connsiteX68" fmla="*/ 290914 w 626996"/>
              <a:gd name="connsiteY68" fmla="*/ 51401 h 110081"/>
              <a:gd name="connsiteX69" fmla="*/ 284042 w 626996"/>
              <a:gd name="connsiteY69" fmla="*/ 83075 h 110081"/>
              <a:gd name="connsiteX70" fmla="*/ 265517 w 626996"/>
              <a:gd name="connsiteY70" fmla="*/ 102179 h 110081"/>
              <a:gd name="connsiteX71" fmla="*/ 238476 w 626996"/>
              <a:gd name="connsiteY71" fmla="*/ 108588 h 110081"/>
              <a:gd name="connsiteX72" fmla="*/ 204114 w 626996"/>
              <a:gd name="connsiteY72" fmla="*/ 108588 h 110081"/>
              <a:gd name="connsiteX73" fmla="*/ 204114 w 626996"/>
              <a:gd name="connsiteY73" fmla="*/ 1493 h 110081"/>
              <a:gd name="connsiteX74" fmla="*/ 238476 w 626996"/>
              <a:gd name="connsiteY74" fmla="*/ 95893 h 110081"/>
              <a:gd name="connsiteX75" fmla="*/ 257897 w 626996"/>
              <a:gd name="connsiteY75" fmla="*/ 91413 h 110081"/>
              <a:gd name="connsiteX76" fmla="*/ 270895 w 626996"/>
              <a:gd name="connsiteY76" fmla="*/ 77225 h 110081"/>
              <a:gd name="connsiteX77" fmla="*/ 275676 w 626996"/>
              <a:gd name="connsiteY77" fmla="*/ 52458 h 110081"/>
              <a:gd name="connsiteX78" fmla="*/ 271044 w 626996"/>
              <a:gd name="connsiteY78" fmla="*/ 29122 h 110081"/>
              <a:gd name="connsiteX79" fmla="*/ 258345 w 626996"/>
              <a:gd name="connsiteY79" fmla="*/ 17610 h 110081"/>
              <a:gd name="connsiteX80" fmla="*/ 240119 w 626996"/>
              <a:gd name="connsiteY80" fmla="*/ 14374 h 110081"/>
              <a:gd name="connsiteX81" fmla="*/ 218158 w 626996"/>
              <a:gd name="connsiteY81" fmla="*/ 14374 h 110081"/>
              <a:gd name="connsiteX82" fmla="*/ 218158 w 626996"/>
              <a:gd name="connsiteY82" fmla="*/ 95893 h 110081"/>
              <a:gd name="connsiteX83" fmla="*/ 238476 w 626996"/>
              <a:gd name="connsiteY83" fmla="*/ 95893 h 110081"/>
              <a:gd name="connsiteX84" fmla="*/ 309595 w 626996"/>
              <a:gd name="connsiteY84" fmla="*/ 1493 h 110081"/>
              <a:gd name="connsiteX85" fmla="*/ 375031 w 626996"/>
              <a:gd name="connsiteY85" fmla="*/ 1493 h 110081"/>
              <a:gd name="connsiteX86" fmla="*/ 375031 w 626996"/>
              <a:gd name="connsiteY86" fmla="*/ 14374 h 110081"/>
              <a:gd name="connsiteX87" fmla="*/ 323639 w 626996"/>
              <a:gd name="connsiteY87" fmla="*/ 14374 h 110081"/>
              <a:gd name="connsiteX88" fmla="*/ 323639 w 626996"/>
              <a:gd name="connsiteY88" fmla="*/ 49907 h 110081"/>
              <a:gd name="connsiteX89" fmla="*/ 367263 w 626996"/>
              <a:gd name="connsiteY89" fmla="*/ 49907 h 110081"/>
              <a:gd name="connsiteX90" fmla="*/ 367263 w 626996"/>
              <a:gd name="connsiteY90" fmla="*/ 62601 h 110081"/>
              <a:gd name="connsiteX91" fmla="*/ 323639 w 626996"/>
              <a:gd name="connsiteY91" fmla="*/ 62601 h 110081"/>
              <a:gd name="connsiteX92" fmla="*/ 323639 w 626996"/>
              <a:gd name="connsiteY92" fmla="*/ 108588 h 110081"/>
              <a:gd name="connsiteX93" fmla="*/ 309595 w 626996"/>
              <a:gd name="connsiteY93" fmla="*/ 108588 h 110081"/>
              <a:gd name="connsiteX94" fmla="*/ 309595 w 626996"/>
              <a:gd name="connsiteY94" fmla="*/ 1493 h 110081"/>
              <a:gd name="connsiteX95" fmla="*/ 394509 w 626996"/>
              <a:gd name="connsiteY95" fmla="*/ 1493 h 110081"/>
              <a:gd name="connsiteX96" fmla="*/ 459945 w 626996"/>
              <a:gd name="connsiteY96" fmla="*/ 1493 h 110081"/>
              <a:gd name="connsiteX97" fmla="*/ 459945 w 626996"/>
              <a:gd name="connsiteY97" fmla="*/ 14374 h 110081"/>
              <a:gd name="connsiteX98" fmla="*/ 408552 w 626996"/>
              <a:gd name="connsiteY98" fmla="*/ 14374 h 110081"/>
              <a:gd name="connsiteX99" fmla="*/ 408552 w 626996"/>
              <a:gd name="connsiteY99" fmla="*/ 49907 h 110081"/>
              <a:gd name="connsiteX100" fmla="*/ 452176 w 626996"/>
              <a:gd name="connsiteY100" fmla="*/ 49907 h 110081"/>
              <a:gd name="connsiteX101" fmla="*/ 452176 w 626996"/>
              <a:gd name="connsiteY101" fmla="*/ 62601 h 110081"/>
              <a:gd name="connsiteX102" fmla="*/ 408552 w 626996"/>
              <a:gd name="connsiteY102" fmla="*/ 62601 h 110081"/>
              <a:gd name="connsiteX103" fmla="*/ 408552 w 626996"/>
              <a:gd name="connsiteY103" fmla="*/ 108588 h 110081"/>
              <a:gd name="connsiteX104" fmla="*/ 394509 w 626996"/>
              <a:gd name="connsiteY104" fmla="*/ 108588 h 110081"/>
              <a:gd name="connsiteX105" fmla="*/ 394509 w 626996"/>
              <a:gd name="connsiteY105" fmla="*/ 1493 h 110081"/>
              <a:gd name="connsiteX106" fmla="*/ 471803 w 626996"/>
              <a:gd name="connsiteY106" fmla="*/ 35844 h 110081"/>
              <a:gd name="connsiteX107" fmla="*/ 476435 w 626996"/>
              <a:gd name="connsiteY107" fmla="*/ 17051 h 110081"/>
              <a:gd name="connsiteX108" fmla="*/ 489283 w 626996"/>
              <a:gd name="connsiteY108" fmla="*/ 4480 h 110081"/>
              <a:gd name="connsiteX109" fmla="*/ 507360 w 626996"/>
              <a:gd name="connsiteY109" fmla="*/ 0 h 110081"/>
              <a:gd name="connsiteX110" fmla="*/ 529023 w 626996"/>
              <a:gd name="connsiteY110" fmla="*/ 5849 h 110081"/>
              <a:gd name="connsiteX111" fmla="*/ 541124 w 626996"/>
              <a:gd name="connsiteY111" fmla="*/ 21842 h 110081"/>
              <a:gd name="connsiteX112" fmla="*/ 544859 w 626996"/>
              <a:gd name="connsiteY112" fmla="*/ 45426 h 110081"/>
              <a:gd name="connsiteX113" fmla="*/ 540227 w 626996"/>
              <a:gd name="connsiteY113" fmla="*/ 80088 h 110081"/>
              <a:gd name="connsiteX114" fmla="*/ 525885 w 626996"/>
              <a:gd name="connsiteY114" fmla="*/ 102303 h 110081"/>
              <a:gd name="connsiteX115" fmla="*/ 501384 w 626996"/>
              <a:gd name="connsiteY115" fmla="*/ 110082 h 110081"/>
              <a:gd name="connsiteX116" fmla="*/ 478377 w 626996"/>
              <a:gd name="connsiteY116" fmla="*/ 104543 h 110081"/>
              <a:gd name="connsiteX117" fmla="*/ 478377 w 626996"/>
              <a:gd name="connsiteY117" fmla="*/ 91413 h 110081"/>
              <a:gd name="connsiteX118" fmla="*/ 501384 w 626996"/>
              <a:gd name="connsiteY118" fmla="*/ 98010 h 110081"/>
              <a:gd name="connsiteX119" fmla="*/ 516922 w 626996"/>
              <a:gd name="connsiteY119" fmla="*/ 92907 h 110081"/>
              <a:gd name="connsiteX120" fmla="*/ 526632 w 626996"/>
              <a:gd name="connsiteY120" fmla="*/ 79154 h 110081"/>
              <a:gd name="connsiteX121" fmla="*/ 530965 w 626996"/>
              <a:gd name="connsiteY121" fmla="*/ 59739 h 110081"/>
              <a:gd name="connsiteX122" fmla="*/ 519909 w 626996"/>
              <a:gd name="connsiteY122" fmla="*/ 68389 h 110081"/>
              <a:gd name="connsiteX123" fmla="*/ 506015 w 626996"/>
              <a:gd name="connsiteY123" fmla="*/ 71127 h 110081"/>
              <a:gd name="connsiteX124" fmla="*/ 488685 w 626996"/>
              <a:gd name="connsiteY124" fmla="*/ 67082 h 110081"/>
              <a:gd name="connsiteX125" fmla="*/ 476285 w 626996"/>
              <a:gd name="connsiteY125" fmla="*/ 55134 h 110081"/>
              <a:gd name="connsiteX126" fmla="*/ 471803 w 626996"/>
              <a:gd name="connsiteY126" fmla="*/ 35844 h 110081"/>
              <a:gd name="connsiteX127" fmla="*/ 507808 w 626996"/>
              <a:gd name="connsiteY127" fmla="*/ 12134 h 110081"/>
              <a:gd name="connsiteX128" fmla="*/ 497052 w 626996"/>
              <a:gd name="connsiteY128" fmla="*/ 14810 h 110081"/>
              <a:gd name="connsiteX129" fmla="*/ 488984 w 626996"/>
              <a:gd name="connsiteY129" fmla="*/ 22589 h 110081"/>
              <a:gd name="connsiteX130" fmla="*/ 485996 w 626996"/>
              <a:gd name="connsiteY130" fmla="*/ 35532 h 110081"/>
              <a:gd name="connsiteX131" fmla="*/ 488984 w 626996"/>
              <a:gd name="connsiteY131" fmla="*/ 48725 h 110081"/>
              <a:gd name="connsiteX132" fmla="*/ 496603 w 626996"/>
              <a:gd name="connsiteY132" fmla="*/ 56752 h 110081"/>
              <a:gd name="connsiteX133" fmla="*/ 506314 w 626996"/>
              <a:gd name="connsiteY133" fmla="*/ 59428 h 110081"/>
              <a:gd name="connsiteX134" fmla="*/ 522748 w 626996"/>
              <a:gd name="connsiteY134" fmla="*/ 53329 h 110081"/>
              <a:gd name="connsiteX135" fmla="*/ 529471 w 626996"/>
              <a:gd name="connsiteY135" fmla="*/ 35283 h 110081"/>
              <a:gd name="connsiteX136" fmla="*/ 523644 w 626996"/>
              <a:gd name="connsiteY136" fmla="*/ 18544 h 110081"/>
              <a:gd name="connsiteX137" fmla="*/ 507808 w 626996"/>
              <a:gd name="connsiteY137" fmla="*/ 12134 h 110081"/>
              <a:gd name="connsiteX138" fmla="*/ 612505 w 626996"/>
              <a:gd name="connsiteY138" fmla="*/ 108588 h 110081"/>
              <a:gd name="connsiteX139" fmla="*/ 599358 w 626996"/>
              <a:gd name="connsiteY139" fmla="*/ 108588 h 110081"/>
              <a:gd name="connsiteX140" fmla="*/ 599358 w 626996"/>
              <a:gd name="connsiteY140" fmla="*/ 83199 h 110081"/>
              <a:gd name="connsiteX141" fmla="*/ 553045 w 626996"/>
              <a:gd name="connsiteY141" fmla="*/ 83199 h 110081"/>
              <a:gd name="connsiteX142" fmla="*/ 553045 w 626996"/>
              <a:gd name="connsiteY142" fmla="*/ 73927 h 110081"/>
              <a:gd name="connsiteX143" fmla="*/ 594876 w 626996"/>
              <a:gd name="connsiteY143" fmla="*/ 1493 h 110081"/>
              <a:gd name="connsiteX144" fmla="*/ 612505 w 626996"/>
              <a:gd name="connsiteY144" fmla="*/ 1493 h 110081"/>
              <a:gd name="connsiteX145" fmla="*/ 612505 w 626996"/>
              <a:gd name="connsiteY145" fmla="*/ 71873 h 110081"/>
              <a:gd name="connsiteX146" fmla="*/ 626996 w 626996"/>
              <a:gd name="connsiteY146" fmla="*/ 71873 h 110081"/>
              <a:gd name="connsiteX147" fmla="*/ 626996 w 626996"/>
              <a:gd name="connsiteY147" fmla="*/ 83199 h 110081"/>
              <a:gd name="connsiteX148" fmla="*/ 612505 w 626996"/>
              <a:gd name="connsiteY148" fmla="*/ 83199 h 110081"/>
              <a:gd name="connsiteX149" fmla="*/ 612505 w 626996"/>
              <a:gd name="connsiteY149" fmla="*/ 108588 h 110081"/>
              <a:gd name="connsiteX150" fmla="*/ 566640 w 626996"/>
              <a:gd name="connsiteY150" fmla="*/ 71873 h 110081"/>
              <a:gd name="connsiteX151" fmla="*/ 599358 w 626996"/>
              <a:gd name="connsiteY151" fmla="*/ 71873 h 110081"/>
              <a:gd name="connsiteX152" fmla="*/ 599358 w 626996"/>
              <a:gd name="connsiteY152" fmla="*/ 16117 h 110081"/>
              <a:gd name="connsiteX153" fmla="*/ 566640 w 626996"/>
              <a:gd name="connsiteY153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2699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1" y="1493"/>
                </a:moveTo>
                <a:lnTo>
                  <a:pt x="144125" y="1493"/>
                </a:lnTo>
                <a:cubicBezTo>
                  <a:pt x="155878" y="1493"/>
                  <a:pt x="164792" y="3484"/>
                  <a:pt x="170867" y="7467"/>
                </a:cubicBezTo>
                <a:cubicBezTo>
                  <a:pt x="177042" y="11450"/>
                  <a:pt x="180130" y="18170"/>
                  <a:pt x="180130" y="27629"/>
                </a:cubicBezTo>
                <a:cubicBezTo>
                  <a:pt x="180130" y="35283"/>
                  <a:pt x="178188" y="41133"/>
                  <a:pt x="174303" y="45116"/>
                </a:cubicBezTo>
                <a:cubicBezTo>
                  <a:pt x="170419" y="48974"/>
                  <a:pt x="165240" y="51649"/>
                  <a:pt x="158766" y="53018"/>
                </a:cubicBezTo>
                <a:cubicBezTo>
                  <a:pt x="167032" y="54014"/>
                  <a:pt x="173307" y="56441"/>
                  <a:pt x="177590" y="60361"/>
                </a:cubicBezTo>
                <a:cubicBezTo>
                  <a:pt x="181873" y="64157"/>
                  <a:pt x="184014" y="69882"/>
                  <a:pt x="184014" y="77661"/>
                </a:cubicBezTo>
                <a:cubicBezTo>
                  <a:pt x="184014" y="85066"/>
                  <a:pt x="182271" y="91040"/>
                  <a:pt x="178785" y="95583"/>
                </a:cubicBezTo>
                <a:cubicBezTo>
                  <a:pt x="175299" y="100188"/>
                  <a:pt x="170518" y="103486"/>
                  <a:pt x="164443" y="105601"/>
                </a:cubicBezTo>
                <a:cubicBezTo>
                  <a:pt x="158367" y="107592"/>
                  <a:pt x="151495" y="108588"/>
                  <a:pt x="143826" y="108588"/>
                </a:cubicBezTo>
                <a:lnTo>
                  <a:pt x="107821" y="108588"/>
                </a:lnTo>
                <a:lnTo>
                  <a:pt x="107821" y="1493"/>
                </a:lnTo>
                <a:close/>
                <a:moveTo>
                  <a:pt x="143079" y="47231"/>
                </a:moveTo>
                <a:cubicBezTo>
                  <a:pt x="149852" y="47231"/>
                  <a:pt x="155330" y="45738"/>
                  <a:pt x="159513" y="42751"/>
                </a:cubicBezTo>
                <a:cubicBezTo>
                  <a:pt x="163796" y="39639"/>
                  <a:pt x="165937" y="34848"/>
                  <a:pt x="165937" y="28376"/>
                </a:cubicBezTo>
                <a:cubicBezTo>
                  <a:pt x="165937" y="22900"/>
                  <a:pt x="164045" y="19228"/>
                  <a:pt x="160260" y="17361"/>
                </a:cubicBezTo>
                <a:cubicBezTo>
                  <a:pt x="156475" y="15370"/>
                  <a:pt x="151097" y="14374"/>
                  <a:pt x="144125" y="14374"/>
                </a:cubicBezTo>
                <a:lnTo>
                  <a:pt x="121865" y="14374"/>
                </a:lnTo>
                <a:lnTo>
                  <a:pt x="121865" y="47231"/>
                </a:lnTo>
                <a:lnTo>
                  <a:pt x="143079" y="47231"/>
                </a:lnTo>
                <a:close/>
                <a:moveTo>
                  <a:pt x="143826" y="95893"/>
                </a:moveTo>
                <a:cubicBezTo>
                  <a:pt x="151396" y="95893"/>
                  <a:pt x="157521" y="94587"/>
                  <a:pt x="162202" y="92035"/>
                </a:cubicBezTo>
                <a:cubicBezTo>
                  <a:pt x="166883" y="89422"/>
                  <a:pt x="169224" y="84755"/>
                  <a:pt x="169224" y="77972"/>
                </a:cubicBezTo>
                <a:cubicBezTo>
                  <a:pt x="169224" y="71189"/>
                  <a:pt x="167032" y="66522"/>
                  <a:pt x="162650" y="63908"/>
                </a:cubicBezTo>
                <a:cubicBezTo>
                  <a:pt x="158367" y="61233"/>
                  <a:pt x="151545" y="59926"/>
                  <a:pt x="142183" y="59926"/>
                </a:cubicBezTo>
                <a:lnTo>
                  <a:pt x="121865" y="59926"/>
                </a:lnTo>
                <a:lnTo>
                  <a:pt x="121865" y="95893"/>
                </a:lnTo>
                <a:lnTo>
                  <a:pt x="143826" y="95893"/>
                </a:lnTo>
                <a:close/>
                <a:moveTo>
                  <a:pt x="204114" y="1493"/>
                </a:moveTo>
                <a:lnTo>
                  <a:pt x="240119" y="1493"/>
                </a:lnTo>
                <a:cubicBezTo>
                  <a:pt x="247290" y="1493"/>
                  <a:pt x="253963" y="2365"/>
                  <a:pt x="260138" y="4044"/>
                </a:cubicBezTo>
                <a:cubicBezTo>
                  <a:pt x="266313" y="5725"/>
                  <a:pt x="271692" y="8525"/>
                  <a:pt x="276273" y="12383"/>
                </a:cubicBezTo>
                <a:cubicBezTo>
                  <a:pt x="280855" y="16179"/>
                  <a:pt x="284440" y="21282"/>
                  <a:pt x="287030" y="27629"/>
                </a:cubicBezTo>
                <a:cubicBezTo>
                  <a:pt x="289619" y="34039"/>
                  <a:pt x="290914" y="41942"/>
                  <a:pt x="290914" y="51401"/>
                </a:cubicBezTo>
                <a:cubicBezTo>
                  <a:pt x="290914" y="63908"/>
                  <a:pt x="288623" y="74487"/>
                  <a:pt x="284042" y="83075"/>
                </a:cubicBezTo>
                <a:cubicBezTo>
                  <a:pt x="279560" y="91538"/>
                  <a:pt x="273385" y="97885"/>
                  <a:pt x="265517" y="102179"/>
                </a:cubicBezTo>
                <a:cubicBezTo>
                  <a:pt x="257648" y="106473"/>
                  <a:pt x="248635" y="108588"/>
                  <a:pt x="238476" y="108588"/>
                </a:cubicBezTo>
                <a:lnTo>
                  <a:pt x="204114" y="108588"/>
                </a:lnTo>
                <a:lnTo>
                  <a:pt x="204114" y="1493"/>
                </a:lnTo>
                <a:close/>
                <a:moveTo>
                  <a:pt x="238476" y="95893"/>
                </a:moveTo>
                <a:cubicBezTo>
                  <a:pt x="245846" y="95893"/>
                  <a:pt x="252320" y="94400"/>
                  <a:pt x="257897" y="91413"/>
                </a:cubicBezTo>
                <a:cubicBezTo>
                  <a:pt x="263475" y="88302"/>
                  <a:pt x="267807" y="83572"/>
                  <a:pt x="270895" y="77225"/>
                </a:cubicBezTo>
                <a:cubicBezTo>
                  <a:pt x="274082" y="70754"/>
                  <a:pt x="275676" y="62477"/>
                  <a:pt x="275676" y="52458"/>
                </a:cubicBezTo>
                <a:cubicBezTo>
                  <a:pt x="275676" y="42377"/>
                  <a:pt x="274132" y="34599"/>
                  <a:pt x="271044" y="29122"/>
                </a:cubicBezTo>
                <a:cubicBezTo>
                  <a:pt x="267957" y="23646"/>
                  <a:pt x="263724" y="19851"/>
                  <a:pt x="258345" y="17610"/>
                </a:cubicBezTo>
                <a:cubicBezTo>
                  <a:pt x="253067" y="15433"/>
                  <a:pt x="246991" y="14374"/>
                  <a:pt x="240119" y="14374"/>
                </a:cubicBezTo>
                <a:lnTo>
                  <a:pt x="218158" y="14374"/>
                </a:lnTo>
                <a:lnTo>
                  <a:pt x="218158" y="95893"/>
                </a:lnTo>
                <a:lnTo>
                  <a:pt x="238476" y="95893"/>
                </a:lnTo>
                <a:close/>
                <a:moveTo>
                  <a:pt x="309595" y="1493"/>
                </a:moveTo>
                <a:lnTo>
                  <a:pt x="375031" y="1493"/>
                </a:lnTo>
                <a:lnTo>
                  <a:pt x="375031" y="14374"/>
                </a:lnTo>
                <a:lnTo>
                  <a:pt x="323639" y="14374"/>
                </a:lnTo>
                <a:lnTo>
                  <a:pt x="323639" y="49907"/>
                </a:lnTo>
                <a:lnTo>
                  <a:pt x="367263" y="49907"/>
                </a:lnTo>
                <a:lnTo>
                  <a:pt x="367263" y="62601"/>
                </a:lnTo>
                <a:lnTo>
                  <a:pt x="323639" y="62601"/>
                </a:lnTo>
                <a:lnTo>
                  <a:pt x="323639" y="108588"/>
                </a:lnTo>
                <a:lnTo>
                  <a:pt x="309595" y="108588"/>
                </a:lnTo>
                <a:lnTo>
                  <a:pt x="309595" y="1493"/>
                </a:lnTo>
                <a:close/>
                <a:moveTo>
                  <a:pt x="394509" y="1493"/>
                </a:moveTo>
                <a:lnTo>
                  <a:pt x="459945" y="1493"/>
                </a:lnTo>
                <a:lnTo>
                  <a:pt x="459945" y="14374"/>
                </a:lnTo>
                <a:lnTo>
                  <a:pt x="408552" y="14374"/>
                </a:lnTo>
                <a:lnTo>
                  <a:pt x="408552" y="49907"/>
                </a:lnTo>
                <a:lnTo>
                  <a:pt x="452176" y="49907"/>
                </a:lnTo>
                <a:lnTo>
                  <a:pt x="452176" y="62601"/>
                </a:lnTo>
                <a:lnTo>
                  <a:pt x="408552" y="62601"/>
                </a:lnTo>
                <a:lnTo>
                  <a:pt x="408552" y="108588"/>
                </a:lnTo>
                <a:lnTo>
                  <a:pt x="394509" y="108588"/>
                </a:lnTo>
                <a:lnTo>
                  <a:pt x="394509" y="1493"/>
                </a:lnTo>
                <a:close/>
                <a:moveTo>
                  <a:pt x="471803" y="35844"/>
                </a:moveTo>
                <a:cubicBezTo>
                  <a:pt x="471803" y="28687"/>
                  <a:pt x="473347" y="22402"/>
                  <a:pt x="476435" y="17051"/>
                </a:cubicBezTo>
                <a:cubicBezTo>
                  <a:pt x="479622" y="11637"/>
                  <a:pt x="483905" y="7467"/>
                  <a:pt x="489283" y="4480"/>
                </a:cubicBezTo>
                <a:cubicBezTo>
                  <a:pt x="494661" y="1493"/>
                  <a:pt x="500687" y="0"/>
                  <a:pt x="507360" y="0"/>
                </a:cubicBezTo>
                <a:cubicBezTo>
                  <a:pt x="516324" y="0"/>
                  <a:pt x="523545" y="1929"/>
                  <a:pt x="529023" y="5849"/>
                </a:cubicBezTo>
                <a:cubicBezTo>
                  <a:pt x="534600" y="9645"/>
                  <a:pt x="538634" y="14934"/>
                  <a:pt x="541124" y="21842"/>
                </a:cubicBezTo>
                <a:cubicBezTo>
                  <a:pt x="543614" y="28563"/>
                  <a:pt x="544859" y="36466"/>
                  <a:pt x="544859" y="45426"/>
                </a:cubicBezTo>
                <a:cubicBezTo>
                  <a:pt x="544859" y="58868"/>
                  <a:pt x="543315" y="70380"/>
                  <a:pt x="540227" y="80088"/>
                </a:cubicBezTo>
                <a:cubicBezTo>
                  <a:pt x="537140" y="89733"/>
                  <a:pt x="532359" y="97138"/>
                  <a:pt x="525885" y="102303"/>
                </a:cubicBezTo>
                <a:cubicBezTo>
                  <a:pt x="519511" y="107468"/>
                  <a:pt x="511344" y="110082"/>
                  <a:pt x="501384" y="110082"/>
                </a:cubicBezTo>
                <a:cubicBezTo>
                  <a:pt x="492420" y="110082"/>
                  <a:pt x="484751" y="108215"/>
                  <a:pt x="478377" y="104543"/>
                </a:cubicBezTo>
                <a:lnTo>
                  <a:pt x="478377" y="91413"/>
                </a:lnTo>
                <a:cubicBezTo>
                  <a:pt x="485150" y="95769"/>
                  <a:pt x="492819" y="98010"/>
                  <a:pt x="501384" y="98010"/>
                </a:cubicBezTo>
                <a:cubicBezTo>
                  <a:pt x="507559" y="98010"/>
                  <a:pt x="512738" y="96267"/>
                  <a:pt x="516922" y="92907"/>
                </a:cubicBezTo>
                <a:cubicBezTo>
                  <a:pt x="521105" y="89546"/>
                  <a:pt x="524341" y="84941"/>
                  <a:pt x="526632" y="79154"/>
                </a:cubicBezTo>
                <a:cubicBezTo>
                  <a:pt x="529023" y="73367"/>
                  <a:pt x="530467" y="66896"/>
                  <a:pt x="530965" y="59739"/>
                </a:cubicBezTo>
                <a:cubicBezTo>
                  <a:pt x="527877" y="63660"/>
                  <a:pt x="524192" y="66522"/>
                  <a:pt x="519909" y="68389"/>
                </a:cubicBezTo>
                <a:cubicBezTo>
                  <a:pt x="515627" y="70193"/>
                  <a:pt x="510995" y="71127"/>
                  <a:pt x="506015" y="71127"/>
                </a:cubicBezTo>
                <a:cubicBezTo>
                  <a:pt x="499641" y="71127"/>
                  <a:pt x="493864" y="69758"/>
                  <a:pt x="488685" y="67082"/>
                </a:cubicBezTo>
                <a:cubicBezTo>
                  <a:pt x="483506" y="64406"/>
                  <a:pt x="479373" y="60424"/>
                  <a:pt x="476285" y="55134"/>
                </a:cubicBezTo>
                <a:cubicBezTo>
                  <a:pt x="473297" y="49845"/>
                  <a:pt x="471803" y="43435"/>
                  <a:pt x="471803" y="35844"/>
                </a:cubicBezTo>
                <a:close/>
                <a:moveTo>
                  <a:pt x="507808" y="12134"/>
                </a:moveTo>
                <a:cubicBezTo>
                  <a:pt x="504023" y="12134"/>
                  <a:pt x="500438" y="13006"/>
                  <a:pt x="497052" y="14810"/>
                </a:cubicBezTo>
                <a:cubicBezTo>
                  <a:pt x="493765" y="16490"/>
                  <a:pt x="491076" y="19104"/>
                  <a:pt x="488984" y="22589"/>
                </a:cubicBezTo>
                <a:cubicBezTo>
                  <a:pt x="486992" y="25949"/>
                  <a:pt x="485996" y="30305"/>
                  <a:pt x="485996" y="35532"/>
                </a:cubicBezTo>
                <a:cubicBezTo>
                  <a:pt x="485996" y="40759"/>
                  <a:pt x="486992" y="45116"/>
                  <a:pt x="488984" y="48725"/>
                </a:cubicBezTo>
                <a:cubicBezTo>
                  <a:pt x="490976" y="52271"/>
                  <a:pt x="493516" y="54947"/>
                  <a:pt x="496603" y="56752"/>
                </a:cubicBezTo>
                <a:cubicBezTo>
                  <a:pt x="499691" y="58556"/>
                  <a:pt x="502928" y="59428"/>
                  <a:pt x="506314" y="59428"/>
                </a:cubicBezTo>
                <a:cubicBezTo>
                  <a:pt x="512888" y="59428"/>
                  <a:pt x="518366" y="57437"/>
                  <a:pt x="522748" y="53329"/>
                </a:cubicBezTo>
                <a:cubicBezTo>
                  <a:pt x="527230" y="49160"/>
                  <a:pt x="529471" y="43124"/>
                  <a:pt x="529471" y="35283"/>
                </a:cubicBezTo>
                <a:cubicBezTo>
                  <a:pt x="529471" y="28313"/>
                  <a:pt x="527529" y="22713"/>
                  <a:pt x="523644" y="18544"/>
                </a:cubicBezTo>
                <a:cubicBezTo>
                  <a:pt x="519760" y="14250"/>
                  <a:pt x="514481" y="12134"/>
                  <a:pt x="507808" y="12134"/>
                </a:cubicBezTo>
                <a:close/>
                <a:moveTo>
                  <a:pt x="612505" y="108588"/>
                </a:moveTo>
                <a:lnTo>
                  <a:pt x="599358" y="108588"/>
                </a:lnTo>
                <a:lnTo>
                  <a:pt x="599358" y="83199"/>
                </a:lnTo>
                <a:lnTo>
                  <a:pt x="553045" y="83199"/>
                </a:lnTo>
                <a:lnTo>
                  <a:pt x="553045" y="73927"/>
                </a:lnTo>
                <a:lnTo>
                  <a:pt x="594876" y="1493"/>
                </a:lnTo>
                <a:lnTo>
                  <a:pt x="612505" y="1493"/>
                </a:lnTo>
                <a:lnTo>
                  <a:pt x="612505" y="71873"/>
                </a:lnTo>
                <a:lnTo>
                  <a:pt x="626996" y="71873"/>
                </a:lnTo>
                <a:lnTo>
                  <a:pt x="626996" y="83199"/>
                </a:lnTo>
                <a:lnTo>
                  <a:pt x="612505" y="83199"/>
                </a:lnTo>
                <a:lnTo>
                  <a:pt x="612505" y="108588"/>
                </a:lnTo>
                <a:close/>
                <a:moveTo>
                  <a:pt x="566640" y="71873"/>
                </a:moveTo>
                <a:lnTo>
                  <a:pt x="599358" y="71873"/>
                </a:lnTo>
                <a:lnTo>
                  <a:pt x="599358" y="16117"/>
                </a:lnTo>
                <a:lnTo>
                  <a:pt x="566640" y="7187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5" name="Полилиния 1034">
            <a:extLst>
              <a:ext uri="{FF2B5EF4-FFF2-40B4-BE49-F238E27FC236}">
                <a16:creationId xmlns:a16="http://schemas.microsoft.com/office/drawing/2014/main" id="{F768954D-431C-B406-B32C-FE21A523501E}"/>
              </a:ext>
            </a:extLst>
          </p:cNvPr>
          <p:cNvSpPr/>
          <p:nvPr userDrawn="1"/>
        </p:nvSpPr>
        <p:spPr>
          <a:xfrm>
            <a:off x="15359119" y="8871205"/>
            <a:ext cx="1398954" cy="726227"/>
          </a:xfrm>
          <a:custGeom>
            <a:avLst/>
            <a:gdLst>
              <a:gd name="connsiteX0" fmla="*/ 425 w 1198727"/>
              <a:gd name="connsiteY0" fmla="*/ 1722 h 622284"/>
              <a:gd name="connsiteX1" fmla="*/ 1199153 w 1198727"/>
              <a:gd name="connsiteY1" fmla="*/ 1722 h 622284"/>
              <a:gd name="connsiteX2" fmla="*/ 1199153 w 1198727"/>
              <a:gd name="connsiteY2" fmla="*/ 624006 h 622284"/>
              <a:gd name="connsiteX3" fmla="*/ 425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722"/>
                </a:moveTo>
                <a:lnTo>
                  <a:pt x="1199153" y="1722"/>
                </a:lnTo>
                <a:lnTo>
                  <a:pt x="1199153" y="624006"/>
                </a:lnTo>
                <a:lnTo>
                  <a:pt x="425" y="624006"/>
                </a:lnTo>
                <a:close/>
              </a:path>
            </a:pathLst>
          </a:custGeom>
          <a:solidFill>
            <a:srgbClr val="D1FF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6" name="Полилиния 1035">
            <a:extLst>
              <a:ext uri="{FF2B5EF4-FFF2-40B4-BE49-F238E27FC236}">
                <a16:creationId xmlns:a16="http://schemas.microsoft.com/office/drawing/2014/main" id="{C4F5890E-A982-B620-FCE3-2547E222CD86}"/>
              </a:ext>
            </a:extLst>
          </p:cNvPr>
          <p:cNvSpPr/>
          <p:nvPr userDrawn="1"/>
        </p:nvSpPr>
        <p:spPr>
          <a:xfrm>
            <a:off x="15482328" y="9174695"/>
            <a:ext cx="731725" cy="124982"/>
          </a:xfrm>
          <a:custGeom>
            <a:avLst/>
            <a:gdLst>
              <a:gd name="connsiteX0" fmla="*/ 22111 w 626996"/>
              <a:gd name="connsiteY0" fmla="*/ 107095 h 107094"/>
              <a:gd name="connsiteX1" fmla="*/ 10159 w 626996"/>
              <a:gd name="connsiteY1" fmla="*/ 107095 h 107094"/>
              <a:gd name="connsiteX2" fmla="*/ 16434 w 626996"/>
              <a:gd name="connsiteY2" fmla="*/ 76168 h 107094"/>
              <a:gd name="connsiteX3" fmla="*/ 0 w 626996"/>
              <a:gd name="connsiteY3" fmla="*/ 76168 h 107094"/>
              <a:gd name="connsiteX4" fmla="*/ 0 w 626996"/>
              <a:gd name="connsiteY4" fmla="*/ 65713 h 107094"/>
              <a:gd name="connsiteX5" fmla="*/ 18675 w 626996"/>
              <a:gd name="connsiteY5" fmla="*/ 65713 h 107094"/>
              <a:gd name="connsiteX6" fmla="*/ 24202 w 626996"/>
              <a:gd name="connsiteY6" fmla="*/ 38519 h 107094"/>
              <a:gd name="connsiteX7" fmla="*/ 4034 w 626996"/>
              <a:gd name="connsiteY7" fmla="*/ 38519 h 107094"/>
              <a:gd name="connsiteX8" fmla="*/ 4034 w 626996"/>
              <a:gd name="connsiteY8" fmla="*/ 28065 h 107094"/>
              <a:gd name="connsiteX9" fmla="*/ 26294 w 626996"/>
              <a:gd name="connsiteY9" fmla="*/ 28065 h 107094"/>
              <a:gd name="connsiteX10" fmla="*/ 32120 w 626996"/>
              <a:gd name="connsiteY10" fmla="*/ 0 h 107094"/>
              <a:gd name="connsiteX11" fmla="*/ 44072 w 626996"/>
              <a:gd name="connsiteY11" fmla="*/ 0 h 107094"/>
              <a:gd name="connsiteX12" fmla="*/ 38246 w 626996"/>
              <a:gd name="connsiteY12" fmla="*/ 28065 h 107094"/>
              <a:gd name="connsiteX13" fmla="*/ 60655 w 626996"/>
              <a:gd name="connsiteY13" fmla="*/ 28065 h 107094"/>
              <a:gd name="connsiteX14" fmla="*/ 66482 w 626996"/>
              <a:gd name="connsiteY14" fmla="*/ 0 h 107094"/>
              <a:gd name="connsiteX15" fmla="*/ 78434 w 626996"/>
              <a:gd name="connsiteY15" fmla="*/ 0 h 107094"/>
              <a:gd name="connsiteX16" fmla="*/ 72607 w 626996"/>
              <a:gd name="connsiteY16" fmla="*/ 28065 h 107094"/>
              <a:gd name="connsiteX17" fmla="*/ 89340 w 626996"/>
              <a:gd name="connsiteY17" fmla="*/ 28065 h 107094"/>
              <a:gd name="connsiteX18" fmla="*/ 89340 w 626996"/>
              <a:gd name="connsiteY18" fmla="*/ 38519 h 107094"/>
              <a:gd name="connsiteX19" fmla="*/ 70515 w 626996"/>
              <a:gd name="connsiteY19" fmla="*/ 38519 h 107094"/>
              <a:gd name="connsiteX20" fmla="*/ 64988 w 626996"/>
              <a:gd name="connsiteY20" fmla="*/ 65713 h 107094"/>
              <a:gd name="connsiteX21" fmla="*/ 85306 w 626996"/>
              <a:gd name="connsiteY21" fmla="*/ 65713 h 107094"/>
              <a:gd name="connsiteX22" fmla="*/ 85306 w 626996"/>
              <a:gd name="connsiteY22" fmla="*/ 76168 h 107094"/>
              <a:gd name="connsiteX23" fmla="*/ 62747 w 626996"/>
              <a:gd name="connsiteY23" fmla="*/ 76168 h 107094"/>
              <a:gd name="connsiteX24" fmla="*/ 56472 w 626996"/>
              <a:gd name="connsiteY24" fmla="*/ 107095 h 107094"/>
              <a:gd name="connsiteX25" fmla="*/ 44520 w 626996"/>
              <a:gd name="connsiteY25" fmla="*/ 107095 h 107094"/>
              <a:gd name="connsiteX26" fmla="*/ 50795 w 626996"/>
              <a:gd name="connsiteY26" fmla="*/ 76168 h 107094"/>
              <a:gd name="connsiteX27" fmla="*/ 28386 w 626996"/>
              <a:gd name="connsiteY27" fmla="*/ 76168 h 107094"/>
              <a:gd name="connsiteX28" fmla="*/ 22111 w 626996"/>
              <a:gd name="connsiteY28" fmla="*/ 107095 h 107094"/>
              <a:gd name="connsiteX29" fmla="*/ 30626 w 626996"/>
              <a:gd name="connsiteY29" fmla="*/ 65713 h 107094"/>
              <a:gd name="connsiteX30" fmla="*/ 53036 w 626996"/>
              <a:gd name="connsiteY30" fmla="*/ 65713 h 107094"/>
              <a:gd name="connsiteX31" fmla="*/ 58564 w 626996"/>
              <a:gd name="connsiteY31" fmla="*/ 38519 h 107094"/>
              <a:gd name="connsiteX32" fmla="*/ 36154 w 626996"/>
              <a:gd name="connsiteY32" fmla="*/ 38519 h 107094"/>
              <a:gd name="connsiteX33" fmla="*/ 30626 w 626996"/>
              <a:gd name="connsiteY33" fmla="*/ 65713 h 107094"/>
              <a:gd name="connsiteX34" fmla="*/ 107821 w 626996"/>
              <a:gd name="connsiteY34" fmla="*/ 0 h 107094"/>
              <a:gd name="connsiteX35" fmla="*/ 143826 w 626996"/>
              <a:gd name="connsiteY35" fmla="*/ 0 h 107094"/>
              <a:gd name="connsiteX36" fmla="*/ 163845 w 626996"/>
              <a:gd name="connsiteY36" fmla="*/ 2551 h 107094"/>
              <a:gd name="connsiteX37" fmla="*/ 179980 w 626996"/>
              <a:gd name="connsiteY37" fmla="*/ 10890 h 107094"/>
              <a:gd name="connsiteX38" fmla="*/ 190737 w 626996"/>
              <a:gd name="connsiteY38" fmla="*/ 26136 h 107094"/>
              <a:gd name="connsiteX39" fmla="*/ 194621 w 626996"/>
              <a:gd name="connsiteY39" fmla="*/ 49907 h 107094"/>
              <a:gd name="connsiteX40" fmla="*/ 187749 w 626996"/>
              <a:gd name="connsiteY40" fmla="*/ 81581 h 107094"/>
              <a:gd name="connsiteX41" fmla="*/ 169224 w 626996"/>
              <a:gd name="connsiteY41" fmla="*/ 100685 h 107094"/>
              <a:gd name="connsiteX42" fmla="*/ 142183 w 626996"/>
              <a:gd name="connsiteY42" fmla="*/ 107095 h 107094"/>
              <a:gd name="connsiteX43" fmla="*/ 107821 w 626996"/>
              <a:gd name="connsiteY43" fmla="*/ 107095 h 107094"/>
              <a:gd name="connsiteX44" fmla="*/ 107821 w 626996"/>
              <a:gd name="connsiteY44" fmla="*/ 0 h 107094"/>
              <a:gd name="connsiteX45" fmla="*/ 142183 w 626996"/>
              <a:gd name="connsiteY45" fmla="*/ 94400 h 107094"/>
              <a:gd name="connsiteX46" fmla="*/ 161604 w 626996"/>
              <a:gd name="connsiteY46" fmla="*/ 89920 h 107094"/>
              <a:gd name="connsiteX47" fmla="*/ 174602 w 626996"/>
              <a:gd name="connsiteY47" fmla="*/ 75732 h 107094"/>
              <a:gd name="connsiteX48" fmla="*/ 179383 w 626996"/>
              <a:gd name="connsiteY48" fmla="*/ 50965 h 107094"/>
              <a:gd name="connsiteX49" fmla="*/ 174751 w 626996"/>
              <a:gd name="connsiteY49" fmla="*/ 27629 h 107094"/>
              <a:gd name="connsiteX50" fmla="*/ 162053 w 626996"/>
              <a:gd name="connsiteY50" fmla="*/ 16117 h 107094"/>
              <a:gd name="connsiteX51" fmla="*/ 143826 w 626996"/>
              <a:gd name="connsiteY51" fmla="*/ 12881 h 107094"/>
              <a:gd name="connsiteX52" fmla="*/ 121865 w 626996"/>
              <a:gd name="connsiteY52" fmla="*/ 12881 h 107094"/>
              <a:gd name="connsiteX53" fmla="*/ 121865 w 626996"/>
              <a:gd name="connsiteY53" fmla="*/ 94400 h 107094"/>
              <a:gd name="connsiteX54" fmla="*/ 142183 w 626996"/>
              <a:gd name="connsiteY54" fmla="*/ 94400 h 107094"/>
              <a:gd name="connsiteX55" fmla="*/ 256335 w 626996"/>
              <a:gd name="connsiteY55" fmla="*/ 107095 h 107094"/>
              <a:gd name="connsiteX56" fmla="*/ 242740 w 626996"/>
              <a:gd name="connsiteY56" fmla="*/ 107095 h 107094"/>
              <a:gd name="connsiteX57" fmla="*/ 242740 w 626996"/>
              <a:gd name="connsiteY57" fmla="*/ 16864 h 107094"/>
              <a:gd name="connsiteX58" fmla="*/ 213159 w 626996"/>
              <a:gd name="connsiteY58" fmla="*/ 39577 h 107094"/>
              <a:gd name="connsiteX59" fmla="*/ 213159 w 626996"/>
              <a:gd name="connsiteY59" fmla="*/ 24518 h 107094"/>
              <a:gd name="connsiteX60" fmla="*/ 244981 w 626996"/>
              <a:gd name="connsiteY60" fmla="*/ 0 h 107094"/>
              <a:gd name="connsiteX61" fmla="*/ 256335 w 626996"/>
              <a:gd name="connsiteY61" fmla="*/ 0 h 107094"/>
              <a:gd name="connsiteX62" fmla="*/ 256335 w 626996"/>
              <a:gd name="connsiteY62" fmla="*/ 107095 h 107094"/>
              <a:gd name="connsiteX63" fmla="*/ 295446 w 626996"/>
              <a:gd name="connsiteY63" fmla="*/ 0 h 107094"/>
              <a:gd name="connsiteX64" fmla="*/ 360882 w 626996"/>
              <a:gd name="connsiteY64" fmla="*/ 0 h 107094"/>
              <a:gd name="connsiteX65" fmla="*/ 360882 w 626996"/>
              <a:gd name="connsiteY65" fmla="*/ 12881 h 107094"/>
              <a:gd name="connsiteX66" fmla="*/ 309489 w 626996"/>
              <a:gd name="connsiteY66" fmla="*/ 12881 h 107094"/>
              <a:gd name="connsiteX67" fmla="*/ 309489 w 626996"/>
              <a:gd name="connsiteY67" fmla="*/ 48413 h 107094"/>
              <a:gd name="connsiteX68" fmla="*/ 353113 w 626996"/>
              <a:gd name="connsiteY68" fmla="*/ 48413 h 107094"/>
              <a:gd name="connsiteX69" fmla="*/ 353113 w 626996"/>
              <a:gd name="connsiteY69" fmla="*/ 61108 h 107094"/>
              <a:gd name="connsiteX70" fmla="*/ 309489 w 626996"/>
              <a:gd name="connsiteY70" fmla="*/ 61108 h 107094"/>
              <a:gd name="connsiteX71" fmla="*/ 309489 w 626996"/>
              <a:gd name="connsiteY71" fmla="*/ 107095 h 107094"/>
              <a:gd name="connsiteX72" fmla="*/ 295446 w 626996"/>
              <a:gd name="connsiteY72" fmla="*/ 107095 h 107094"/>
              <a:gd name="connsiteX73" fmla="*/ 295446 w 626996"/>
              <a:gd name="connsiteY73" fmla="*/ 0 h 107094"/>
              <a:gd name="connsiteX74" fmla="*/ 380360 w 626996"/>
              <a:gd name="connsiteY74" fmla="*/ 0 h 107094"/>
              <a:gd name="connsiteX75" fmla="*/ 445796 w 626996"/>
              <a:gd name="connsiteY75" fmla="*/ 0 h 107094"/>
              <a:gd name="connsiteX76" fmla="*/ 445796 w 626996"/>
              <a:gd name="connsiteY76" fmla="*/ 12881 h 107094"/>
              <a:gd name="connsiteX77" fmla="*/ 394403 w 626996"/>
              <a:gd name="connsiteY77" fmla="*/ 12881 h 107094"/>
              <a:gd name="connsiteX78" fmla="*/ 394403 w 626996"/>
              <a:gd name="connsiteY78" fmla="*/ 48413 h 107094"/>
              <a:gd name="connsiteX79" fmla="*/ 438027 w 626996"/>
              <a:gd name="connsiteY79" fmla="*/ 48413 h 107094"/>
              <a:gd name="connsiteX80" fmla="*/ 438027 w 626996"/>
              <a:gd name="connsiteY80" fmla="*/ 61108 h 107094"/>
              <a:gd name="connsiteX81" fmla="*/ 394403 w 626996"/>
              <a:gd name="connsiteY81" fmla="*/ 61108 h 107094"/>
              <a:gd name="connsiteX82" fmla="*/ 394403 w 626996"/>
              <a:gd name="connsiteY82" fmla="*/ 107095 h 107094"/>
              <a:gd name="connsiteX83" fmla="*/ 380360 w 626996"/>
              <a:gd name="connsiteY83" fmla="*/ 107095 h 107094"/>
              <a:gd name="connsiteX84" fmla="*/ 380360 w 626996"/>
              <a:gd name="connsiteY84" fmla="*/ 0 h 107094"/>
              <a:gd name="connsiteX85" fmla="*/ 465267 w 626996"/>
              <a:gd name="connsiteY85" fmla="*/ 0 h 107094"/>
              <a:gd name="connsiteX86" fmla="*/ 501571 w 626996"/>
              <a:gd name="connsiteY86" fmla="*/ 0 h 107094"/>
              <a:gd name="connsiteX87" fmla="*/ 528313 w 626996"/>
              <a:gd name="connsiteY87" fmla="*/ 5974 h 107094"/>
              <a:gd name="connsiteX88" fmla="*/ 537576 w 626996"/>
              <a:gd name="connsiteY88" fmla="*/ 26136 h 107094"/>
              <a:gd name="connsiteX89" fmla="*/ 531749 w 626996"/>
              <a:gd name="connsiteY89" fmla="*/ 43622 h 107094"/>
              <a:gd name="connsiteX90" fmla="*/ 516212 w 626996"/>
              <a:gd name="connsiteY90" fmla="*/ 51525 h 107094"/>
              <a:gd name="connsiteX91" fmla="*/ 535036 w 626996"/>
              <a:gd name="connsiteY91" fmla="*/ 58868 h 107094"/>
              <a:gd name="connsiteX92" fmla="*/ 541460 w 626996"/>
              <a:gd name="connsiteY92" fmla="*/ 76168 h 107094"/>
              <a:gd name="connsiteX93" fmla="*/ 536231 w 626996"/>
              <a:gd name="connsiteY93" fmla="*/ 94089 h 107094"/>
              <a:gd name="connsiteX94" fmla="*/ 521889 w 626996"/>
              <a:gd name="connsiteY94" fmla="*/ 104108 h 107094"/>
              <a:gd name="connsiteX95" fmla="*/ 501272 w 626996"/>
              <a:gd name="connsiteY95" fmla="*/ 107095 h 107094"/>
              <a:gd name="connsiteX96" fmla="*/ 465267 w 626996"/>
              <a:gd name="connsiteY96" fmla="*/ 107095 h 107094"/>
              <a:gd name="connsiteX97" fmla="*/ 465267 w 626996"/>
              <a:gd name="connsiteY97" fmla="*/ 0 h 107094"/>
              <a:gd name="connsiteX98" fmla="*/ 500525 w 626996"/>
              <a:gd name="connsiteY98" fmla="*/ 45738 h 107094"/>
              <a:gd name="connsiteX99" fmla="*/ 516959 w 626996"/>
              <a:gd name="connsiteY99" fmla="*/ 41257 h 107094"/>
              <a:gd name="connsiteX100" fmla="*/ 523383 w 626996"/>
              <a:gd name="connsiteY100" fmla="*/ 26882 h 107094"/>
              <a:gd name="connsiteX101" fmla="*/ 517706 w 626996"/>
              <a:gd name="connsiteY101" fmla="*/ 15868 h 107094"/>
              <a:gd name="connsiteX102" fmla="*/ 501571 w 626996"/>
              <a:gd name="connsiteY102" fmla="*/ 12881 h 107094"/>
              <a:gd name="connsiteX103" fmla="*/ 479310 w 626996"/>
              <a:gd name="connsiteY103" fmla="*/ 12881 h 107094"/>
              <a:gd name="connsiteX104" fmla="*/ 479310 w 626996"/>
              <a:gd name="connsiteY104" fmla="*/ 45738 h 107094"/>
              <a:gd name="connsiteX105" fmla="*/ 500525 w 626996"/>
              <a:gd name="connsiteY105" fmla="*/ 45738 h 107094"/>
              <a:gd name="connsiteX106" fmla="*/ 501272 w 626996"/>
              <a:gd name="connsiteY106" fmla="*/ 94400 h 107094"/>
              <a:gd name="connsiteX107" fmla="*/ 519648 w 626996"/>
              <a:gd name="connsiteY107" fmla="*/ 90542 h 107094"/>
              <a:gd name="connsiteX108" fmla="*/ 526670 w 626996"/>
              <a:gd name="connsiteY108" fmla="*/ 76478 h 107094"/>
              <a:gd name="connsiteX109" fmla="*/ 520096 w 626996"/>
              <a:gd name="connsiteY109" fmla="*/ 62415 h 107094"/>
              <a:gd name="connsiteX110" fmla="*/ 499629 w 626996"/>
              <a:gd name="connsiteY110" fmla="*/ 58433 h 107094"/>
              <a:gd name="connsiteX111" fmla="*/ 479310 w 626996"/>
              <a:gd name="connsiteY111" fmla="*/ 58433 h 107094"/>
              <a:gd name="connsiteX112" fmla="*/ 479310 w 626996"/>
              <a:gd name="connsiteY112" fmla="*/ 94400 h 107094"/>
              <a:gd name="connsiteX113" fmla="*/ 501272 w 626996"/>
              <a:gd name="connsiteY113" fmla="*/ 94400 h 107094"/>
              <a:gd name="connsiteX114" fmla="*/ 612505 w 626996"/>
              <a:gd name="connsiteY114" fmla="*/ 107095 h 107094"/>
              <a:gd name="connsiteX115" fmla="*/ 599358 w 626996"/>
              <a:gd name="connsiteY115" fmla="*/ 107095 h 107094"/>
              <a:gd name="connsiteX116" fmla="*/ 599358 w 626996"/>
              <a:gd name="connsiteY116" fmla="*/ 81706 h 107094"/>
              <a:gd name="connsiteX117" fmla="*/ 553045 w 626996"/>
              <a:gd name="connsiteY117" fmla="*/ 81706 h 107094"/>
              <a:gd name="connsiteX118" fmla="*/ 553045 w 626996"/>
              <a:gd name="connsiteY118" fmla="*/ 72434 h 107094"/>
              <a:gd name="connsiteX119" fmla="*/ 594876 w 626996"/>
              <a:gd name="connsiteY119" fmla="*/ 0 h 107094"/>
              <a:gd name="connsiteX120" fmla="*/ 612505 w 626996"/>
              <a:gd name="connsiteY120" fmla="*/ 0 h 107094"/>
              <a:gd name="connsiteX121" fmla="*/ 612505 w 626996"/>
              <a:gd name="connsiteY121" fmla="*/ 70380 h 107094"/>
              <a:gd name="connsiteX122" fmla="*/ 626996 w 626996"/>
              <a:gd name="connsiteY122" fmla="*/ 70380 h 107094"/>
              <a:gd name="connsiteX123" fmla="*/ 626996 w 626996"/>
              <a:gd name="connsiteY123" fmla="*/ 81706 h 107094"/>
              <a:gd name="connsiteX124" fmla="*/ 612505 w 626996"/>
              <a:gd name="connsiteY124" fmla="*/ 81706 h 107094"/>
              <a:gd name="connsiteX125" fmla="*/ 612505 w 626996"/>
              <a:gd name="connsiteY125" fmla="*/ 107095 h 107094"/>
              <a:gd name="connsiteX126" fmla="*/ 566640 w 626996"/>
              <a:gd name="connsiteY126" fmla="*/ 70380 h 107094"/>
              <a:gd name="connsiteX127" fmla="*/ 599358 w 626996"/>
              <a:gd name="connsiteY127" fmla="*/ 70380 h 107094"/>
              <a:gd name="connsiteX128" fmla="*/ 599358 w 626996"/>
              <a:gd name="connsiteY128" fmla="*/ 14624 h 107094"/>
              <a:gd name="connsiteX129" fmla="*/ 566640 w 626996"/>
              <a:gd name="connsiteY129" fmla="*/ 7038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626996" h="107094">
                <a:moveTo>
                  <a:pt x="22111" y="107095"/>
                </a:move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5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1" y="0"/>
                </a:moveTo>
                <a:lnTo>
                  <a:pt x="143826" y="0"/>
                </a:lnTo>
                <a:cubicBezTo>
                  <a:pt x="150997" y="0"/>
                  <a:pt x="157670" y="871"/>
                  <a:pt x="163845" y="2551"/>
                </a:cubicBezTo>
                <a:cubicBezTo>
                  <a:pt x="170020" y="4231"/>
                  <a:pt x="175399" y="7032"/>
                  <a:pt x="179980" y="10890"/>
                </a:cubicBezTo>
                <a:cubicBezTo>
                  <a:pt x="184562" y="14686"/>
                  <a:pt x="188147" y="19788"/>
                  <a:pt x="190737" y="26136"/>
                </a:cubicBezTo>
                <a:cubicBezTo>
                  <a:pt x="193326" y="32545"/>
                  <a:pt x="194621" y="40448"/>
                  <a:pt x="194621" y="49907"/>
                </a:cubicBezTo>
                <a:cubicBezTo>
                  <a:pt x="194621" y="62415"/>
                  <a:pt x="192330" y="72994"/>
                  <a:pt x="187749" y="81581"/>
                </a:cubicBezTo>
                <a:cubicBezTo>
                  <a:pt x="183267" y="90044"/>
                  <a:pt x="177092" y="96392"/>
                  <a:pt x="169224" y="100685"/>
                </a:cubicBezTo>
                <a:cubicBezTo>
                  <a:pt x="161355" y="104979"/>
                  <a:pt x="152342" y="107095"/>
                  <a:pt x="142183" y="107095"/>
                </a:cubicBezTo>
                <a:lnTo>
                  <a:pt x="107821" y="107095"/>
                </a:lnTo>
                <a:lnTo>
                  <a:pt x="107821" y="0"/>
                </a:lnTo>
                <a:close/>
                <a:moveTo>
                  <a:pt x="142183" y="94400"/>
                </a:moveTo>
                <a:cubicBezTo>
                  <a:pt x="149553" y="94400"/>
                  <a:pt x="156027" y="92907"/>
                  <a:pt x="161604" y="89920"/>
                </a:cubicBezTo>
                <a:cubicBezTo>
                  <a:pt x="167182" y="86808"/>
                  <a:pt x="171514" y="82079"/>
                  <a:pt x="174602" y="75732"/>
                </a:cubicBezTo>
                <a:cubicBezTo>
                  <a:pt x="177789" y="69260"/>
                  <a:pt x="179383" y="60983"/>
                  <a:pt x="179383" y="50965"/>
                </a:cubicBezTo>
                <a:cubicBezTo>
                  <a:pt x="179383" y="40884"/>
                  <a:pt x="177839" y="33105"/>
                  <a:pt x="174751" y="27629"/>
                </a:cubicBezTo>
                <a:cubicBezTo>
                  <a:pt x="171664" y="22153"/>
                  <a:pt x="167431" y="18357"/>
                  <a:pt x="162053" y="16117"/>
                </a:cubicBezTo>
                <a:cubicBezTo>
                  <a:pt x="156774" y="13939"/>
                  <a:pt x="150698" y="12881"/>
                  <a:pt x="143826" y="12881"/>
                </a:cubicBezTo>
                <a:lnTo>
                  <a:pt x="121865" y="12881"/>
                </a:lnTo>
                <a:lnTo>
                  <a:pt x="121865" y="94400"/>
                </a:lnTo>
                <a:lnTo>
                  <a:pt x="142183" y="94400"/>
                </a:lnTo>
                <a:close/>
                <a:moveTo>
                  <a:pt x="256335" y="107095"/>
                </a:moveTo>
                <a:lnTo>
                  <a:pt x="242740" y="107095"/>
                </a:lnTo>
                <a:lnTo>
                  <a:pt x="242740" y="16864"/>
                </a:lnTo>
                <a:lnTo>
                  <a:pt x="213159" y="39577"/>
                </a:lnTo>
                <a:lnTo>
                  <a:pt x="213159" y="24518"/>
                </a:lnTo>
                <a:lnTo>
                  <a:pt x="244981" y="0"/>
                </a:lnTo>
                <a:lnTo>
                  <a:pt x="256335" y="0"/>
                </a:lnTo>
                <a:lnTo>
                  <a:pt x="256335" y="107095"/>
                </a:lnTo>
                <a:close/>
                <a:moveTo>
                  <a:pt x="295446" y="0"/>
                </a:moveTo>
                <a:lnTo>
                  <a:pt x="360882" y="0"/>
                </a:lnTo>
                <a:lnTo>
                  <a:pt x="360882" y="12881"/>
                </a:lnTo>
                <a:lnTo>
                  <a:pt x="309489" y="12881"/>
                </a:lnTo>
                <a:lnTo>
                  <a:pt x="309489" y="48413"/>
                </a:lnTo>
                <a:lnTo>
                  <a:pt x="353113" y="48413"/>
                </a:lnTo>
                <a:lnTo>
                  <a:pt x="353113" y="61108"/>
                </a:lnTo>
                <a:lnTo>
                  <a:pt x="309489" y="61108"/>
                </a:lnTo>
                <a:lnTo>
                  <a:pt x="309489" y="107095"/>
                </a:lnTo>
                <a:lnTo>
                  <a:pt x="295446" y="107095"/>
                </a:lnTo>
                <a:lnTo>
                  <a:pt x="295446" y="0"/>
                </a:lnTo>
                <a:close/>
                <a:moveTo>
                  <a:pt x="380360" y="0"/>
                </a:moveTo>
                <a:lnTo>
                  <a:pt x="445796" y="0"/>
                </a:lnTo>
                <a:lnTo>
                  <a:pt x="445796" y="12881"/>
                </a:lnTo>
                <a:lnTo>
                  <a:pt x="394403" y="12881"/>
                </a:lnTo>
                <a:lnTo>
                  <a:pt x="394403" y="48413"/>
                </a:lnTo>
                <a:lnTo>
                  <a:pt x="438027" y="48413"/>
                </a:lnTo>
                <a:lnTo>
                  <a:pt x="438027" y="61108"/>
                </a:lnTo>
                <a:lnTo>
                  <a:pt x="394403" y="61108"/>
                </a:lnTo>
                <a:lnTo>
                  <a:pt x="394403" y="107095"/>
                </a:lnTo>
                <a:lnTo>
                  <a:pt x="380360" y="107095"/>
                </a:lnTo>
                <a:lnTo>
                  <a:pt x="380360" y="0"/>
                </a:lnTo>
                <a:close/>
                <a:moveTo>
                  <a:pt x="465267" y="0"/>
                </a:moveTo>
                <a:lnTo>
                  <a:pt x="501571" y="0"/>
                </a:lnTo>
                <a:cubicBezTo>
                  <a:pt x="513324" y="0"/>
                  <a:pt x="522237" y="1991"/>
                  <a:pt x="528313" y="5974"/>
                </a:cubicBezTo>
                <a:cubicBezTo>
                  <a:pt x="534488" y="9956"/>
                  <a:pt x="537576" y="16677"/>
                  <a:pt x="537576" y="26136"/>
                </a:cubicBezTo>
                <a:cubicBezTo>
                  <a:pt x="537576" y="33790"/>
                  <a:pt x="535634" y="39639"/>
                  <a:pt x="531749" y="43622"/>
                </a:cubicBezTo>
                <a:cubicBezTo>
                  <a:pt x="527865" y="47480"/>
                  <a:pt x="522686" y="50156"/>
                  <a:pt x="516212" y="51525"/>
                </a:cubicBezTo>
                <a:cubicBezTo>
                  <a:pt x="524479" y="52520"/>
                  <a:pt x="530753" y="54947"/>
                  <a:pt x="535036" y="58868"/>
                </a:cubicBezTo>
                <a:cubicBezTo>
                  <a:pt x="539319" y="62664"/>
                  <a:pt x="541460" y="68389"/>
                  <a:pt x="541460" y="76168"/>
                </a:cubicBezTo>
                <a:cubicBezTo>
                  <a:pt x="541460" y="83572"/>
                  <a:pt x="539717" y="89547"/>
                  <a:pt x="536231" y="94089"/>
                </a:cubicBezTo>
                <a:cubicBezTo>
                  <a:pt x="532745" y="98694"/>
                  <a:pt x="527964" y="101992"/>
                  <a:pt x="521889" y="104108"/>
                </a:cubicBezTo>
                <a:cubicBezTo>
                  <a:pt x="515813" y="106099"/>
                  <a:pt x="508941" y="107095"/>
                  <a:pt x="501272" y="107095"/>
                </a:cubicBezTo>
                <a:lnTo>
                  <a:pt x="465267" y="107095"/>
                </a:lnTo>
                <a:lnTo>
                  <a:pt x="465267" y="0"/>
                </a:lnTo>
                <a:close/>
                <a:moveTo>
                  <a:pt x="500525" y="45738"/>
                </a:moveTo>
                <a:cubicBezTo>
                  <a:pt x="507298" y="45738"/>
                  <a:pt x="512776" y="44244"/>
                  <a:pt x="516959" y="41257"/>
                </a:cubicBezTo>
                <a:cubicBezTo>
                  <a:pt x="521241" y="38146"/>
                  <a:pt x="523383" y="33354"/>
                  <a:pt x="523383" y="26882"/>
                </a:cubicBezTo>
                <a:cubicBezTo>
                  <a:pt x="523383" y="21406"/>
                  <a:pt x="521490" y="17735"/>
                  <a:pt x="517706" y="15868"/>
                </a:cubicBezTo>
                <a:cubicBezTo>
                  <a:pt x="513921" y="13877"/>
                  <a:pt x="508543" y="12881"/>
                  <a:pt x="501571" y="12881"/>
                </a:cubicBezTo>
                <a:lnTo>
                  <a:pt x="479310" y="12881"/>
                </a:lnTo>
                <a:lnTo>
                  <a:pt x="479310" y="45738"/>
                </a:lnTo>
                <a:lnTo>
                  <a:pt x="500525" y="45738"/>
                </a:lnTo>
                <a:close/>
                <a:moveTo>
                  <a:pt x="501272" y="94400"/>
                </a:moveTo>
                <a:cubicBezTo>
                  <a:pt x="508841" y="94400"/>
                  <a:pt x="514967" y="93093"/>
                  <a:pt x="519648" y="90542"/>
                </a:cubicBezTo>
                <a:cubicBezTo>
                  <a:pt x="524329" y="87929"/>
                  <a:pt x="526670" y="83262"/>
                  <a:pt x="526670" y="76478"/>
                </a:cubicBezTo>
                <a:cubicBezTo>
                  <a:pt x="526670" y="69696"/>
                  <a:pt x="524479" y="65028"/>
                  <a:pt x="520096" y="62415"/>
                </a:cubicBezTo>
                <a:cubicBezTo>
                  <a:pt x="515813" y="59739"/>
                  <a:pt x="508991" y="58433"/>
                  <a:pt x="499629" y="58433"/>
                </a:cubicBezTo>
                <a:lnTo>
                  <a:pt x="479310" y="58433"/>
                </a:lnTo>
                <a:lnTo>
                  <a:pt x="479310" y="94400"/>
                </a:lnTo>
                <a:lnTo>
                  <a:pt x="501272" y="94400"/>
                </a:lnTo>
                <a:close/>
                <a:moveTo>
                  <a:pt x="612505" y="107095"/>
                </a:moveTo>
                <a:lnTo>
                  <a:pt x="599358" y="107095"/>
                </a:lnTo>
                <a:lnTo>
                  <a:pt x="599358" y="81706"/>
                </a:lnTo>
                <a:lnTo>
                  <a:pt x="553045" y="81706"/>
                </a:lnTo>
                <a:lnTo>
                  <a:pt x="553045" y="72434"/>
                </a:lnTo>
                <a:lnTo>
                  <a:pt x="594876" y="0"/>
                </a:lnTo>
                <a:lnTo>
                  <a:pt x="612505" y="0"/>
                </a:lnTo>
                <a:lnTo>
                  <a:pt x="612505" y="70380"/>
                </a:lnTo>
                <a:lnTo>
                  <a:pt x="626996" y="70380"/>
                </a:lnTo>
                <a:lnTo>
                  <a:pt x="626996" y="81706"/>
                </a:lnTo>
                <a:lnTo>
                  <a:pt x="612505" y="81706"/>
                </a:lnTo>
                <a:lnTo>
                  <a:pt x="612505" y="107095"/>
                </a:lnTo>
                <a:close/>
                <a:moveTo>
                  <a:pt x="566640" y="70380"/>
                </a:moveTo>
                <a:lnTo>
                  <a:pt x="599358" y="70380"/>
                </a:lnTo>
                <a:lnTo>
                  <a:pt x="599358" y="14624"/>
                </a:lnTo>
                <a:lnTo>
                  <a:pt x="566640" y="7038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7" name="Полилиния 1036">
            <a:extLst>
              <a:ext uri="{FF2B5EF4-FFF2-40B4-BE49-F238E27FC236}">
                <a16:creationId xmlns:a16="http://schemas.microsoft.com/office/drawing/2014/main" id="{E558AF6D-5DB4-3F1D-3BC8-353A2BEA548D}"/>
              </a:ext>
            </a:extLst>
          </p:cNvPr>
          <p:cNvSpPr/>
          <p:nvPr userDrawn="1"/>
        </p:nvSpPr>
        <p:spPr>
          <a:xfrm>
            <a:off x="15359119" y="9597431"/>
            <a:ext cx="1398954" cy="726227"/>
          </a:xfrm>
          <a:custGeom>
            <a:avLst/>
            <a:gdLst>
              <a:gd name="connsiteX0" fmla="*/ 425 w 1198727"/>
              <a:gd name="connsiteY0" fmla="*/ 1822 h 622284"/>
              <a:gd name="connsiteX1" fmla="*/ 1199153 w 1198727"/>
              <a:gd name="connsiteY1" fmla="*/ 1822 h 622284"/>
              <a:gd name="connsiteX2" fmla="*/ 1199153 w 1198727"/>
              <a:gd name="connsiteY2" fmla="*/ 624106 h 622284"/>
              <a:gd name="connsiteX3" fmla="*/ 425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822"/>
                </a:moveTo>
                <a:lnTo>
                  <a:pt x="1199153" y="1822"/>
                </a:lnTo>
                <a:lnTo>
                  <a:pt x="1199153" y="624106"/>
                </a:lnTo>
                <a:lnTo>
                  <a:pt x="425" y="624106"/>
                </a:lnTo>
                <a:close/>
              </a:path>
            </a:pathLst>
          </a:custGeom>
          <a:solidFill>
            <a:srgbClr val="E3FFD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8" name="Полилиния 1037">
            <a:extLst>
              <a:ext uri="{FF2B5EF4-FFF2-40B4-BE49-F238E27FC236}">
                <a16:creationId xmlns:a16="http://schemas.microsoft.com/office/drawing/2014/main" id="{40A7D74D-0563-9EB3-DC4D-0AFF894C4FA5}"/>
              </a:ext>
            </a:extLst>
          </p:cNvPr>
          <p:cNvSpPr/>
          <p:nvPr userDrawn="1"/>
        </p:nvSpPr>
        <p:spPr>
          <a:xfrm>
            <a:off x="15482328" y="9899178"/>
            <a:ext cx="697399" cy="128468"/>
          </a:xfrm>
          <a:custGeom>
            <a:avLst/>
            <a:gdLst>
              <a:gd name="connsiteX0" fmla="*/ 22111 w 597583"/>
              <a:gd name="connsiteY0" fmla="*/ 108588 h 110081"/>
              <a:gd name="connsiteX1" fmla="*/ 10159 w 597583"/>
              <a:gd name="connsiteY1" fmla="*/ 108588 h 110081"/>
              <a:gd name="connsiteX2" fmla="*/ 16434 w 597583"/>
              <a:gd name="connsiteY2" fmla="*/ 77661 h 110081"/>
              <a:gd name="connsiteX3" fmla="*/ 0 w 597583"/>
              <a:gd name="connsiteY3" fmla="*/ 77661 h 110081"/>
              <a:gd name="connsiteX4" fmla="*/ 0 w 597583"/>
              <a:gd name="connsiteY4" fmla="*/ 67206 h 110081"/>
              <a:gd name="connsiteX5" fmla="*/ 18675 w 597583"/>
              <a:gd name="connsiteY5" fmla="*/ 67206 h 110081"/>
              <a:gd name="connsiteX6" fmla="*/ 24202 w 597583"/>
              <a:gd name="connsiteY6" fmla="*/ 40012 h 110081"/>
              <a:gd name="connsiteX7" fmla="*/ 4034 w 597583"/>
              <a:gd name="connsiteY7" fmla="*/ 40012 h 110081"/>
              <a:gd name="connsiteX8" fmla="*/ 4034 w 597583"/>
              <a:gd name="connsiteY8" fmla="*/ 29559 h 110081"/>
              <a:gd name="connsiteX9" fmla="*/ 26294 w 597583"/>
              <a:gd name="connsiteY9" fmla="*/ 29559 h 110081"/>
              <a:gd name="connsiteX10" fmla="*/ 32120 w 597583"/>
              <a:gd name="connsiteY10" fmla="*/ 1493 h 110081"/>
              <a:gd name="connsiteX11" fmla="*/ 44072 w 597583"/>
              <a:gd name="connsiteY11" fmla="*/ 1493 h 110081"/>
              <a:gd name="connsiteX12" fmla="*/ 38246 w 597583"/>
              <a:gd name="connsiteY12" fmla="*/ 29559 h 110081"/>
              <a:gd name="connsiteX13" fmla="*/ 60655 w 597583"/>
              <a:gd name="connsiteY13" fmla="*/ 29559 h 110081"/>
              <a:gd name="connsiteX14" fmla="*/ 66482 w 597583"/>
              <a:gd name="connsiteY14" fmla="*/ 1493 h 110081"/>
              <a:gd name="connsiteX15" fmla="*/ 78434 w 597583"/>
              <a:gd name="connsiteY15" fmla="*/ 1493 h 110081"/>
              <a:gd name="connsiteX16" fmla="*/ 72607 w 597583"/>
              <a:gd name="connsiteY16" fmla="*/ 29559 h 110081"/>
              <a:gd name="connsiteX17" fmla="*/ 89340 w 597583"/>
              <a:gd name="connsiteY17" fmla="*/ 29559 h 110081"/>
              <a:gd name="connsiteX18" fmla="*/ 89340 w 597583"/>
              <a:gd name="connsiteY18" fmla="*/ 40012 h 110081"/>
              <a:gd name="connsiteX19" fmla="*/ 70515 w 597583"/>
              <a:gd name="connsiteY19" fmla="*/ 40012 h 110081"/>
              <a:gd name="connsiteX20" fmla="*/ 64988 w 597583"/>
              <a:gd name="connsiteY20" fmla="*/ 67206 h 110081"/>
              <a:gd name="connsiteX21" fmla="*/ 85306 w 597583"/>
              <a:gd name="connsiteY21" fmla="*/ 67206 h 110081"/>
              <a:gd name="connsiteX22" fmla="*/ 85306 w 597583"/>
              <a:gd name="connsiteY22" fmla="*/ 77661 h 110081"/>
              <a:gd name="connsiteX23" fmla="*/ 62747 w 597583"/>
              <a:gd name="connsiteY23" fmla="*/ 77661 h 110081"/>
              <a:gd name="connsiteX24" fmla="*/ 56472 w 597583"/>
              <a:gd name="connsiteY24" fmla="*/ 108588 h 110081"/>
              <a:gd name="connsiteX25" fmla="*/ 44520 w 597583"/>
              <a:gd name="connsiteY25" fmla="*/ 108588 h 110081"/>
              <a:gd name="connsiteX26" fmla="*/ 50795 w 597583"/>
              <a:gd name="connsiteY26" fmla="*/ 77661 h 110081"/>
              <a:gd name="connsiteX27" fmla="*/ 28386 w 597583"/>
              <a:gd name="connsiteY27" fmla="*/ 77661 h 110081"/>
              <a:gd name="connsiteX28" fmla="*/ 22111 w 597583"/>
              <a:gd name="connsiteY28" fmla="*/ 108588 h 110081"/>
              <a:gd name="connsiteX29" fmla="*/ 30626 w 597583"/>
              <a:gd name="connsiteY29" fmla="*/ 67206 h 110081"/>
              <a:gd name="connsiteX30" fmla="*/ 53036 w 597583"/>
              <a:gd name="connsiteY30" fmla="*/ 67206 h 110081"/>
              <a:gd name="connsiteX31" fmla="*/ 58564 w 597583"/>
              <a:gd name="connsiteY31" fmla="*/ 40012 h 110081"/>
              <a:gd name="connsiteX32" fmla="*/ 36154 w 597583"/>
              <a:gd name="connsiteY32" fmla="*/ 40012 h 110081"/>
              <a:gd name="connsiteX33" fmla="*/ 30626 w 597583"/>
              <a:gd name="connsiteY33" fmla="*/ 67206 h 110081"/>
              <a:gd name="connsiteX34" fmla="*/ 107821 w 597583"/>
              <a:gd name="connsiteY34" fmla="*/ 1493 h 110081"/>
              <a:gd name="connsiteX35" fmla="*/ 174154 w 597583"/>
              <a:gd name="connsiteY35" fmla="*/ 1493 h 110081"/>
              <a:gd name="connsiteX36" fmla="*/ 174154 w 597583"/>
              <a:gd name="connsiteY36" fmla="*/ 14374 h 110081"/>
              <a:gd name="connsiteX37" fmla="*/ 121865 w 597583"/>
              <a:gd name="connsiteY37" fmla="*/ 14374 h 110081"/>
              <a:gd name="connsiteX38" fmla="*/ 121865 w 597583"/>
              <a:gd name="connsiteY38" fmla="*/ 46734 h 110081"/>
              <a:gd name="connsiteX39" fmla="*/ 166236 w 597583"/>
              <a:gd name="connsiteY39" fmla="*/ 46734 h 110081"/>
              <a:gd name="connsiteX40" fmla="*/ 166236 w 597583"/>
              <a:gd name="connsiteY40" fmla="*/ 59428 h 110081"/>
              <a:gd name="connsiteX41" fmla="*/ 121865 w 597583"/>
              <a:gd name="connsiteY41" fmla="*/ 59428 h 110081"/>
              <a:gd name="connsiteX42" fmla="*/ 121865 w 597583"/>
              <a:gd name="connsiteY42" fmla="*/ 95893 h 110081"/>
              <a:gd name="connsiteX43" fmla="*/ 174901 w 597583"/>
              <a:gd name="connsiteY43" fmla="*/ 95893 h 110081"/>
              <a:gd name="connsiteX44" fmla="*/ 174901 w 597583"/>
              <a:gd name="connsiteY44" fmla="*/ 108588 h 110081"/>
              <a:gd name="connsiteX45" fmla="*/ 107821 w 597583"/>
              <a:gd name="connsiteY45" fmla="*/ 108588 h 110081"/>
              <a:gd name="connsiteX46" fmla="*/ 107821 w 597583"/>
              <a:gd name="connsiteY46" fmla="*/ 1493 h 110081"/>
              <a:gd name="connsiteX47" fmla="*/ 209362 w 597583"/>
              <a:gd name="connsiteY47" fmla="*/ 58992 h 110081"/>
              <a:gd name="connsiteX48" fmla="*/ 209362 w 597583"/>
              <a:gd name="connsiteY48" fmla="*/ 46298 h 110081"/>
              <a:gd name="connsiteX49" fmla="*/ 223704 w 597583"/>
              <a:gd name="connsiteY49" fmla="*/ 46298 h 110081"/>
              <a:gd name="connsiteX50" fmla="*/ 237299 w 597583"/>
              <a:gd name="connsiteY50" fmla="*/ 41817 h 110081"/>
              <a:gd name="connsiteX51" fmla="*/ 242677 w 597583"/>
              <a:gd name="connsiteY51" fmla="*/ 28812 h 110081"/>
              <a:gd name="connsiteX52" fmla="*/ 237747 w 597583"/>
              <a:gd name="connsiteY52" fmla="*/ 16864 h 110081"/>
              <a:gd name="connsiteX53" fmla="*/ 223555 w 597583"/>
              <a:gd name="connsiteY53" fmla="*/ 12383 h 110081"/>
              <a:gd name="connsiteX54" fmla="*/ 208914 w 597583"/>
              <a:gd name="connsiteY54" fmla="*/ 15246 h 110081"/>
              <a:gd name="connsiteX55" fmla="*/ 194870 w 597583"/>
              <a:gd name="connsiteY55" fmla="*/ 24331 h 110081"/>
              <a:gd name="connsiteX56" fmla="*/ 194870 w 597583"/>
              <a:gd name="connsiteY56" fmla="*/ 9707 h 110081"/>
              <a:gd name="connsiteX57" fmla="*/ 223704 w 597583"/>
              <a:gd name="connsiteY57" fmla="*/ 0 h 110081"/>
              <a:gd name="connsiteX58" fmla="*/ 247757 w 597583"/>
              <a:gd name="connsiteY58" fmla="*/ 7779 h 110081"/>
              <a:gd name="connsiteX59" fmla="*/ 256571 w 597583"/>
              <a:gd name="connsiteY59" fmla="*/ 28065 h 110081"/>
              <a:gd name="connsiteX60" fmla="*/ 250894 w 597583"/>
              <a:gd name="connsiteY60" fmla="*/ 44244 h 110081"/>
              <a:gd name="connsiteX61" fmla="*/ 237598 w 597583"/>
              <a:gd name="connsiteY61" fmla="*/ 52147 h 110081"/>
              <a:gd name="connsiteX62" fmla="*/ 249102 w 597583"/>
              <a:gd name="connsiteY62" fmla="*/ 56441 h 110081"/>
              <a:gd name="connsiteX63" fmla="*/ 257767 w 597583"/>
              <a:gd name="connsiteY63" fmla="*/ 65153 h 110081"/>
              <a:gd name="connsiteX64" fmla="*/ 261053 w 597583"/>
              <a:gd name="connsiteY64" fmla="*/ 77661 h 110081"/>
              <a:gd name="connsiteX65" fmla="*/ 256123 w 597583"/>
              <a:gd name="connsiteY65" fmla="*/ 94836 h 110081"/>
              <a:gd name="connsiteX66" fmla="*/ 242528 w 597583"/>
              <a:gd name="connsiteY66" fmla="*/ 106224 h 110081"/>
              <a:gd name="connsiteX67" fmla="*/ 222658 w 597583"/>
              <a:gd name="connsiteY67" fmla="*/ 110082 h 110081"/>
              <a:gd name="connsiteX68" fmla="*/ 192181 w 597583"/>
              <a:gd name="connsiteY68" fmla="*/ 100997 h 110081"/>
              <a:gd name="connsiteX69" fmla="*/ 192181 w 597583"/>
              <a:gd name="connsiteY69" fmla="*/ 86062 h 110081"/>
              <a:gd name="connsiteX70" fmla="*/ 205926 w 597583"/>
              <a:gd name="connsiteY70" fmla="*/ 94711 h 110081"/>
              <a:gd name="connsiteX71" fmla="*/ 222808 w 597583"/>
              <a:gd name="connsiteY71" fmla="*/ 97823 h 110081"/>
              <a:gd name="connsiteX72" fmla="*/ 240138 w 597583"/>
              <a:gd name="connsiteY72" fmla="*/ 92596 h 110081"/>
              <a:gd name="connsiteX73" fmla="*/ 246562 w 597583"/>
              <a:gd name="connsiteY73" fmla="*/ 77972 h 110081"/>
              <a:gd name="connsiteX74" fmla="*/ 240735 w 597583"/>
              <a:gd name="connsiteY74" fmla="*/ 64095 h 110081"/>
              <a:gd name="connsiteX75" fmla="*/ 223106 w 597583"/>
              <a:gd name="connsiteY75" fmla="*/ 58992 h 110081"/>
              <a:gd name="connsiteX76" fmla="*/ 209362 w 597583"/>
              <a:gd name="connsiteY76" fmla="*/ 58992 h 110081"/>
              <a:gd name="connsiteX77" fmla="*/ 279249 w 597583"/>
              <a:gd name="connsiteY77" fmla="*/ 1493 h 110081"/>
              <a:gd name="connsiteX78" fmla="*/ 344685 w 597583"/>
              <a:gd name="connsiteY78" fmla="*/ 1493 h 110081"/>
              <a:gd name="connsiteX79" fmla="*/ 344685 w 597583"/>
              <a:gd name="connsiteY79" fmla="*/ 14374 h 110081"/>
              <a:gd name="connsiteX80" fmla="*/ 293292 w 597583"/>
              <a:gd name="connsiteY80" fmla="*/ 14374 h 110081"/>
              <a:gd name="connsiteX81" fmla="*/ 293292 w 597583"/>
              <a:gd name="connsiteY81" fmla="*/ 49907 h 110081"/>
              <a:gd name="connsiteX82" fmla="*/ 336916 w 597583"/>
              <a:gd name="connsiteY82" fmla="*/ 49907 h 110081"/>
              <a:gd name="connsiteX83" fmla="*/ 336916 w 597583"/>
              <a:gd name="connsiteY83" fmla="*/ 62601 h 110081"/>
              <a:gd name="connsiteX84" fmla="*/ 293292 w 597583"/>
              <a:gd name="connsiteY84" fmla="*/ 62601 h 110081"/>
              <a:gd name="connsiteX85" fmla="*/ 293292 w 597583"/>
              <a:gd name="connsiteY85" fmla="*/ 108588 h 110081"/>
              <a:gd name="connsiteX86" fmla="*/ 279249 w 597583"/>
              <a:gd name="connsiteY86" fmla="*/ 108588 h 110081"/>
              <a:gd name="connsiteX87" fmla="*/ 279249 w 597583"/>
              <a:gd name="connsiteY87" fmla="*/ 1493 h 110081"/>
              <a:gd name="connsiteX88" fmla="*/ 364162 w 597583"/>
              <a:gd name="connsiteY88" fmla="*/ 1493 h 110081"/>
              <a:gd name="connsiteX89" fmla="*/ 429599 w 597583"/>
              <a:gd name="connsiteY89" fmla="*/ 1493 h 110081"/>
              <a:gd name="connsiteX90" fmla="*/ 429599 w 597583"/>
              <a:gd name="connsiteY90" fmla="*/ 14374 h 110081"/>
              <a:gd name="connsiteX91" fmla="*/ 378206 w 597583"/>
              <a:gd name="connsiteY91" fmla="*/ 14374 h 110081"/>
              <a:gd name="connsiteX92" fmla="*/ 378206 w 597583"/>
              <a:gd name="connsiteY92" fmla="*/ 49907 h 110081"/>
              <a:gd name="connsiteX93" fmla="*/ 421830 w 597583"/>
              <a:gd name="connsiteY93" fmla="*/ 49907 h 110081"/>
              <a:gd name="connsiteX94" fmla="*/ 421830 w 597583"/>
              <a:gd name="connsiteY94" fmla="*/ 62601 h 110081"/>
              <a:gd name="connsiteX95" fmla="*/ 378206 w 597583"/>
              <a:gd name="connsiteY95" fmla="*/ 62601 h 110081"/>
              <a:gd name="connsiteX96" fmla="*/ 378206 w 597583"/>
              <a:gd name="connsiteY96" fmla="*/ 108588 h 110081"/>
              <a:gd name="connsiteX97" fmla="*/ 364162 w 597583"/>
              <a:gd name="connsiteY97" fmla="*/ 108588 h 110081"/>
              <a:gd name="connsiteX98" fmla="*/ 364162 w 597583"/>
              <a:gd name="connsiteY98" fmla="*/ 1493 h 110081"/>
              <a:gd name="connsiteX99" fmla="*/ 449076 w 597583"/>
              <a:gd name="connsiteY99" fmla="*/ 1493 h 110081"/>
              <a:gd name="connsiteX100" fmla="*/ 485081 w 597583"/>
              <a:gd name="connsiteY100" fmla="*/ 1493 h 110081"/>
              <a:gd name="connsiteX101" fmla="*/ 505100 w 597583"/>
              <a:gd name="connsiteY101" fmla="*/ 4044 h 110081"/>
              <a:gd name="connsiteX102" fmla="*/ 521235 w 597583"/>
              <a:gd name="connsiteY102" fmla="*/ 12383 h 110081"/>
              <a:gd name="connsiteX103" fmla="*/ 531992 w 597583"/>
              <a:gd name="connsiteY103" fmla="*/ 27629 h 110081"/>
              <a:gd name="connsiteX104" fmla="*/ 535876 w 597583"/>
              <a:gd name="connsiteY104" fmla="*/ 51401 h 110081"/>
              <a:gd name="connsiteX105" fmla="*/ 529004 w 597583"/>
              <a:gd name="connsiteY105" fmla="*/ 83075 h 110081"/>
              <a:gd name="connsiteX106" fmla="*/ 510479 w 597583"/>
              <a:gd name="connsiteY106" fmla="*/ 102179 h 110081"/>
              <a:gd name="connsiteX107" fmla="*/ 483438 w 597583"/>
              <a:gd name="connsiteY107" fmla="*/ 108588 h 110081"/>
              <a:gd name="connsiteX108" fmla="*/ 449076 w 597583"/>
              <a:gd name="connsiteY108" fmla="*/ 108588 h 110081"/>
              <a:gd name="connsiteX109" fmla="*/ 449076 w 597583"/>
              <a:gd name="connsiteY109" fmla="*/ 1493 h 110081"/>
              <a:gd name="connsiteX110" fmla="*/ 483438 w 597583"/>
              <a:gd name="connsiteY110" fmla="*/ 95893 h 110081"/>
              <a:gd name="connsiteX111" fmla="*/ 502859 w 597583"/>
              <a:gd name="connsiteY111" fmla="*/ 91413 h 110081"/>
              <a:gd name="connsiteX112" fmla="*/ 515857 w 597583"/>
              <a:gd name="connsiteY112" fmla="*/ 77225 h 110081"/>
              <a:gd name="connsiteX113" fmla="*/ 520638 w 597583"/>
              <a:gd name="connsiteY113" fmla="*/ 52458 h 110081"/>
              <a:gd name="connsiteX114" fmla="*/ 516006 w 597583"/>
              <a:gd name="connsiteY114" fmla="*/ 29122 h 110081"/>
              <a:gd name="connsiteX115" fmla="*/ 503308 w 597583"/>
              <a:gd name="connsiteY115" fmla="*/ 17610 h 110081"/>
              <a:gd name="connsiteX116" fmla="*/ 485081 w 597583"/>
              <a:gd name="connsiteY116" fmla="*/ 14374 h 110081"/>
              <a:gd name="connsiteX117" fmla="*/ 463120 w 597583"/>
              <a:gd name="connsiteY117" fmla="*/ 14374 h 110081"/>
              <a:gd name="connsiteX118" fmla="*/ 463120 w 597583"/>
              <a:gd name="connsiteY118" fmla="*/ 95893 h 110081"/>
              <a:gd name="connsiteX119" fmla="*/ 483438 w 597583"/>
              <a:gd name="connsiteY119" fmla="*/ 95893 h 110081"/>
              <a:gd name="connsiteX120" fmla="*/ 597583 w 597583"/>
              <a:gd name="connsiteY120" fmla="*/ 108588 h 110081"/>
              <a:gd name="connsiteX121" fmla="*/ 583989 w 597583"/>
              <a:gd name="connsiteY121" fmla="*/ 108588 h 110081"/>
              <a:gd name="connsiteX122" fmla="*/ 583989 w 597583"/>
              <a:gd name="connsiteY122" fmla="*/ 18357 h 110081"/>
              <a:gd name="connsiteX123" fmla="*/ 554408 w 597583"/>
              <a:gd name="connsiteY123" fmla="*/ 41071 h 110081"/>
              <a:gd name="connsiteX124" fmla="*/ 554408 w 597583"/>
              <a:gd name="connsiteY124" fmla="*/ 26011 h 110081"/>
              <a:gd name="connsiteX125" fmla="*/ 586229 w 597583"/>
              <a:gd name="connsiteY125" fmla="*/ 1493 h 110081"/>
              <a:gd name="connsiteX126" fmla="*/ 597583 w 597583"/>
              <a:gd name="connsiteY126" fmla="*/ 1493 h 110081"/>
              <a:gd name="connsiteX127" fmla="*/ 597583 w 597583"/>
              <a:gd name="connsiteY127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</a:cxnLst>
            <a:rect l="l" t="t" r="r" b="b"/>
            <a:pathLst>
              <a:path w="597583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1" y="1493"/>
                </a:moveTo>
                <a:lnTo>
                  <a:pt x="174154" y="1493"/>
                </a:lnTo>
                <a:lnTo>
                  <a:pt x="174154" y="14374"/>
                </a:lnTo>
                <a:lnTo>
                  <a:pt x="121865" y="14374"/>
                </a:lnTo>
                <a:lnTo>
                  <a:pt x="121865" y="46734"/>
                </a:lnTo>
                <a:lnTo>
                  <a:pt x="166236" y="46734"/>
                </a:lnTo>
                <a:lnTo>
                  <a:pt x="166236" y="59428"/>
                </a:lnTo>
                <a:lnTo>
                  <a:pt x="121865" y="59428"/>
                </a:lnTo>
                <a:lnTo>
                  <a:pt x="121865" y="95893"/>
                </a:lnTo>
                <a:lnTo>
                  <a:pt x="174901" y="95893"/>
                </a:lnTo>
                <a:lnTo>
                  <a:pt x="174901" y="108588"/>
                </a:lnTo>
                <a:lnTo>
                  <a:pt x="107821" y="108588"/>
                </a:lnTo>
                <a:lnTo>
                  <a:pt x="107821" y="1493"/>
                </a:lnTo>
                <a:close/>
                <a:moveTo>
                  <a:pt x="209362" y="58992"/>
                </a:moveTo>
                <a:lnTo>
                  <a:pt x="209362" y="46298"/>
                </a:lnTo>
                <a:lnTo>
                  <a:pt x="223704" y="46298"/>
                </a:lnTo>
                <a:cubicBezTo>
                  <a:pt x="229281" y="46298"/>
                  <a:pt x="233813" y="44804"/>
                  <a:pt x="237299" y="41817"/>
                </a:cubicBezTo>
                <a:cubicBezTo>
                  <a:pt x="240885" y="38768"/>
                  <a:pt x="242677" y="34412"/>
                  <a:pt x="242677" y="28812"/>
                </a:cubicBezTo>
                <a:cubicBezTo>
                  <a:pt x="242677" y="23771"/>
                  <a:pt x="241034" y="19788"/>
                  <a:pt x="237747" y="16864"/>
                </a:cubicBezTo>
                <a:cubicBezTo>
                  <a:pt x="234461" y="13877"/>
                  <a:pt x="229730" y="12383"/>
                  <a:pt x="223555" y="12383"/>
                </a:cubicBezTo>
                <a:cubicBezTo>
                  <a:pt x="218376" y="12383"/>
                  <a:pt x="213495" y="13379"/>
                  <a:pt x="208914" y="15246"/>
                </a:cubicBezTo>
                <a:cubicBezTo>
                  <a:pt x="204432" y="17113"/>
                  <a:pt x="199751" y="20162"/>
                  <a:pt x="194870" y="24331"/>
                </a:cubicBezTo>
                <a:lnTo>
                  <a:pt x="194870" y="9707"/>
                </a:lnTo>
                <a:cubicBezTo>
                  <a:pt x="202838" y="3235"/>
                  <a:pt x="212449" y="0"/>
                  <a:pt x="223704" y="0"/>
                </a:cubicBezTo>
                <a:cubicBezTo>
                  <a:pt x="233963" y="0"/>
                  <a:pt x="241980" y="2613"/>
                  <a:pt x="247757" y="7779"/>
                </a:cubicBezTo>
                <a:cubicBezTo>
                  <a:pt x="253633" y="12943"/>
                  <a:pt x="256571" y="19726"/>
                  <a:pt x="256571" y="28065"/>
                </a:cubicBezTo>
                <a:cubicBezTo>
                  <a:pt x="256571" y="34848"/>
                  <a:pt x="254679" y="40262"/>
                  <a:pt x="250894" y="44244"/>
                </a:cubicBezTo>
                <a:cubicBezTo>
                  <a:pt x="247209" y="48227"/>
                  <a:pt x="242777" y="50840"/>
                  <a:pt x="237598" y="52147"/>
                </a:cubicBezTo>
                <a:cubicBezTo>
                  <a:pt x="241781" y="52707"/>
                  <a:pt x="245616" y="54201"/>
                  <a:pt x="249102" y="56441"/>
                </a:cubicBezTo>
                <a:cubicBezTo>
                  <a:pt x="252687" y="58681"/>
                  <a:pt x="255575" y="61543"/>
                  <a:pt x="257767" y="65153"/>
                </a:cubicBezTo>
                <a:cubicBezTo>
                  <a:pt x="259958" y="68700"/>
                  <a:pt x="261053" y="72869"/>
                  <a:pt x="261053" y="77661"/>
                </a:cubicBezTo>
                <a:cubicBezTo>
                  <a:pt x="261053" y="84257"/>
                  <a:pt x="259410" y="89982"/>
                  <a:pt x="256123" y="94836"/>
                </a:cubicBezTo>
                <a:cubicBezTo>
                  <a:pt x="252836" y="99752"/>
                  <a:pt x="248305" y="103486"/>
                  <a:pt x="242528" y="106224"/>
                </a:cubicBezTo>
                <a:cubicBezTo>
                  <a:pt x="236851" y="108775"/>
                  <a:pt x="230228" y="110082"/>
                  <a:pt x="222658" y="110082"/>
                </a:cubicBezTo>
                <a:cubicBezTo>
                  <a:pt x="209511" y="110082"/>
                  <a:pt x="199352" y="107033"/>
                  <a:pt x="192181" y="100997"/>
                </a:cubicBezTo>
                <a:lnTo>
                  <a:pt x="192181" y="86062"/>
                </a:lnTo>
                <a:cubicBezTo>
                  <a:pt x="195966" y="89733"/>
                  <a:pt x="200547" y="92596"/>
                  <a:pt x="205926" y="94711"/>
                </a:cubicBezTo>
                <a:cubicBezTo>
                  <a:pt x="211304" y="96765"/>
                  <a:pt x="216931" y="97823"/>
                  <a:pt x="222808" y="97823"/>
                </a:cubicBezTo>
                <a:cubicBezTo>
                  <a:pt x="230178" y="97823"/>
                  <a:pt x="235955" y="96080"/>
                  <a:pt x="240138" y="92596"/>
                </a:cubicBezTo>
                <a:cubicBezTo>
                  <a:pt x="244420" y="89048"/>
                  <a:pt x="246562" y="84132"/>
                  <a:pt x="246562" y="77972"/>
                </a:cubicBezTo>
                <a:cubicBezTo>
                  <a:pt x="246562" y="71998"/>
                  <a:pt x="244620" y="67393"/>
                  <a:pt x="240735" y="64095"/>
                </a:cubicBezTo>
                <a:cubicBezTo>
                  <a:pt x="236950" y="60673"/>
                  <a:pt x="231074" y="58992"/>
                  <a:pt x="223106" y="58992"/>
                </a:cubicBezTo>
                <a:lnTo>
                  <a:pt x="209362" y="58992"/>
                </a:lnTo>
                <a:close/>
                <a:moveTo>
                  <a:pt x="279249" y="1493"/>
                </a:moveTo>
                <a:lnTo>
                  <a:pt x="344685" y="1493"/>
                </a:lnTo>
                <a:lnTo>
                  <a:pt x="344685" y="14374"/>
                </a:lnTo>
                <a:lnTo>
                  <a:pt x="293292" y="14374"/>
                </a:lnTo>
                <a:lnTo>
                  <a:pt x="293292" y="49907"/>
                </a:lnTo>
                <a:lnTo>
                  <a:pt x="336916" y="49907"/>
                </a:lnTo>
                <a:lnTo>
                  <a:pt x="336916" y="62601"/>
                </a:lnTo>
                <a:lnTo>
                  <a:pt x="293292" y="62601"/>
                </a:lnTo>
                <a:lnTo>
                  <a:pt x="293292" y="108588"/>
                </a:lnTo>
                <a:lnTo>
                  <a:pt x="279249" y="108588"/>
                </a:lnTo>
                <a:lnTo>
                  <a:pt x="279249" y="1493"/>
                </a:lnTo>
                <a:close/>
                <a:moveTo>
                  <a:pt x="364162" y="1493"/>
                </a:moveTo>
                <a:lnTo>
                  <a:pt x="429599" y="1493"/>
                </a:lnTo>
                <a:lnTo>
                  <a:pt x="429599" y="14374"/>
                </a:lnTo>
                <a:lnTo>
                  <a:pt x="378206" y="14374"/>
                </a:lnTo>
                <a:lnTo>
                  <a:pt x="378206" y="49907"/>
                </a:lnTo>
                <a:lnTo>
                  <a:pt x="421830" y="49907"/>
                </a:lnTo>
                <a:lnTo>
                  <a:pt x="421830" y="62601"/>
                </a:lnTo>
                <a:lnTo>
                  <a:pt x="378206" y="62601"/>
                </a:lnTo>
                <a:lnTo>
                  <a:pt x="378206" y="108588"/>
                </a:lnTo>
                <a:lnTo>
                  <a:pt x="364162" y="108588"/>
                </a:lnTo>
                <a:lnTo>
                  <a:pt x="364162" y="1493"/>
                </a:lnTo>
                <a:close/>
                <a:moveTo>
                  <a:pt x="449076" y="1493"/>
                </a:moveTo>
                <a:lnTo>
                  <a:pt x="485081" y="1493"/>
                </a:lnTo>
                <a:cubicBezTo>
                  <a:pt x="492252" y="1493"/>
                  <a:pt x="498925" y="2365"/>
                  <a:pt x="505100" y="4044"/>
                </a:cubicBezTo>
                <a:cubicBezTo>
                  <a:pt x="511275" y="5725"/>
                  <a:pt x="516654" y="8525"/>
                  <a:pt x="521235" y="12383"/>
                </a:cubicBezTo>
                <a:cubicBezTo>
                  <a:pt x="525817" y="16179"/>
                  <a:pt x="529402" y="21282"/>
                  <a:pt x="531992" y="27629"/>
                </a:cubicBezTo>
                <a:cubicBezTo>
                  <a:pt x="534581" y="34039"/>
                  <a:pt x="535876" y="41942"/>
                  <a:pt x="535876" y="51401"/>
                </a:cubicBezTo>
                <a:cubicBezTo>
                  <a:pt x="535876" y="63908"/>
                  <a:pt x="533585" y="74487"/>
                  <a:pt x="529004" y="83075"/>
                </a:cubicBezTo>
                <a:cubicBezTo>
                  <a:pt x="524522" y="91538"/>
                  <a:pt x="518347" y="97885"/>
                  <a:pt x="510479" y="102179"/>
                </a:cubicBezTo>
                <a:cubicBezTo>
                  <a:pt x="502610" y="106473"/>
                  <a:pt x="493597" y="108588"/>
                  <a:pt x="483438" y="108588"/>
                </a:cubicBezTo>
                <a:lnTo>
                  <a:pt x="449076" y="108588"/>
                </a:lnTo>
                <a:lnTo>
                  <a:pt x="449076" y="1493"/>
                </a:lnTo>
                <a:close/>
                <a:moveTo>
                  <a:pt x="483438" y="95893"/>
                </a:moveTo>
                <a:cubicBezTo>
                  <a:pt x="490808" y="95893"/>
                  <a:pt x="497282" y="94400"/>
                  <a:pt x="502859" y="91413"/>
                </a:cubicBezTo>
                <a:cubicBezTo>
                  <a:pt x="508437" y="88302"/>
                  <a:pt x="512769" y="83572"/>
                  <a:pt x="515857" y="77225"/>
                </a:cubicBezTo>
                <a:cubicBezTo>
                  <a:pt x="519044" y="70754"/>
                  <a:pt x="520638" y="62477"/>
                  <a:pt x="520638" y="52458"/>
                </a:cubicBezTo>
                <a:cubicBezTo>
                  <a:pt x="520638" y="42377"/>
                  <a:pt x="519094" y="34599"/>
                  <a:pt x="516006" y="29122"/>
                </a:cubicBezTo>
                <a:cubicBezTo>
                  <a:pt x="512919" y="23646"/>
                  <a:pt x="508686" y="19851"/>
                  <a:pt x="503308" y="17610"/>
                </a:cubicBezTo>
                <a:cubicBezTo>
                  <a:pt x="498029" y="15433"/>
                  <a:pt x="491953" y="14374"/>
                  <a:pt x="485081" y="14374"/>
                </a:cubicBezTo>
                <a:lnTo>
                  <a:pt x="463120" y="14374"/>
                </a:lnTo>
                <a:lnTo>
                  <a:pt x="463120" y="95893"/>
                </a:lnTo>
                <a:lnTo>
                  <a:pt x="483438" y="95893"/>
                </a:lnTo>
                <a:close/>
                <a:moveTo>
                  <a:pt x="597583" y="108588"/>
                </a:moveTo>
                <a:lnTo>
                  <a:pt x="583989" y="108588"/>
                </a:lnTo>
                <a:lnTo>
                  <a:pt x="583989" y="18357"/>
                </a:lnTo>
                <a:lnTo>
                  <a:pt x="554408" y="41071"/>
                </a:lnTo>
                <a:lnTo>
                  <a:pt x="554408" y="26011"/>
                </a:lnTo>
                <a:lnTo>
                  <a:pt x="586229" y="1493"/>
                </a:lnTo>
                <a:lnTo>
                  <a:pt x="597583" y="1493"/>
                </a:lnTo>
                <a:lnTo>
                  <a:pt x="597583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9" name="Полилиния 1038">
            <a:extLst>
              <a:ext uri="{FF2B5EF4-FFF2-40B4-BE49-F238E27FC236}">
                <a16:creationId xmlns:a16="http://schemas.microsoft.com/office/drawing/2014/main" id="{CDC5E3CC-CDFE-C851-E6A3-369681A48856}"/>
              </a:ext>
            </a:extLst>
          </p:cNvPr>
          <p:cNvSpPr/>
          <p:nvPr userDrawn="1"/>
        </p:nvSpPr>
        <p:spPr>
          <a:xfrm>
            <a:off x="15359119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36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1FFE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0" name="Полилиния 1039">
            <a:extLst>
              <a:ext uri="{FF2B5EF4-FFF2-40B4-BE49-F238E27FC236}">
                <a16:creationId xmlns:a16="http://schemas.microsoft.com/office/drawing/2014/main" id="{2AA4A07B-5D4A-8BB3-2FA4-FAC983CCC5F4}"/>
              </a:ext>
            </a:extLst>
          </p:cNvPr>
          <p:cNvSpPr/>
          <p:nvPr userDrawn="1"/>
        </p:nvSpPr>
        <p:spPr>
          <a:xfrm>
            <a:off x="15482328" y="10625622"/>
            <a:ext cx="698323" cy="128252"/>
          </a:xfrm>
          <a:custGeom>
            <a:avLst/>
            <a:gdLst>
              <a:gd name="connsiteX0" fmla="*/ 22111 w 598374"/>
              <a:gd name="connsiteY0" fmla="*/ 108402 h 109895"/>
              <a:gd name="connsiteX1" fmla="*/ 10159 w 598374"/>
              <a:gd name="connsiteY1" fmla="*/ 108402 h 109895"/>
              <a:gd name="connsiteX2" fmla="*/ 16434 w 598374"/>
              <a:gd name="connsiteY2" fmla="*/ 77475 h 109895"/>
              <a:gd name="connsiteX3" fmla="*/ 0 w 598374"/>
              <a:gd name="connsiteY3" fmla="*/ 77475 h 109895"/>
              <a:gd name="connsiteX4" fmla="*/ 0 w 598374"/>
              <a:gd name="connsiteY4" fmla="*/ 67020 h 109895"/>
              <a:gd name="connsiteX5" fmla="*/ 18675 w 598374"/>
              <a:gd name="connsiteY5" fmla="*/ 67020 h 109895"/>
              <a:gd name="connsiteX6" fmla="*/ 24202 w 598374"/>
              <a:gd name="connsiteY6" fmla="*/ 39826 h 109895"/>
              <a:gd name="connsiteX7" fmla="*/ 4034 w 598374"/>
              <a:gd name="connsiteY7" fmla="*/ 39826 h 109895"/>
              <a:gd name="connsiteX8" fmla="*/ 4034 w 598374"/>
              <a:gd name="connsiteY8" fmla="*/ 29372 h 109895"/>
              <a:gd name="connsiteX9" fmla="*/ 26294 w 598374"/>
              <a:gd name="connsiteY9" fmla="*/ 29372 h 109895"/>
              <a:gd name="connsiteX10" fmla="*/ 32120 w 598374"/>
              <a:gd name="connsiteY10" fmla="*/ 1307 h 109895"/>
              <a:gd name="connsiteX11" fmla="*/ 44072 w 598374"/>
              <a:gd name="connsiteY11" fmla="*/ 1307 h 109895"/>
              <a:gd name="connsiteX12" fmla="*/ 38246 w 598374"/>
              <a:gd name="connsiteY12" fmla="*/ 29372 h 109895"/>
              <a:gd name="connsiteX13" fmla="*/ 60655 w 598374"/>
              <a:gd name="connsiteY13" fmla="*/ 29372 h 109895"/>
              <a:gd name="connsiteX14" fmla="*/ 66482 w 598374"/>
              <a:gd name="connsiteY14" fmla="*/ 1307 h 109895"/>
              <a:gd name="connsiteX15" fmla="*/ 78434 w 598374"/>
              <a:gd name="connsiteY15" fmla="*/ 1307 h 109895"/>
              <a:gd name="connsiteX16" fmla="*/ 72607 w 598374"/>
              <a:gd name="connsiteY16" fmla="*/ 29372 h 109895"/>
              <a:gd name="connsiteX17" fmla="*/ 89340 w 598374"/>
              <a:gd name="connsiteY17" fmla="*/ 29372 h 109895"/>
              <a:gd name="connsiteX18" fmla="*/ 89340 w 598374"/>
              <a:gd name="connsiteY18" fmla="*/ 39826 h 109895"/>
              <a:gd name="connsiteX19" fmla="*/ 70515 w 598374"/>
              <a:gd name="connsiteY19" fmla="*/ 39826 h 109895"/>
              <a:gd name="connsiteX20" fmla="*/ 64988 w 598374"/>
              <a:gd name="connsiteY20" fmla="*/ 67020 h 109895"/>
              <a:gd name="connsiteX21" fmla="*/ 85306 w 598374"/>
              <a:gd name="connsiteY21" fmla="*/ 67020 h 109895"/>
              <a:gd name="connsiteX22" fmla="*/ 85306 w 598374"/>
              <a:gd name="connsiteY22" fmla="*/ 77475 h 109895"/>
              <a:gd name="connsiteX23" fmla="*/ 62747 w 598374"/>
              <a:gd name="connsiteY23" fmla="*/ 77475 h 109895"/>
              <a:gd name="connsiteX24" fmla="*/ 56472 w 598374"/>
              <a:gd name="connsiteY24" fmla="*/ 108402 h 109895"/>
              <a:gd name="connsiteX25" fmla="*/ 44520 w 598374"/>
              <a:gd name="connsiteY25" fmla="*/ 108402 h 109895"/>
              <a:gd name="connsiteX26" fmla="*/ 50795 w 598374"/>
              <a:gd name="connsiteY26" fmla="*/ 77475 h 109895"/>
              <a:gd name="connsiteX27" fmla="*/ 28386 w 598374"/>
              <a:gd name="connsiteY27" fmla="*/ 77475 h 109895"/>
              <a:gd name="connsiteX28" fmla="*/ 22111 w 598374"/>
              <a:gd name="connsiteY28" fmla="*/ 108402 h 109895"/>
              <a:gd name="connsiteX29" fmla="*/ 30626 w 598374"/>
              <a:gd name="connsiteY29" fmla="*/ 67020 h 109895"/>
              <a:gd name="connsiteX30" fmla="*/ 53036 w 598374"/>
              <a:gd name="connsiteY30" fmla="*/ 67020 h 109895"/>
              <a:gd name="connsiteX31" fmla="*/ 58564 w 598374"/>
              <a:gd name="connsiteY31" fmla="*/ 39826 h 109895"/>
              <a:gd name="connsiteX32" fmla="*/ 36154 w 598374"/>
              <a:gd name="connsiteY32" fmla="*/ 39826 h 109895"/>
              <a:gd name="connsiteX33" fmla="*/ 30626 w 598374"/>
              <a:gd name="connsiteY33" fmla="*/ 67020 h 109895"/>
              <a:gd name="connsiteX34" fmla="*/ 107821 w 598374"/>
              <a:gd name="connsiteY34" fmla="*/ 1307 h 109895"/>
              <a:gd name="connsiteX35" fmla="*/ 173257 w 598374"/>
              <a:gd name="connsiteY35" fmla="*/ 1307 h 109895"/>
              <a:gd name="connsiteX36" fmla="*/ 173257 w 598374"/>
              <a:gd name="connsiteY36" fmla="*/ 14188 h 109895"/>
              <a:gd name="connsiteX37" fmla="*/ 121865 w 598374"/>
              <a:gd name="connsiteY37" fmla="*/ 14188 h 109895"/>
              <a:gd name="connsiteX38" fmla="*/ 121865 w 598374"/>
              <a:gd name="connsiteY38" fmla="*/ 49720 h 109895"/>
              <a:gd name="connsiteX39" fmla="*/ 165489 w 598374"/>
              <a:gd name="connsiteY39" fmla="*/ 49720 h 109895"/>
              <a:gd name="connsiteX40" fmla="*/ 165489 w 598374"/>
              <a:gd name="connsiteY40" fmla="*/ 62415 h 109895"/>
              <a:gd name="connsiteX41" fmla="*/ 121865 w 598374"/>
              <a:gd name="connsiteY41" fmla="*/ 62415 h 109895"/>
              <a:gd name="connsiteX42" fmla="*/ 121865 w 598374"/>
              <a:gd name="connsiteY42" fmla="*/ 108402 h 109895"/>
              <a:gd name="connsiteX43" fmla="*/ 107821 w 598374"/>
              <a:gd name="connsiteY43" fmla="*/ 108402 h 109895"/>
              <a:gd name="connsiteX44" fmla="*/ 107821 w 598374"/>
              <a:gd name="connsiteY44" fmla="*/ 1307 h 109895"/>
              <a:gd name="connsiteX45" fmla="*/ 235762 w 598374"/>
              <a:gd name="connsiteY45" fmla="*/ 108402 h 109895"/>
              <a:gd name="connsiteX46" fmla="*/ 222166 w 598374"/>
              <a:gd name="connsiteY46" fmla="*/ 108402 h 109895"/>
              <a:gd name="connsiteX47" fmla="*/ 222166 w 598374"/>
              <a:gd name="connsiteY47" fmla="*/ 18171 h 109895"/>
              <a:gd name="connsiteX48" fmla="*/ 192586 w 598374"/>
              <a:gd name="connsiteY48" fmla="*/ 40885 h 109895"/>
              <a:gd name="connsiteX49" fmla="*/ 192586 w 598374"/>
              <a:gd name="connsiteY49" fmla="*/ 25825 h 109895"/>
              <a:gd name="connsiteX50" fmla="*/ 224407 w 598374"/>
              <a:gd name="connsiteY50" fmla="*/ 1307 h 109895"/>
              <a:gd name="connsiteX51" fmla="*/ 235762 w 598374"/>
              <a:gd name="connsiteY51" fmla="*/ 1307 h 109895"/>
              <a:gd name="connsiteX52" fmla="*/ 235762 w 598374"/>
              <a:gd name="connsiteY52" fmla="*/ 108402 h 109895"/>
              <a:gd name="connsiteX53" fmla="*/ 274873 w 598374"/>
              <a:gd name="connsiteY53" fmla="*/ 1307 h 109895"/>
              <a:gd name="connsiteX54" fmla="*/ 340309 w 598374"/>
              <a:gd name="connsiteY54" fmla="*/ 1307 h 109895"/>
              <a:gd name="connsiteX55" fmla="*/ 340309 w 598374"/>
              <a:gd name="connsiteY55" fmla="*/ 14188 h 109895"/>
              <a:gd name="connsiteX56" fmla="*/ 288916 w 598374"/>
              <a:gd name="connsiteY56" fmla="*/ 14188 h 109895"/>
              <a:gd name="connsiteX57" fmla="*/ 288916 w 598374"/>
              <a:gd name="connsiteY57" fmla="*/ 49720 h 109895"/>
              <a:gd name="connsiteX58" fmla="*/ 332540 w 598374"/>
              <a:gd name="connsiteY58" fmla="*/ 49720 h 109895"/>
              <a:gd name="connsiteX59" fmla="*/ 332540 w 598374"/>
              <a:gd name="connsiteY59" fmla="*/ 62415 h 109895"/>
              <a:gd name="connsiteX60" fmla="*/ 288916 w 598374"/>
              <a:gd name="connsiteY60" fmla="*/ 62415 h 109895"/>
              <a:gd name="connsiteX61" fmla="*/ 288916 w 598374"/>
              <a:gd name="connsiteY61" fmla="*/ 108402 h 109895"/>
              <a:gd name="connsiteX62" fmla="*/ 274873 w 598374"/>
              <a:gd name="connsiteY62" fmla="*/ 108402 h 109895"/>
              <a:gd name="connsiteX63" fmla="*/ 274873 w 598374"/>
              <a:gd name="connsiteY63" fmla="*/ 1307 h 109895"/>
              <a:gd name="connsiteX64" fmla="*/ 359786 w 598374"/>
              <a:gd name="connsiteY64" fmla="*/ 1307 h 109895"/>
              <a:gd name="connsiteX65" fmla="*/ 425223 w 598374"/>
              <a:gd name="connsiteY65" fmla="*/ 1307 h 109895"/>
              <a:gd name="connsiteX66" fmla="*/ 425223 w 598374"/>
              <a:gd name="connsiteY66" fmla="*/ 14188 h 109895"/>
              <a:gd name="connsiteX67" fmla="*/ 373830 w 598374"/>
              <a:gd name="connsiteY67" fmla="*/ 14188 h 109895"/>
              <a:gd name="connsiteX68" fmla="*/ 373830 w 598374"/>
              <a:gd name="connsiteY68" fmla="*/ 49720 h 109895"/>
              <a:gd name="connsiteX69" fmla="*/ 417454 w 598374"/>
              <a:gd name="connsiteY69" fmla="*/ 49720 h 109895"/>
              <a:gd name="connsiteX70" fmla="*/ 417454 w 598374"/>
              <a:gd name="connsiteY70" fmla="*/ 62415 h 109895"/>
              <a:gd name="connsiteX71" fmla="*/ 373830 w 598374"/>
              <a:gd name="connsiteY71" fmla="*/ 62415 h 109895"/>
              <a:gd name="connsiteX72" fmla="*/ 373830 w 598374"/>
              <a:gd name="connsiteY72" fmla="*/ 108402 h 109895"/>
              <a:gd name="connsiteX73" fmla="*/ 359786 w 598374"/>
              <a:gd name="connsiteY73" fmla="*/ 108402 h 109895"/>
              <a:gd name="connsiteX74" fmla="*/ 359786 w 598374"/>
              <a:gd name="connsiteY74" fmla="*/ 1307 h 109895"/>
              <a:gd name="connsiteX75" fmla="*/ 444694 w 598374"/>
              <a:gd name="connsiteY75" fmla="*/ 1307 h 109895"/>
              <a:gd name="connsiteX76" fmla="*/ 511026 w 598374"/>
              <a:gd name="connsiteY76" fmla="*/ 1307 h 109895"/>
              <a:gd name="connsiteX77" fmla="*/ 511026 w 598374"/>
              <a:gd name="connsiteY77" fmla="*/ 14188 h 109895"/>
              <a:gd name="connsiteX78" fmla="*/ 458737 w 598374"/>
              <a:gd name="connsiteY78" fmla="*/ 14188 h 109895"/>
              <a:gd name="connsiteX79" fmla="*/ 458737 w 598374"/>
              <a:gd name="connsiteY79" fmla="*/ 46547 h 109895"/>
              <a:gd name="connsiteX80" fmla="*/ 503108 w 598374"/>
              <a:gd name="connsiteY80" fmla="*/ 46547 h 109895"/>
              <a:gd name="connsiteX81" fmla="*/ 503108 w 598374"/>
              <a:gd name="connsiteY81" fmla="*/ 59242 h 109895"/>
              <a:gd name="connsiteX82" fmla="*/ 458737 w 598374"/>
              <a:gd name="connsiteY82" fmla="*/ 59242 h 109895"/>
              <a:gd name="connsiteX83" fmla="*/ 458737 w 598374"/>
              <a:gd name="connsiteY83" fmla="*/ 95707 h 109895"/>
              <a:gd name="connsiteX84" fmla="*/ 511773 w 598374"/>
              <a:gd name="connsiteY84" fmla="*/ 95707 h 109895"/>
              <a:gd name="connsiteX85" fmla="*/ 511773 w 598374"/>
              <a:gd name="connsiteY85" fmla="*/ 108402 h 109895"/>
              <a:gd name="connsiteX86" fmla="*/ 444694 w 598374"/>
              <a:gd name="connsiteY86" fmla="*/ 108402 h 109895"/>
              <a:gd name="connsiteX87" fmla="*/ 444694 w 598374"/>
              <a:gd name="connsiteY87" fmla="*/ 1307 h 109895"/>
              <a:gd name="connsiteX88" fmla="*/ 562967 w 598374"/>
              <a:gd name="connsiteY88" fmla="*/ 109896 h 109895"/>
              <a:gd name="connsiteX89" fmla="*/ 544292 w 598374"/>
              <a:gd name="connsiteY89" fmla="*/ 106287 h 109895"/>
              <a:gd name="connsiteX90" fmla="*/ 531594 w 598374"/>
              <a:gd name="connsiteY90" fmla="*/ 96019 h 109895"/>
              <a:gd name="connsiteX91" fmla="*/ 526962 w 598374"/>
              <a:gd name="connsiteY91" fmla="*/ 79590 h 109895"/>
              <a:gd name="connsiteX92" fmla="*/ 532341 w 598374"/>
              <a:gd name="connsiteY92" fmla="*/ 62105 h 109895"/>
              <a:gd name="connsiteX93" fmla="*/ 547131 w 598374"/>
              <a:gd name="connsiteY93" fmla="*/ 51525 h 109895"/>
              <a:gd name="connsiteX94" fmla="*/ 535179 w 598374"/>
              <a:gd name="connsiteY94" fmla="*/ 42378 h 109895"/>
              <a:gd name="connsiteX95" fmla="*/ 530847 w 598374"/>
              <a:gd name="connsiteY95" fmla="*/ 27318 h 109895"/>
              <a:gd name="connsiteX96" fmla="*/ 535030 w 598374"/>
              <a:gd name="connsiteY96" fmla="*/ 12383 h 109895"/>
              <a:gd name="connsiteX97" fmla="*/ 546533 w 598374"/>
              <a:gd name="connsiteY97" fmla="*/ 3111 h 109895"/>
              <a:gd name="connsiteX98" fmla="*/ 562967 w 598374"/>
              <a:gd name="connsiteY98" fmla="*/ 0 h 109895"/>
              <a:gd name="connsiteX99" fmla="*/ 579102 w 598374"/>
              <a:gd name="connsiteY99" fmla="*/ 3111 h 109895"/>
              <a:gd name="connsiteX100" fmla="*/ 590456 w 598374"/>
              <a:gd name="connsiteY100" fmla="*/ 12073 h 109895"/>
              <a:gd name="connsiteX101" fmla="*/ 594789 w 598374"/>
              <a:gd name="connsiteY101" fmla="*/ 27008 h 109895"/>
              <a:gd name="connsiteX102" fmla="*/ 590307 w 598374"/>
              <a:gd name="connsiteY102" fmla="*/ 42253 h 109895"/>
              <a:gd name="connsiteX103" fmla="*/ 578504 w 598374"/>
              <a:gd name="connsiteY103" fmla="*/ 51525 h 109895"/>
              <a:gd name="connsiteX104" fmla="*/ 592846 w 598374"/>
              <a:gd name="connsiteY104" fmla="*/ 61669 h 109895"/>
              <a:gd name="connsiteX105" fmla="*/ 598374 w 598374"/>
              <a:gd name="connsiteY105" fmla="*/ 79155 h 109895"/>
              <a:gd name="connsiteX106" fmla="*/ 593743 w 598374"/>
              <a:gd name="connsiteY106" fmla="*/ 95707 h 109895"/>
              <a:gd name="connsiteX107" fmla="*/ 581044 w 598374"/>
              <a:gd name="connsiteY107" fmla="*/ 106287 h 109895"/>
              <a:gd name="connsiteX108" fmla="*/ 562967 w 598374"/>
              <a:gd name="connsiteY108" fmla="*/ 109896 h 109895"/>
              <a:gd name="connsiteX109" fmla="*/ 562967 w 598374"/>
              <a:gd name="connsiteY109" fmla="*/ 46111 h 109895"/>
              <a:gd name="connsiteX110" fmla="*/ 575965 w 598374"/>
              <a:gd name="connsiteY110" fmla="*/ 41631 h 109895"/>
              <a:gd name="connsiteX111" fmla="*/ 581193 w 598374"/>
              <a:gd name="connsiteY111" fmla="*/ 28936 h 109895"/>
              <a:gd name="connsiteX112" fmla="*/ 575965 w 598374"/>
              <a:gd name="connsiteY112" fmla="*/ 16428 h 109895"/>
              <a:gd name="connsiteX113" fmla="*/ 562967 w 598374"/>
              <a:gd name="connsiteY113" fmla="*/ 11761 h 109895"/>
              <a:gd name="connsiteX114" fmla="*/ 549671 w 598374"/>
              <a:gd name="connsiteY114" fmla="*/ 16428 h 109895"/>
              <a:gd name="connsiteX115" fmla="*/ 544442 w 598374"/>
              <a:gd name="connsiteY115" fmla="*/ 28936 h 109895"/>
              <a:gd name="connsiteX116" fmla="*/ 549671 w 598374"/>
              <a:gd name="connsiteY116" fmla="*/ 41631 h 109895"/>
              <a:gd name="connsiteX117" fmla="*/ 562967 w 598374"/>
              <a:gd name="connsiteY117" fmla="*/ 46111 h 109895"/>
              <a:gd name="connsiteX118" fmla="*/ 562967 w 598374"/>
              <a:gd name="connsiteY118" fmla="*/ 98072 h 109895"/>
              <a:gd name="connsiteX119" fmla="*/ 578355 w 598374"/>
              <a:gd name="connsiteY119" fmla="*/ 92721 h 109895"/>
              <a:gd name="connsiteX120" fmla="*/ 584630 w 598374"/>
              <a:gd name="connsiteY120" fmla="*/ 77350 h 109895"/>
              <a:gd name="connsiteX121" fmla="*/ 578355 w 598374"/>
              <a:gd name="connsiteY121" fmla="*/ 62105 h 109895"/>
              <a:gd name="connsiteX122" fmla="*/ 562967 w 598374"/>
              <a:gd name="connsiteY122" fmla="*/ 56566 h 109895"/>
              <a:gd name="connsiteX123" fmla="*/ 546982 w 598374"/>
              <a:gd name="connsiteY123" fmla="*/ 62105 h 109895"/>
              <a:gd name="connsiteX124" fmla="*/ 540707 w 598374"/>
              <a:gd name="connsiteY124" fmla="*/ 77350 h 109895"/>
              <a:gd name="connsiteX125" fmla="*/ 546982 w 598374"/>
              <a:gd name="connsiteY125" fmla="*/ 92721 h 109895"/>
              <a:gd name="connsiteX126" fmla="*/ 562967 w 598374"/>
              <a:gd name="connsiteY126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598374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5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1" y="1307"/>
                </a:moveTo>
                <a:lnTo>
                  <a:pt x="173257" y="1307"/>
                </a:lnTo>
                <a:lnTo>
                  <a:pt x="173257" y="14188"/>
                </a:lnTo>
                <a:lnTo>
                  <a:pt x="121865" y="14188"/>
                </a:lnTo>
                <a:lnTo>
                  <a:pt x="121865" y="49720"/>
                </a:lnTo>
                <a:lnTo>
                  <a:pt x="165489" y="49720"/>
                </a:lnTo>
                <a:lnTo>
                  <a:pt x="165489" y="62415"/>
                </a:lnTo>
                <a:lnTo>
                  <a:pt x="121865" y="62415"/>
                </a:lnTo>
                <a:lnTo>
                  <a:pt x="121865" y="108402"/>
                </a:lnTo>
                <a:lnTo>
                  <a:pt x="107821" y="108402"/>
                </a:lnTo>
                <a:lnTo>
                  <a:pt x="107821" y="1307"/>
                </a:lnTo>
                <a:close/>
                <a:moveTo>
                  <a:pt x="235762" y="108402"/>
                </a:moveTo>
                <a:lnTo>
                  <a:pt x="222166" y="108402"/>
                </a:lnTo>
                <a:lnTo>
                  <a:pt x="222166" y="18171"/>
                </a:lnTo>
                <a:lnTo>
                  <a:pt x="192586" y="40885"/>
                </a:lnTo>
                <a:lnTo>
                  <a:pt x="192586" y="25825"/>
                </a:lnTo>
                <a:lnTo>
                  <a:pt x="224407" y="1307"/>
                </a:lnTo>
                <a:lnTo>
                  <a:pt x="235762" y="1307"/>
                </a:lnTo>
                <a:lnTo>
                  <a:pt x="235762" y="108402"/>
                </a:lnTo>
                <a:close/>
                <a:moveTo>
                  <a:pt x="274873" y="1307"/>
                </a:moveTo>
                <a:lnTo>
                  <a:pt x="340309" y="1307"/>
                </a:lnTo>
                <a:lnTo>
                  <a:pt x="340309" y="14188"/>
                </a:lnTo>
                <a:lnTo>
                  <a:pt x="288916" y="14188"/>
                </a:lnTo>
                <a:lnTo>
                  <a:pt x="288916" y="49720"/>
                </a:lnTo>
                <a:lnTo>
                  <a:pt x="332540" y="49720"/>
                </a:lnTo>
                <a:lnTo>
                  <a:pt x="332540" y="62415"/>
                </a:lnTo>
                <a:lnTo>
                  <a:pt x="288916" y="62415"/>
                </a:lnTo>
                <a:lnTo>
                  <a:pt x="288916" y="108402"/>
                </a:lnTo>
                <a:lnTo>
                  <a:pt x="274873" y="108402"/>
                </a:lnTo>
                <a:lnTo>
                  <a:pt x="274873" y="1307"/>
                </a:lnTo>
                <a:close/>
                <a:moveTo>
                  <a:pt x="359786" y="1307"/>
                </a:moveTo>
                <a:lnTo>
                  <a:pt x="425223" y="1307"/>
                </a:lnTo>
                <a:lnTo>
                  <a:pt x="425223" y="14188"/>
                </a:lnTo>
                <a:lnTo>
                  <a:pt x="373830" y="14188"/>
                </a:lnTo>
                <a:lnTo>
                  <a:pt x="373830" y="49720"/>
                </a:lnTo>
                <a:lnTo>
                  <a:pt x="417454" y="49720"/>
                </a:lnTo>
                <a:lnTo>
                  <a:pt x="417454" y="62415"/>
                </a:lnTo>
                <a:lnTo>
                  <a:pt x="373830" y="62415"/>
                </a:lnTo>
                <a:lnTo>
                  <a:pt x="373830" y="108402"/>
                </a:lnTo>
                <a:lnTo>
                  <a:pt x="359786" y="108402"/>
                </a:lnTo>
                <a:lnTo>
                  <a:pt x="359786" y="1307"/>
                </a:lnTo>
                <a:close/>
                <a:moveTo>
                  <a:pt x="444694" y="1307"/>
                </a:moveTo>
                <a:lnTo>
                  <a:pt x="511026" y="1307"/>
                </a:lnTo>
                <a:lnTo>
                  <a:pt x="511026" y="14188"/>
                </a:lnTo>
                <a:lnTo>
                  <a:pt x="458737" y="14188"/>
                </a:lnTo>
                <a:lnTo>
                  <a:pt x="458737" y="46547"/>
                </a:lnTo>
                <a:lnTo>
                  <a:pt x="503108" y="46547"/>
                </a:lnTo>
                <a:lnTo>
                  <a:pt x="503108" y="59242"/>
                </a:lnTo>
                <a:lnTo>
                  <a:pt x="458737" y="59242"/>
                </a:lnTo>
                <a:lnTo>
                  <a:pt x="458737" y="95707"/>
                </a:lnTo>
                <a:lnTo>
                  <a:pt x="511773" y="95707"/>
                </a:lnTo>
                <a:lnTo>
                  <a:pt x="511773" y="108402"/>
                </a:lnTo>
                <a:lnTo>
                  <a:pt x="444694" y="108402"/>
                </a:lnTo>
                <a:lnTo>
                  <a:pt x="444694" y="1307"/>
                </a:lnTo>
                <a:close/>
                <a:moveTo>
                  <a:pt x="562967" y="109896"/>
                </a:moveTo>
                <a:cubicBezTo>
                  <a:pt x="555995" y="109896"/>
                  <a:pt x="549770" y="108714"/>
                  <a:pt x="544292" y="106287"/>
                </a:cubicBezTo>
                <a:cubicBezTo>
                  <a:pt x="538914" y="103922"/>
                  <a:pt x="534681" y="100499"/>
                  <a:pt x="531594" y="96019"/>
                </a:cubicBezTo>
                <a:cubicBezTo>
                  <a:pt x="528506" y="91414"/>
                  <a:pt x="526962" y="85938"/>
                  <a:pt x="526962" y="79590"/>
                </a:cubicBezTo>
                <a:cubicBezTo>
                  <a:pt x="526962" y="72683"/>
                  <a:pt x="528755" y="66896"/>
                  <a:pt x="532341" y="62105"/>
                </a:cubicBezTo>
                <a:cubicBezTo>
                  <a:pt x="536026" y="57251"/>
                  <a:pt x="540956" y="53703"/>
                  <a:pt x="547131" y="51525"/>
                </a:cubicBezTo>
                <a:cubicBezTo>
                  <a:pt x="542151" y="49534"/>
                  <a:pt x="538167" y="46485"/>
                  <a:pt x="535179" y="42378"/>
                </a:cubicBezTo>
                <a:cubicBezTo>
                  <a:pt x="532291" y="38333"/>
                  <a:pt x="530847" y="33293"/>
                  <a:pt x="530847" y="27318"/>
                </a:cubicBezTo>
                <a:cubicBezTo>
                  <a:pt x="530847" y="21407"/>
                  <a:pt x="532241" y="16428"/>
                  <a:pt x="535030" y="12383"/>
                </a:cubicBezTo>
                <a:cubicBezTo>
                  <a:pt x="537819" y="8277"/>
                  <a:pt x="541653" y="5228"/>
                  <a:pt x="546533" y="3111"/>
                </a:cubicBezTo>
                <a:cubicBezTo>
                  <a:pt x="551413" y="996"/>
                  <a:pt x="556891" y="0"/>
                  <a:pt x="562967" y="0"/>
                </a:cubicBezTo>
                <a:cubicBezTo>
                  <a:pt x="568943" y="0"/>
                  <a:pt x="574321" y="996"/>
                  <a:pt x="579102" y="3111"/>
                </a:cubicBezTo>
                <a:cubicBezTo>
                  <a:pt x="583883" y="5103"/>
                  <a:pt x="587667" y="8090"/>
                  <a:pt x="590456" y="12073"/>
                </a:cubicBezTo>
                <a:cubicBezTo>
                  <a:pt x="593345" y="16055"/>
                  <a:pt x="594789" y="21033"/>
                  <a:pt x="594789" y="27008"/>
                </a:cubicBezTo>
                <a:cubicBezTo>
                  <a:pt x="594789" y="33106"/>
                  <a:pt x="593295" y="38146"/>
                  <a:pt x="590307" y="42253"/>
                </a:cubicBezTo>
                <a:cubicBezTo>
                  <a:pt x="587319" y="46298"/>
                  <a:pt x="583384" y="49410"/>
                  <a:pt x="578504" y="51525"/>
                </a:cubicBezTo>
                <a:cubicBezTo>
                  <a:pt x="584480" y="53579"/>
                  <a:pt x="589261" y="57001"/>
                  <a:pt x="592846" y="61669"/>
                </a:cubicBezTo>
                <a:cubicBezTo>
                  <a:pt x="596532" y="66336"/>
                  <a:pt x="598374" y="72186"/>
                  <a:pt x="598374" y="79155"/>
                </a:cubicBezTo>
                <a:cubicBezTo>
                  <a:pt x="598374" y="85502"/>
                  <a:pt x="596830" y="91040"/>
                  <a:pt x="593743" y="95707"/>
                </a:cubicBezTo>
                <a:cubicBezTo>
                  <a:pt x="590655" y="100312"/>
                  <a:pt x="586422" y="103797"/>
                  <a:pt x="581044" y="106287"/>
                </a:cubicBezTo>
                <a:cubicBezTo>
                  <a:pt x="575765" y="108714"/>
                  <a:pt x="569740" y="109896"/>
                  <a:pt x="562967" y="109896"/>
                </a:cubicBezTo>
                <a:close/>
                <a:moveTo>
                  <a:pt x="562967" y="46111"/>
                </a:moveTo>
                <a:cubicBezTo>
                  <a:pt x="568246" y="46111"/>
                  <a:pt x="572578" y="44618"/>
                  <a:pt x="575965" y="41631"/>
                </a:cubicBezTo>
                <a:cubicBezTo>
                  <a:pt x="579451" y="38582"/>
                  <a:pt x="581193" y="34350"/>
                  <a:pt x="581193" y="28936"/>
                </a:cubicBezTo>
                <a:cubicBezTo>
                  <a:pt x="581193" y="23585"/>
                  <a:pt x="579451" y="19415"/>
                  <a:pt x="575965" y="16428"/>
                </a:cubicBezTo>
                <a:cubicBezTo>
                  <a:pt x="572578" y="13317"/>
                  <a:pt x="568246" y="11761"/>
                  <a:pt x="562967" y="11761"/>
                </a:cubicBezTo>
                <a:cubicBezTo>
                  <a:pt x="557688" y="11761"/>
                  <a:pt x="553256" y="13317"/>
                  <a:pt x="549671" y="16428"/>
                </a:cubicBezTo>
                <a:cubicBezTo>
                  <a:pt x="546185" y="19415"/>
                  <a:pt x="544442" y="23585"/>
                  <a:pt x="544442" y="28936"/>
                </a:cubicBezTo>
                <a:cubicBezTo>
                  <a:pt x="544442" y="34350"/>
                  <a:pt x="546185" y="38582"/>
                  <a:pt x="549671" y="41631"/>
                </a:cubicBezTo>
                <a:cubicBezTo>
                  <a:pt x="553256" y="44618"/>
                  <a:pt x="557688" y="46111"/>
                  <a:pt x="562967" y="46111"/>
                </a:cubicBezTo>
                <a:close/>
                <a:moveTo>
                  <a:pt x="562967" y="98072"/>
                </a:moveTo>
                <a:cubicBezTo>
                  <a:pt x="569142" y="98072"/>
                  <a:pt x="574271" y="96330"/>
                  <a:pt x="578355" y="92721"/>
                </a:cubicBezTo>
                <a:cubicBezTo>
                  <a:pt x="582538" y="89049"/>
                  <a:pt x="584630" y="83885"/>
                  <a:pt x="584630" y="77350"/>
                </a:cubicBezTo>
                <a:cubicBezTo>
                  <a:pt x="584630" y="70754"/>
                  <a:pt x="582538" y="65714"/>
                  <a:pt x="578355" y="62105"/>
                </a:cubicBezTo>
                <a:cubicBezTo>
                  <a:pt x="574271" y="58433"/>
                  <a:pt x="569142" y="56566"/>
                  <a:pt x="562967" y="56566"/>
                </a:cubicBezTo>
                <a:cubicBezTo>
                  <a:pt x="556593" y="56566"/>
                  <a:pt x="551264" y="58433"/>
                  <a:pt x="546982" y="62105"/>
                </a:cubicBezTo>
                <a:cubicBezTo>
                  <a:pt x="542798" y="65714"/>
                  <a:pt x="540707" y="70754"/>
                  <a:pt x="540707" y="77350"/>
                </a:cubicBezTo>
                <a:cubicBezTo>
                  <a:pt x="540707" y="83885"/>
                  <a:pt x="542798" y="89049"/>
                  <a:pt x="546982" y="92721"/>
                </a:cubicBezTo>
                <a:cubicBezTo>
                  <a:pt x="551264" y="96330"/>
                  <a:pt x="556593" y="98072"/>
                  <a:pt x="562967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1" name="Полилиния 1040">
            <a:extLst>
              <a:ext uri="{FF2B5EF4-FFF2-40B4-BE49-F238E27FC236}">
                <a16:creationId xmlns:a16="http://schemas.microsoft.com/office/drawing/2014/main" id="{2D7D8FBD-4F4B-7BBA-BC90-8585AA054F9E}"/>
              </a:ext>
            </a:extLst>
          </p:cNvPr>
          <p:cNvSpPr/>
          <p:nvPr userDrawn="1"/>
        </p:nvSpPr>
        <p:spPr>
          <a:xfrm>
            <a:off x="19989822" y="3787620"/>
            <a:ext cx="1398954" cy="726227"/>
          </a:xfrm>
          <a:custGeom>
            <a:avLst/>
            <a:gdLst>
              <a:gd name="connsiteX0" fmla="*/ 1063 w 1198727"/>
              <a:gd name="connsiteY0" fmla="*/ 1022 h 622284"/>
              <a:gd name="connsiteX1" fmla="*/ 1199791 w 1198727"/>
              <a:gd name="connsiteY1" fmla="*/ 1022 h 622284"/>
              <a:gd name="connsiteX2" fmla="*/ 1199791 w 1198727"/>
              <a:gd name="connsiteY2" fmla="*/ 623306 h 622284"/>
              <a:gd name="connsiteX3" fmla="*/ 1063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022"/>
                </a:moveTo>
                <a:lnTo>
                  <a:pt x="1199791" y="1022"/>
                </a:lnTo>
                <a:lnTo>
                  <a:pt x="1199791" y="623306"/>
                </a:lnTo>
                <a:lnTo>
                  <a:pt x="1063" y="623306"/>
                </a:lnTo>
                <a:close/>
              </a:path>
            </a:pathLst>
          </a:custGeom>
          <a:solidFill>
            <a:srgbClr val="5A14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2" name="Полилиния 1041">
            <a:extLst>
              <a:ext uri="{FF2B5EF4-FFF2-40B4-BE49-F238E27FC236}">
                <a16:creationId xmlns:a16="http://schemas.microsoft.com/office/drawing/2014/main" id="{E60CC6DB-27D6-5661-B2B1-7D95F2FD3020}"/>
              </a:ext>
            </a:extLst>
          </p:cNvPr>
          <p:cNvSpPr/>
          <p:nvPr userDrawn="1"/>
        </p:nvSpPr>
        <p:spPr>
          <a:xfrm>
            <a:off x="20113031" y="4089586"/>
            <a:ext cx="704453" cy="128252"/>
          </a:xfrm>
          <a:custGeom>
            <a:avLst/>
            <a:gdLst>
              <a:gd name="connsiteX0" fmla="*/ 22098 w 603627"/>
              <a:gd name="connsiteY0" fmla="*/ 108402 h 109895"/>
              <a:gd name="connsiteX1" fmla="*/ 10147 w 603627"/>
              <a:gd name="connsiteY1" fmla="*/ 108402 h 109895"/>
              <a:gd name="connsiteX2" fmla="*/ 16434 w 603627"/>
              <a:gd name="connsiteY2" fmla="*/ 77475 h 109895"/>
              <a:gd name="connsiteX3" fmla="*/ 0 w 603627"/>
              <a:gd name="connsiteY3" fmla="*/ 77475 h 109895"/>
              <a:gd name="connsiteX4" fmla="*/ 0 w 603627"/>
              <a:gd name="connsiteY4" fmla="*/ 67020 h 109895"/>
              <a:gd name="connsiteX5" fmla="*/ 18675 w 603627"/>
              <a:gd name="connsiteY5" fmla="*/ 67020 h 109895"/>
              <a:gd name="connsiteX6" fmla="*/ 24215 w 603627"/>
              <a:gd name="connsiteY6" fmla="*/ 39826 h 109895"/>
              <a:gd name="connsiteX7" fmla="*/ 4046 w 603627"/>
              <a:gd name="connsiteY7" fmla="*/ 39826 h 109895"/>
              <a:gd name="connsiteX8" fmla="*/ 4046 w 603627"/>
              <a:gd name="connsiteY8" fmla="*/ 29372 h 109895"/>
              <a:gd name="connsiteX9" fmla="*/ 26269 w 603627"/>
              <a:gd name="connsiteY9" fmla="*/ 29372 h 109895"/>
              <a:gd name="connsiteX10" fmla="*/ 32120 w 603627"/>
              <a:gd name="connsiteY10" fmla="*/ 1307 h 109895"/>
              <a:gd name="connsiteX11" fmla="*/ 44072 w 603627"/>
              <a:gd name="connsiteY11" fmla="*/ 1307 h 109895"/>
              <a:gd name="connsiteX12" fmla="*/ 38221 w 603627"/>
              <a:gd name="connsiteY12" fmla="*/ 29372 h 109895"/>
              <a:gd name="connsiteX13" fmla="*/ 60630 w 603627"/>
              <a:gd name="connsiteY13" fmla="*/ 29372 h 109895"/>
              <a:gd name="connsiteX14" fmla="*/ 66481 w 603627"/>
              <a:gd name="connsiteY14" fmla="*/ 1307 h 109895"/>
              <a:gd name="connsiteX15" fmla="*/ 78434 w 603627"/>
              <a:gd name="connsiteY15" fmla="*/ 1307 h 109895"/>
              <a:gd name="connsiteX16" fmla="*/ 72582 w 603627"/>
              <a:gd name="connsiteY16" fmla="*/ 29372 h 109895"/>
              <a:gd name="connsiteX17" fmla="*/ 89327 w 603627"/>
              <a:gd name="connsiteY17" fmla="*/ 29372 h 109895"/>
              <a:gd name="connsiteX18" fmla="*/ 89327 w 603627"/>
              <a:gd name="connsiteY18" fmla="*/ 39826 h 109895"/>
              <a:gd name="connsiteX19" fmla="*/ 70528 w 603627"/>
              <a:gd name="connsiteY19" fmla="*/ 39826 h 109895"/>
              <a:gd name="connsiteX20" fmla="*/ 64988 w 603627"/>
              <a:gd name="connsiteY20" fmla="*/ 67020 h 109895"/>
              <a:gd name="connsiteX21" fmla="*/ 85281 w 603627"/>
              <a:gd name="connsiteY21" fmla="*/ 67020 h 109895"/>
              <a:gd name="connsiteX22" fmla="*/ 85281 w 603627"/>
              <a:gd name="connsiteY22" fmla="*/ 77475 h 109895"/>
              <a:gd name="connsiteX23" fmla="*/ 62747 w 603627"/>
              <a:gd name="connsiteY23" fmla="*/ 77475 h 109895"/>
              <a:gd name="connsiteX24" fmla="*/ 56459 w 603627"/>
              <a:gd name="connsiteY24" fmla="*/ 108402 h 109895"/>
              <a:gd name="connsiteX25" fmla="*/ 44508 w 603627"/>
              <a:gd name="connsiteY25" fmla="*/ 108402 h 109895"/>
              <a:gd name="connsiteX26" fmla="*/ 50795 w 603627"/>
              <a:gd name="connsiteY26" fmla="*/ 77475 h 109895"/>
              <a:gd name="connsiteX27" fmla="*/ 28385 w 603627"/>
              <a:gd name="connsiteY27" fmla="*/ 77475 h 109895"/>
              <a:gd name="connsiteX28" fmla="*/ 22098 w 603627"/>
              <a:gd name="connsiteY28" fmla="*/ 108402 h 109895"/>
              <a:gd name="connsiteX29" fmla="*/ 30626 w 603627"/>
              <a:gd name="connsiteY29" fmla="*/ 67020 h 109895"/>
              <a:gd name="connsiteX30" fmla="*/ 53036 w 603627"/>
              <a:gd name="connsiteY30" fmla="*/ 67020 h 109895"/>
              <a:gd name="connsiteX31" fmla="*/ 58576 w 603627"/>
              <a:gd name="connsiteY31" fmla="*/ 39826 h 109895"/>
              <a:gd name="connsiteX32" fmla="*/ 36166 w 603627"/>
              <a:gd name="connsiteY32" fmla="*/ 39826 h 109895"/>
              <a:gd name="connsiteX33" fmla="*/ 30626 w 603627"/>
              <a:gd name="connsiteY33" fmla="*/ 67020 h 109895"/>
              <a:gd name="connsiteX34" fmla="*/ 131718 w 603627"/>
              <a:gd name="connsiteY34" fmla="*/ 109896 h 109895"/>
              <a:gd name="connsiteX35" fmla="*/ 103208 w 603627"/>
              <a:gd name="connsiteY35" fmla="*/ 102304 h 109895"/>
              <a:gd name="connsiteX36" fmla="*/ 103208 w 603627"/>
              <a:gd name="connsiteY36" fmla="*/ 87618 h 109895"/>
              <a:gd name="connsiteX37" fmla="*/ 116343 w 603627"/>
              <a:gd name="connsiteY37" fmla="*/ 95272 h 109895"/>
              <a:gd name="connsiteX38" fmla="*/ 131718 w 603627"/>
              <a:gd name="connsiteY38" fmla="*/ 97637 h 109895"/>
              <a:gd name="connsiteX39" fmla="*/ 148775 w 603627"/>
              <a:gd name="connsiteY39" fmla="*/ 90916 h 109895"/>
              <a:gd name="connsiteX40" fmla="*/ 154875 w 603627"/>
              <a:gd name="connsiteY40" fmla="*/ 73305 h 109895"/>
              <a:gd name="connsiteX41" fmla="*/ 148899 w 603627"/>
              <a:gd name="connsiteY41" fmla="*/ 56255 h 109895"/>
              <a:gd name="connsiteX42" fmla="*/ 133835 w 603627"/>
              <a:gd name="connsiteY42" fmla="*/ 50903 h 109895"/>
              <a:gd name="connsiteX43" fmla="*/ 123190 w 603627"/>
              <a:gd name="connsiteY43" fmla="*/ 53143 h 109895"/>
              <a:gd name="connsiteX44" fmla="*/ 117090 w 603627"/>
              <a:gd name="connsiteY44" fmla="*/ 57624 h 109895"/>
              <a:gd name="connsiteX45" fmla="*/ 106196 w 603627"/>
              <a:gd name="connsiteY45" fmla="*/ 57624 h 109895"/>
              <a:gd name="connsiteX46" fmla="*/ 106196 w 603627"/>
              <a:gd name="connsiteY46" fmla="*/ 1307 h 109895"/>
              <a:gd name="connsiteX47" fmla="*/ 164150 w 603627"/>
              <a:gd name="connsiteY47" fmla="*/ 1307 h 109895"/>
              <a:gd name="connsiteX48" fmla="*/ 164150 w 603627"/>
              <a:gd name="connsiteY48" fmla="*/ 14188 h 109895"/>
              <a:gd name="connsiteX49" fmla="*/ 118460 w 603627"/>
              <a:gd name="connsiteY49" fmla="*/ 14188 h 109895"/>
              <a:gd name="connsiteX50" fmla="*/ 118460 w 603627"/>
              <a:gd name="connsiteY50" fmla="*/ 44805 h 109895"/>
              <a:gd name="connsiteX51" fmla="*/ 125743 w 603627"/>
              <a:gd name="connsiteY51" fmla="*/ 40885 h 109895"/>
              <a:gd name="connsiteX52" fmla="*/ 136076 w 603627"/>
              <a:gd name="connsiteY52" fmla="*/ 39080 h 109895"/>
              <a:gd name="connsiteX53" fmla="*/ 152821 w 603627"/>
              <a:gd name="connsiteY53" fmla="*/ 43000 h 109895"/>
              <a:gd name="connsiteX54" fmla="*/ 164586 w 603627"/>
              <a:gd name="connsiteY54" fmla="*/ 54326 h 109895"/>
              <a:gd name="connsiteX55" fmla="*/ 169068 w 603627"/>
              <a:gd name="connsiteY55" fmla="*/ 72995 h 109895"/>
              <a:gd name="connsiteX56" fmla="*/ 164461 w 603627"/>
              <a:gd name="connsiteY56" fmla="*/ 92410 h 109895"/>
              <a:gd name="connsiteX57" fmla="*/ 151576 w 603627"/>
              <a:gd name="connsiteY57" fmla="*/ 105415 h 109895"/>
              <a:gd name="connsiteX58" fmla="*/ 131718 w 603627"/>
              <a:gd name="connsiteY58" fmla="*/ 109896 h 109895"/>
              <a:gd name="connsiteX59" fmla="*/ 277817 w 603627"/>
              <a:gd name="connsiteY59" fmla="*/ 108402 h 109895"/>
              <a:gd name="connsiteX60" fmla="*/ 262877 w 603627"/>
              <a:gd name="connsiteY60" fmla="*/ 108402 h 109895"/>
              <a:gd name="connsiteX61" fmla="*/ 251797 w 603627"/>
              <a:gd name="connsiteY61" fmla="*/ 77786 h 109895"/>
              <a:gd name="connsiteX62" fmla="*/ 204488 w 603627"/>
              <a:gd name="connsiteY62" fmla="*/ 77786 h 109895"/>
              <a:gd name="connsiteX63" fmla="*/ 193532 w 603627"/>
              <a:gd name="connsiteY63" fmla="*/ 108402 h 109895"/>
              <a:gd name="connsiteX64" fmla="*/ 180397 w 603627"/>
              <a:gd name="connsiteY64" fmla="*/ 108402 h 109895"/>
              <a:gd name="connsiteX65" fmla="*/ 218494 w 603627"/>
              <a:gd name="connsiteY65" fmla="*/ 1307 h 109895"/>
              <a:gd name="connsiteX66" fmla="*/ 239409 w 603627"/>
              <a:gd name="connsiteY66" fmla="*/ 1307 h 109895"/>
              <a:gd name="connsiteX67" fmla="*/ 277817 w 603627"/>
              <a:gd name="connsiteY67" fmla="*/ 108402 h 109895"/>
              <a:gd name="connsiteX68" fmla="*/ 209094 w 603627"/>
              <a:gd name="connsiteY68" fmla="*/ 65091 h 109895"/>
              <a:gd name="connsiteX69" fmla="*/ 247315 w 603627"/>
              <a:gd name="connsiteY69" fmla="*/ 65091 h 109895"/>
              <a:gd name="connsiteX70" fmla="*/ 228204 w 603627"/>
              <a:gd name="connsiteY70" fmla="*/ 11761 h 109895"/>
              <a:gd name="connsiteX71" fmla="*/ 209094 w 603627"/>
              <a:gd name="connsiteY71" fmla="*/ 65091 h 109895"/>
              <a:gd name="connsiteX72" fmla="*/ 336455 w 603627"/>
              <a:gd name="connsiteY72" fmla="*/ 108402 h 109895"/>
              <a:gd name="connsiteX73" fmla="*/ 322823 w 603627"/>
              <a:gd name="connsiteY73" fmla="*/ 108402 h 109895"/>
              <a:gd name="connsiteX74" fmla="*/ 322823 w 603627"/>
              <a:gd name="connsiteY74" fmla="*/ 18171 h 109895"/>
              <a:gd name="connsiteX75" fmla="*/ 293255 w 603627"/>
              <a:gd name="connsiteY75" fmla="*/ 40885 h 109895"/>
              <a:gd name="connsiteX76" fmla="*/ 293255 w 603627"/>
              <a:gd name="connsiteY76" fmla="*/ 25825 h 109895"/>
              <a:gd name="connsiteX77" fmla="*/ 325064 w 603627"/>
              <a:gd name="connsiteY77" fmla="*/ 1307 h 109895"/>
              <a:gd name="connsiteX78" fmla="*/ 336455 w 603627"/>
              <a:gd name="connsiteY78" fmla="*/ 1307 h 109895"/>
              <a:gd name="connsiteX79" fmla="*/ 336455 w 603627"/>
              <a:gd name="connsiteY79" fmla="*/ 108402 h 109895"/>
              <a:gd name="connsiteX80" fmla="*/ 426468 w 603627"/>
              <a:gd name="connsiteY80" fmla="*/ 108402 h 109895"/>
              <a:gd name="connsiteX81" fmla="*/ 413333 w 603627"/>
              <a:gd name="connsiteY81" fmla="*/ 108402 h 109895"/>
              <a:gd name="connsiteX82" fmla="*/ 413333 w 603627"/>
              <a:gd name="connsiteY82" fmla="*/ 83013 h 109895"/>
              <a:gd name="connsiteX83" fmla="*/ 367020 w 603627"/>
              <a:gd name="connsiteY83" fmla="*/ 83013 h 109895"/>
              <a:gd name="connsiteX84" fmla="*/ 367020 w 603627"/>
              <a:gd name="connsiteY84" fmla="*/ 73741 h 109895"/>
              <a:gd name="connsiteX85" fmla="*/ 408851 w 603627"/>
              <a:gd name="connsiteY85" fmla="*/ 1307 h 109895"/>
              <a:gd name="connsiteX86" fmla="*/ 426468 w 603627"/>
              <a:gd name="connsiteY86" fmla="*/ 1307 h 109895"/>
              <a:gd name="connsiteX87" fmla="*/ 426468 w 603627"/>
              <a:gd name="connsiteY87" fmla="*/ 71687 h 109895"/>
              <a:gd name="connsiteX88" fmla="*/ 440971 w 603627"/>
              <a:gd name="connsiteY88" fmla="*/ 71687 h 109895"/>
              <a:gd name="connsiteX89" fmla="*/ 440971 w 603627"/>
              <a:gd name="connsiteY89" fmla="*/ 83013 h 109895"/>
              <a:gd name="connsiteX90" fmla="*/ 426468 w 603627"/>
              <a:gd name="connsiteY90" fmla="*/ 83013 h 109895"/>
              <a:gd name="connsiteX91" fmla="*/ 426468 w 603627"/>
              <a:gd name="connsiteY91" fmla="*/ 108402 h 109895"/>
              <a:gd name="connsiteX92" fmla="*/ 380652 w 603627"/>
              <a:gd name="connsiteY92" fmla="*/ 71687 h 109895"/>
              <a:gd name="connsiteX93" fmla="*/ 413333 w 603627"/>
              <a:gd name="connsiteY93" fmla="*/ 71687 h 109895"/>
              <a:gd name="connsiteX94" fmla="*/ 413333 w 603627"/>
              <a:gd name="connsiteY94" fmla="*/ 15931 h 109895"/>
              <a:gd name="connsiteX95" fmla="*/ 380652 w 603627"/>
              <a:gd name="connsiteY95" fmla="*/ 71687 h 109895"/>
              <a:gd name="connsiteX96" fmla="*/ 486537 w 603627"/>
              <a:gd name="connsiteY96" fmla="*/ 109896 h 109895"/>
              <a:gd name="connsiteX97" fmla="*/ 468299 w 603627"/>
              <a:gd name="connsiteY97" fmla="*/ 104047 h 109895"/>
              <a:gd name="connsiteX98" fmla="*/ 455600 w 603627"/>
              <a:gd name="connsiteY98" fmla="*/ 86125 h 109895"/>
              <a:gd name="connsiteX99" fmla="*/ 451118 w 603627"/>
              <a:gd name="connsiteY99" fmla="*/ 54761 h 109895"/>
              <a:gd name="connsiteX100" fmla="*/ 455600 w 603627"/>
              <a:gd name="connsiteY100" fmla="*/ 23398 h 109895"/>
              <a:gd name="connsiteX101" fmla="*/ 468299 w 603627"/>
              <a:gd name="connsiteY101" fmla="*/ 5663 h 109895"/>
              <a:gd name="connsiteX102" fmla="*/ 486537 w 603627"/>
              <a:gd name="connsiteY102" fmla="*/ 0 h 109895"/>
              <a:gd name="connsiteX103" fmla="*/ 504590 w 603627"/>
              <a:gd name="connsiteY103" fmla="*/ 5663 h 109895"/>
              <a:gd name="connsiteX104" fmla="*/ 516977 w 603627"/>
              <a:gd name="connsiteY104" fmla="*/ 23398 h 109895"/>
              <a:gd name="connsiteX105" fmla="*/ 521460 w 603627"/>
              <a:gd name="connsiteY105" fmla="*/ 54512 h 109895"/>
              <a:gd name="connsiteX106" fmla="*/ 516977 w 603627"/>
              <a:gd name="connsiteY106" fmla="*/ 85876 h 109895"/>
              <a:gd name="connsiteX107" fmla="*/ 504590 w 603627"/>
              <a:gd name="connsiteY107" fmla="*/ 104047 h 109895"/>
              <a:gd name="connsiteX108" fmla="*/ 486537 w 603627"/>
              <a:gd name="connsiteY108" fmla="*/ 109896 h 109895"/>
              <a:gd name="connsiteX109" fmla="*/ 486351 w 603627"/>
              <a:gd name="connsiteY109" fmla="*/ 98072 h 109895"/>
              <a:gd name="connsiteX110" fmla="*/ 497742 w 603627"/>
              <a:gd name="connsiteY110" fmla="*/ 94089 h 109895"/>
              <a:gd name="connsiteX111" fmla="*/ 504901 w 603627"/>
              <a:gd name="connsiteY111" fmla="*/ 80462 h 109895"/>
              <a:gd name="connsiteX112" fmla="*/ 507454 w 603627"/>
              <a:gd name="connsiteY112" fmla="*/ 54948 h 109895"/>
              <a:gd name="connsiteX113" fmla="*/ 505026 w 603627"/>
              <a:gd name="connsiteY113" fmla="*/ 29559 h 109895"/>
              <a:gd name="connsiteX114" fmla="*/ 497867 w 603627"/>
              <a:gd name="connsiteY114" fmla="*/ 15931 h 109895"/>
              <a:gd name="connsiteX115" fmla="*/ 486537 w 603627"/>
              <a:gd name="connsiteY115" fmla="*/ 11761 h 109895"/>
              <a:gd name="connsiteX116" fmla="*/ 475021 w 603627"/>
              <a:gd name="connsiteY116" fmla="*/ 15931 h 109895"/>
              <a:gd name="connsiteX117" fmla="*/ 467676 w 603627"/>
              <a:gd name="connsiteY117" fmla="*/ 29559 h 109895"/>
              <a:gd name="connsiteX118" fmla="*/ 465186 w 603627"/>
              <a:gd name="connsiteY118" fmla="*/ 54948 h 109895"/>
              <a:gd name="connsiteX119" fmla="*/ 467552 w 603627"/>
              <a:gd name="connsiteY119" fmla="*/ 80462 h 109895"/>
              <a:gd name="connsiteX120" fmla="*/ 474897 w 603627"/>
              <a:gd name="connsiteY120" fmla="*/ 94089 h 109895"/>
              <a:gd name="connsiteX121" fmla="*/ 486351 w 603627"/>
              <a:gd name="connsiteY121" fmla="*/ 98072 h 109895"/>
              <a:gd name="connsiteX122" fmla="*/ 568644 w 603627"/>
              <a:gd name="connsiteY122" fmla="*/ 109896 h 109895"/>
              <a:gd name="connsiteX123" fmla="*/ 550405 w 603627"/>
              <a:gd name="connsiteY123" fmla="*/ 104047 h 109895"/>
              <a:gd name="connsiteX124" fmla="*/ 537706 w 603627"/>
              <a:gd name="connsiteY124" fmla="*/ 86125 h 109895"/>
              <a:gd name="connsiteX125" fmla="*/ 533224 w 603627"/>
              <a:gd name="connsiteY125" fmla="*/ 54761 h 109895"/>
              <a:gd name="connsiteX126" fmla="*/ 537706 w 603627"/>
              <a:gd name="connsiteY126" fmla="*/ 23398 h 109895"/>
              <a:gd name="connsiteX127" fmla="*/ 550405 w 603627"/>
              <a:gd name="connsiteY127" fmla="*/ 5663 h 109895"/>
              <a:gd name="connsiteX128" fmla="*/ 568644 w 603627"/>
              <a:gd name="connsiteY128" fmla="*/ 0 h 109895"/>
              <a:gd name="connsiteX129" fmla="*/ 586759 w 603627"/>
              <a:gd name="connsiteY129" fmla="*/ 5663 h 109895"/>
              <a:gd name="connsiteX130" fmla="*/ 599146 w 603627"/>
              <a:gd name="connsiteY130" fmla="*/ 23398 h 109895"/>
              <a:gd name="connsiteX131" fmla="*/ 603628 w 603627"/>
              <a:gd name="connsiteY131" fmla="*/ 54512 h 109895"/>
              <a:gd name="connsiteX132" fmla="*/ 599146 w 603627"/>
              <a:gd name="connsiteY132" fmla="*/ 85876 h 109895"/>
              <a:gd name="connsiteX133" fmla="*/ 586759 w 603627"/>
              <a:gd name="connsiteY133" fmla="*/ 104047 h 109895"/>
              <a:gd name="connsiteX134" fmla="*/ 568644 w 603627"/>
              <a:gd name="connsiteY134" fmla="*/ 109896 h 109895"/>
              <a:gd name="connsiteX135" fmla="*/ 568519 w 603627"/>
              <a:gd name="connsiteY135" fmla="*/ 98072 h 109895"/>
              <a:gd name="connsiteX136" fmla="*/ 579849 w 603627"/>
              <a:gd name="connsiteY136" fmla="*/ 94089 h 109895"/>
              <a:gd name="connsiteX137" fmla="*/ 587007 w 603627"/>
              <a:gd name="connsiteY137" fmla="*/ 80462 h 109895"/>
              <a:gd name="connsiteX138" fmla="*/ 589560 w 603627"/>
              <a:gd name="connsiteY138" fmla="*/ 54948 h 109895"/>
              <a:gd name="connsiteX139" fmla="*/ 587194 w 603627"/>
              <a:gd name="connsiteY139" fmla="*/ 29559 h 109895"/>
              <a:gd name="connsiteX140" fmla="*/ 580035 w 603627"/>
              <a:gd name="connsiteY140" fmla="*/ 15931 h 109895"/>
              <a:gd name="connsiteX141" fmla="*/ 568644 w 603627"/>
              <a:gd name="connsiteY141" fmla="*/ 11761 h 109895"/>
              <a:gd name="connsiteX142" fmla="*/ 557128 w 603627"/>
              <a:gd name="connsiteY142" fmla="*/ 15931 h 109895"/>
              <a:gd name="connsiteX143" fmla="*/ 549845 w 603627"/>
              <a:gd name="connsiteY143" fmla="*/ 29559 h 109895"/>
              <a:gd name="connsiteX144" fmla="*/ 547292 w 603627"/>
              <a:gd name="connsiteY144" fmla="*/ 54948 h 109895"/>
              <a:gd name="connsiteX145" fmla="*/ 549658 w 603627"/>
              <a:gd name="connsiteY145" fmla="*/ 80462 h 109895"/>
              <a:gd name="connsiteX146" fmla="*/ 557003 w 603627"/>
              <a:gd name="connsiteY146" fmla="*/ 94089 h 109895"/>
              <a:gd name="connsiteX147" fmla="*/ 568519 w 603627"/>
              <a:gd name="connsiteY147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3627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31718" y="109896"/>
                </a:moveTo>
                <a:cubicBezTo>
                  <a:pt x="119767" y="109896"/>
                  <a:pt x="110243" y="107344"/>
                  <a:pt x="103208" y="102304"/>
                </a:cubicBezTo>
                <a:lnTo>
                  <a:pt x="103208" y="87618"/>
                </a:lnTo>
                <a:cubicBezTo>
                  <a:pt x="107379" y="91040"/>
                  <a:pt x="111737" y="93592"/>
                  <a:pt x="116343" y="95272"/>
                </a:cubicBezTo>
                <a:cubicBezTo>
                  <a:pt x="120949" y="96828"/>
                  <a:pt x="126054" y="97637"/>
                  <a:pt x="131718" y="97637"/>
                </a:cubicBezTo>
                <a:cubicBezTo>
                  <a:pt x="139126" y="97637"/>
                  <a:pt x="144791" y="95397"/>
                  <a:pt x="148775" y="90916"/>
                </a:cubicBezTo>
                <a:cubicBezTo>
                  <a:pt x="152821" y="86435"/>
                  <a:pt x="154875" y="80586"/>
                  <a:pt x="154875" y="73305"/>
                </a:cubicBezTo>
                <a:cubicBezTo>
                  <a:pt x="154875" y="65527"/>
                  <a:pt x="152883" y="59864"/>
                  <a:pt x="148899" y="56255"/>
                </a:cubicBezTo>
                <a:cubicBezTo>
                  <a:pt x="144916" y="52708"/>
                  <a:pt x="139873" y="50903"/>
                  <a:pt x="133835" y="50903"/>
                </a:cubicBezTo>
                <a:cubicBezTo>
                  <a:pt x="129415" y="50903"/>
                  <a:pt x="125930" y="51650"/>
                  <a:pt x="123190" y="53143"/>
                </a:cubicBezTo>
                <a:cubicBezTo>
                  <a:pt x="120514" y="54512"/>
                  <a:pt x="118460" y="56006"/>
                  <a:pt x="117090" y="57624"/>
                </a:cubicBezTo>
                <a:lnTo>
                  <a:pt x="106196" y="57624"/>
                </a:lnTo>
                <a:lnTo>
                  <a:pt x="106196" y="1307"/>
                </a:lnTo>
                <a:lnTo>
                  <a:pt x="164150" y="1307"/>
                </a:lnTo>
                <a:lnTo>
                  <a:pt x="164150" y="14188"/>
                </a:lnTo>
                <a:lnTo>
                  <a:pt x="118460" y="14188"/>
                </a:lnTo>
                <a:lnTo>
                  <a:pt x="118460" y="44805"/>
                </a:lnTo>
                <a:cubicBezTo>
                  <a:pt x="120452" y="43312"/>
                  <a:pt x="122879" y="42004"/>
                  <a:pt x="125743" y="40885"/>
                </a:cubicBezTo>
                <a:cubicBezTo>
                  <a:pt x="128668" y="39702"/>
                  <a:pt x="132092" y="39080"/>
                  <a:pt x="136076" y="39080"/>
                </a:cubicBezTo>
                <a:cubicBezTo>
                  <a:pt x="142239" y="39080"/>
                  <a:pt x="147841" y="40386"/>
                  <a:pt x="152821" y="43000"/>
                </a:cubicBezTo>
                <a:cubicBezTo>
                  <a:pt x="157801" y="45489"/>
                  <a:pt x="161723" y="49285"/>
                  <a:pt x="164586" y="54326"/>
                </a:cubicBezTo>
                <a:cubicBezTo>
                  <a:pt x="167574" y="59304"/>
                  <a:pt x="169068" y="65527"/>
                  <a:pt x="169068" y="72995"/>
                </a:cubicBezTo>
                <a:cubicBezTo>
                  <a:pt x="169068" y="80399"/>
                  <a:pt x="167511" y="86871"/>
                  <a:pt x="164461" y="92410"/>
                </a:cubicBezTo>
                <a:cubicBezTo>
                  <a:pt x="161473" y="98010"/>
                  <a:pt x="157179" y="102304"/>
                  <a:pt x="151576" y="105415"/>
                </a:cubicBezTo>
                <a:cubicBezTo>
                  <a:pt x="146036" y="108402"/>
                  <a:pt x="139375" y="109896"/>
                  <a:pt x="131718" y="109896"/>
                </a:cubicBezTo>
                <a:close/>
                <a:moveTo>
                  <a:pt x="277817" y="108402"/>
                </a:moveTo>
                <a:lnTo>
                  <a:pt x="262877" y="108402"/>
                </a:lnTo>
                <a:lnTo>
                  <a:pt x="251797" y="77786"/>
                </a:lnTo>
                <a:lnTo>
                  <a:pt x="204488" y="77786"/>
                </a:lnTo>
                <a:lnTo>
                  <a:pt x="193532" y="108402"/>
                </a:lnTo>
                <a:lnTo>
                  <a:pt x="180397" y="108402"/>
                </a:lnTo>
                <a:lnTo>
                  <a:pt x="218494" y="1307"/>
                </a:lnTo>
                <a:lnTo>
                  <a:pt x="239409" y="1307"/>
                </a:lnTo>
                <a:lnTo>
                  <a:pt x="277817" y="108402"/>
                </a:lnTo>
                <a:close/>
                <a:moveTo>
                  <a:pt x="209094" y="65091"/>
                </a:moveTo>
                <a:lnTo>
                  <a:pt x="247315" y="65091"/>
                </a:lnTo>
                <a:lnTo>
                  <a:pt x="228204" y="11761"/>
                </a:lnTo>
                <a:lnTo>
                  <a:pt x="209094" y="65091"/>
                </a:lnTo>
                <a:close/>
                <a:moveTo>
                  <a:pt x="336455" y="108402"/>
                </a:moveTo>
                <a:lnTo>
                  <a:pt x="322823" y="108402"/>
                </a:lnTo>
                <a:lnTo>
                  <a:pt x="322823" y="18171"/>
                </a:lnTo>
                <a:lnTo>
                  <a:pt x="293255" y="40885"/>
                </a:lnTo>
                <a:lnTo>
                  <a:pt x="293255" y="25825"/>
                </a:lnTo>
                <a:lnTo>
                  <a:pt x="325064" y="1307"/>
                </a:lnTo>
                <a:lnTo>
                  <a:pt x="336455" y="1307"/>
                </a:lnTo>
                <a:lnTo>
                  <a:pt x="336455" y="108402"/>
                </a:lnTo>
                <a:close/>
                <a:moveTo>
                  <a:pt x="426468" y="108402"/>
                </a:moveTo>
                <a:lnTo>
                  <a:pt x="413333" y="108402"/>
                </a:lnTo>
                <a:lnTo>
                  <a:pt x="413333" y="83013"/>
                </a:lnTo>
                <a:lnTo>
                  <a:pt x="367020" y="83013"/>
                </a:lnTo>
                <a:lnTo>
                  <a:pt x="367020" y="73741"/>
                </a:lnTo>
                <a:lnTo>
                  <a:pt x="408851" y="1307"/>
                </a:lnTo>
                <a:lnTo>
                  <a:pt x="426468" y="1307"/>
                </a:lnTo>
                <a:lnTo>
                  <a:pt x="426468" y="71687"/>
                </a:lnTo>
                <a:lnTo>
                  <a:pt x="440971" y="71687"/>
                </a:lnTo>
                <a:lnTo>
                  <a:pt x="440971" y="83013"/>
                </a:lnTo>
                <a:lnTo>
                  <a:pt x="426468" y="83013"/>
                </a:lnTo>
                <a:lnTo>
                  <a:pt x="426468" y="108402"/>
                </a:lnTo>
                <a:close/>
                <a:moveTo>
                  <a:pt x="380652" y="71687"/>
                </a:moveTo>
                <a:lnTo>
                  <a:pt x="413333" y="71687"/>
                </a:lnTo>
                <a:lnTo>
                  <a:pt x="413333" y="15931"/>
                </a:lnTo>
                <a:lnTo>
                  <a:pt x="380652" y="71687"/>
                </a:lnTo>
                <a:close/>
                <a:moveTo>
                  <a:pt x="486537" y="109896"/>
                </a:moveTo>
                <a:cubicBezTo>
                  <a:pt x="479752" y="109896"/>
                  <a:pt x="473652" y="107967"/>
                  <a:pt x="468299" y="104047"/>
                </a:cubicBezTo>
                <a:cubicBezTo>
                  <a:pt x="462945" y="100188"/>
                  <a:pt x="458712" y="94214"/>
                  <a:pt x="455600" y="86125"/>
                </a:cubicBezTo>
                <a:cubicBezTo>
                  <a:pt x="452612" y="77972"/>
                  <a:pt x="451118" y="67518"/>
                  <a:pt x="451118" y="54761"/>
                </a:cubicBezTo>
                <a:cubicBezTo>
                  <a:pt x="451118" y="41942"/>
                  <a:pt x="452612" y="31488"/>
                  <a:pt x="455600" y="23398"/>
                </a:cubicBezTo>
                <a:cubicBezTo>
                  <a:pt x="458712" y="15371"/>
                  <a:pt x="462945" y="9459"/>
                  <a:pt x="468299" y="5663"/>
                </a:cubicBezTo>
                <a:cubicBezTo>
                  <a:pt x="473652" y="1867"/>
                  <a:pt x="479752" y="0"/>
                  <a:pt x="486537" y="0"/>
                </a:cubicBezTo>
                <a:cubicBezTo>
                  <a:pt x="493323" y="0"/>
                  <a:pt x="499299" y="1867"/>
                  <a:pt x="504590" y="5663"/>
                </a:cubicBezTo>
                <a:cubicBezTo>
                  <a:pt x="509881" y="9459"/>
                  <a:pt x="513989" y="15371"/>
                  <a:pt x="516977" y="23398"/>
                </a:cubicBezTo>
                <a:cubicBezTo>
                  <a:pt x="519966" y="31363"/>
                  <a:pt x="521460" y="41756"/>
                  <a:pt x="521460" y="54512"/>
                </a:cubicBezTo>
                <a:cubicBezTo>
                  <a:pt x="521460" y="67145"/>
                  <a:pt x="519966" y="77599"/>
                  <a:pt x="516977" y="85876"/>
                </a:cubicBezTo>
                <a:cubicBezTo>
                  <a:pt x="513989" y="94027"/>
                  <a:pt x="509881" y="100064"/>
                  <a:pt x="504590" y="104047"/>
                </a:cubicBezTo>
                <a:cubicBezTo>
                  <a:pt x="499299" y="107967"/>
                  <a:pt x="493323" y="109896"/>
                  <a:pt x="486537" y="109896"/>
                </a:cubicBezTo>
                <a:close/>
                <a:moveTo>
                  <a:pt x="486351" y="98072"/>
                </a:moveTo>
                <a:cubicBezTo>
                  <a:pt x="490833" y="98072"/>
                  <a:pt x="494630" y="96766"/>
                  <a:pt x="497742" y="94089"/>
                </a:cubicBezTo>
                <a:cubicBezTo>
                  <a:pt x="500917" y="91289"/>
                  <a:pt x="503283" y="86747"/>
                  <a:pt x="504901" y="80462"/>
                </a:cubicBezTo>
                <a:cubicBezTo>
                  <a:pt x="506582" y="74114"/>
                  <a:pt x="507454" y="65589"/>
                  <a:pt x="507454" y="54948"/>
                </a:cubicBezTo>
                <a:cubicBezTo>
                  <a:pt x="507454" y="44307"/>
                  <a:pt x="506644" y="35844"/>
                  <a:pt x="505026" y="29559"/>
                </a:cubicBezTo>
                <a:cubicBezTo>
                  <a:pt x="503470" y="23150"/>
                  <a:pt x="501042" y="18669"/>
                  <a:pt x="497867" y="15931"/>
                </a:cubicBezTo>
                <a:cubicBezTo>
                  <a:pt x="494817" y="13192"/>
                  <a:pt x="491020" y="11761"/>
                  <a:pt x="486537" y="11761"/>
                </a:cubicBezTo>
                <a:cubicBezTo>
                  <a:pt x="482056" y="11761"/>
                  <a:pt x="478196" y="13192"/>
                  <a:pt x="475021" y="15931"/>
                </a:cubicBezTo>
                <a:cubicBezTo>
                  <a:pt x="471847" y="18669"/>
                  <a:pt x="469419" y="23150"/>
                  <a:pt x="467676" y="29559"/>
                </a:cubicBezTo>
                <a:cubicBezTo>
                  <a:pt x="465996" y="35844"/>
                  <a:pt x="465186" y="44307"/>
                  <a:pt x="465186" y="54948"/>
                </a:cubicBezTo>
                <a:cubicBezTo>
                  <a:pt x="465186" y="65589"/>
                  <a:pt x="465933" y="74114"/>
                  <a:pt x="467552" y="80462"/>
                </a:cubicBezTo>
                <a:cubicBezTo>
                  <a:pt x="469233" y="86747"/>
                  <a:pt x="471660" y="91289"/>
                  <a:pt x="474897" y="94089"/>
                </a:cubicBezTo>
                <a:cubicBezTo>
                  <a:pt x="478071" y="96766"/>
                  <a:pt x="481869" y="98072"/>
                  <a:pt x="486351" y="98072"/>
                </a:cubicBezTo>
                <a:close/>
                <a:moveTo>
                  <a:pt x="568644" y="109896"/>
                </a:moveTo>
                <a:cubicBezTo>
                  <a:pt x="561859" y="109896"/>
                  <a:pt x="555820" y="107967"/>
                  <a:pt x="550405" y="104047"/>
                </a:cubicBezTo>
                <a:cubicBezTo>
                  <a:pt x="545051" y="100188"/>
                  <a:pt x="540819" y="94214"/>
                  <a:pt x="537706" y="86125"/>
                </a:cubicBezTo>
                <a:cubicBezTo>
                  <a:pt x="534719" y="77972"/>
                  <a:pt x="533224" y="67518"/>
                  <a:pt x="533224" y="54761"/>
                </a:cubicBezTo>
                <a:cubicBezTo>
                  <a:pt x="533224" y="41942"/>
                  <a:pt x="534719" y="31488"/>
                  <a:pt x="537706" y="23398"/>
                </a:cubicBezTo>
                <a:cubicBezTo>
                  <a:pt x="540819" y="15371"/>
                  <a:pt x="545051" y="9459"/>
                  <a:pt x="550405" y="5663"/>
                </a:cubicBezTo>
                <a:cubicBezTo>
                  <a:pt x="555820" y="1867"/>
                  <a:pt x="561859" y="0"/>
                  <a:pt x="568644" y="0"/>
                </a:cubicBezTo>
                <a:cubicBezTo>
                  <a:pt x="575429" y="0"/>
                  <a:pt x="581467" y="1867"/>
                  <a:pt x="586759" y="5663"/>
                </a:cubicBezTo>
                <a:cubicBezTo>
                  <a:pt x="591987" y="9459"/>
                  <a:pt x="596158" y="15371"/>
                  <a:pt x="599146" y="23398"/>
                </a:cubicBezTo>
                <a:cubicBezTo>
                  <a:pt x="602134" y="31363"/>
                  <a:pt x="603628" y="41756"/>
                  <a:pt x="603628" y="54512"/>
                </a:cubicBezTo>
                <a:cubicBezTo>
                  <a:pt x="603628" y="67145"/>
                  <a:pt x="602134" y="77599"/>
                  <a:pt x="599146" y="85876"/>
                </a:cubicBezTo>
                <a:cubicBezTo>
                  <a:pt x="596158" y="94027"/>
                  <a:pt x="591987" y="100064"/>
                  <a:pt x="586759" y="104047"/>
                </a:cubicBezTo>
                <a:cubicBezTo>
                  <a:pt x="581467" y="107967"/>
                  <a:pt x="575429" y="109896"/>
                  <a:pt x="568644" y="109896"/>
                </a:cubicBezTo>
                <a:close/>
                <a:moveTo>
                  <a:pt x="568519" y="98072"/>
                </a:moveTo>
                <a:cubicBezTo>
                  <a:pt x="573001" y="98072"/>
                  <a:pt x="576798" y="96766"/>
                  <a:pt x="579849" y="94089"/>
                </a:cubicBezTo>
                <a:cubicBezTo>
                  <a:pt x="583023" y="91289"/>
                  <a:pt x="585451" y="86747"/>
                  <a:pt x="587007" y="80462"/>
                </a:cubicBezTo>
                <a:cubicBezTo>
                  <a:pt x="588750" y="74114"/>
                  <a:pt x="589560" y="65589"/>
                  <a:pt x="589560" y="54948"/>
                </a:cubicBezTo>
                <a:cubicBezTo>
                  <a:pt x="589560" y="44307"/>
                  <a:pt x="588750" y="35844"/>
                  <a:pt x="587194" y="29559"/>
                </a:cubicBezTo>
                <a:cubicBezTo>
                  <a:pt x="585576" y="23150"/>
                  <a:pt x="583210" y="18669"/>
                  <a:pt x="580035" y="15931"/>
                </a:cubicBezTo>
                <a:cubicBezTo>
                  <a:pt x="576923" y="13192"/>
                  <a:pt x="573126" y="11761"/>
                  <a:pt x="568644" y="11761"/>
                </a:cubicBezTo>
                <a:cubicBezTo>
                  <a:pt x="564162" y="11761"/>
                  <a:pt x="560365" y="13192"/>
                  <a:pt x="557128" y="15931"/>
                </a:cubicBezTo>
                <a:cubicBezTo>
                  <a:pt x="553953" y="18669"/>
                  <a:pt x="551526" y="23150"/>
                  <a:pt x="549845" y="29559"/>
                </a:cubicBezTo>
                <a:cubicBezTo>
                  <a:pt x="548164" y="35844"/>
                  <a:pt x="547292" y="44307"/>
                  <a:pt x="547292" y="54948"/>
                </a:cubicBezTo>
                <a:cubicBezTo>
                  <a:pt x="547292" y="65589"/>
                  <a:pt x="548102" y="74114"/>
                  <a:pt x="549658" y="80462"/>
                </a:cubicBezTo>
                <a:cubicBezTo>
                  <a:pt x="551401" y="86747"/>
                  <a:pt x="553829" y="91289"/>
                  <a:pt x="557003" y="94089"/>
                </a:cubicBezTo>
                <a:cubicBezTo>
                  <a:pt x="560178" y="96766"/>
                  <a:pt x="564038" y="98072"/>
                  <a:pt x="568519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3" name="Полилиния 1042">
            <a:extLst>
              <a:ext uri="{FF2B5EF4-FFF2-40B4-BE49-F238E27FC236}">
                <a16:creationId xmlns:a16="http://schemas.microsoft.com/office/drawing/2014/main" id="{EA01D5A6-FB6D-4449-AB3C-A5A45B078952}"/>
              </a:ext>
            </a:extLst>
          </p:cNvPr>
          <p:cNvSpPr/>
          <p:nvPr userDrawn="1"/>
        </p:nvSpPr>
        <p:spPr>
          <a:xfrm>
            <a:off x="19989822" y="4513847"/>
            <a:ext cx="1398954" cy="726227"/>
          </a:xfrm>
          <a:custGeom>
            <a:avLst/>
            <a:gdLst>
              <a:gd name="connsiteX0" fmla="*/ 1063 w 1198727"/>
              <a:gd name="connsiteY0" fmla="*/ 1122 h 622284"/>
              <a:gd name="connsiteX1" fmla="*/ 1199791 w 1198727"/>
              <a:gd name="connsiteY1" fmla="*/ 1122 h 622284"/>
              <a:gd name="connsiteX2" fmla="*/ 1199791 w 1198727"/>
              <a:gd name="connsiteY2" fmla="*/ 623406 h 622284"/>
              <a:gd name="connsiteX3" fmla="*/ 1063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122"/>
                </a:moveTo>
                <a:lnTo>
                  <a:pt x="1199791" y="1122"/>
                </a:lnTo>
                <a:lnTo>
                  <a:pt x="1199791" y="623406"/>
                </a:lnTo>
                <a:lnTo>
                  <a:pt x="1063" y="623406"/>
                </a:lnTo>
                <a:close/>
              </a:path>
            </a:pathLst>
          </a:custGeom>
          <a:solidFill>
            <a:srgbClr val="821E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4" name="Полилиния 1043">
            <a:extLst>
              <a:ext uri="{FF2B5EF4-FFF2-40B4-BE49-F238E27FC236}">
                <a16:creationId xmlns:a16="http://schemas.microsoft.com/office/drawing/2014/main" id="{7AC25747-8E5B-4852-AD87-428A4ED8759F}"/>
              </a:ext>
            </a:extLst>
          </p:cNvPr>
          <p:cNvSpPr/>
          <p:nvPr userDrawn="1"/>
        </p:nvSpPr>
        <p:spPr>
          <a:xfrm>
            <a:off x="20113031" y="4815595"/>
            <a:ext cx="687890" cy="128468"/>
          </a:xfrm>
          <a:custGeom>
            <a:avLst/>
            <a:gdLst>
              <a:gd name="connsiteX0" fmla="*/ 22098 w 589434"/>
              <a:gd name="connsiteY0" fmla="*/ 108588 h 110081"/>
              <a:gd name="connsiteX1" fmla="*/ 10147 w 589434"/>
              <a:gd name="connsiteY1" fmla="*/ 108588 h 110081"/>
              <a:gd name="connsiteX2" fmla="*/ 16434 w 589434"/>
              <a:gd name="connsiteY2" fmla="*/ 77661 h 110081"/>
              <a:gd name="connsiteX3" fmla="*/ 0 w 589434"/>
              <a:gd name="connsiteY3" fmla="*/ 77661 h 110081"/>
              <a:gd name="connsiteX4" fmla="*/ 0 w 589434"/>
              <a:gd name="connsiteY4" fmla="*/ 67206 h 110081"/>
              <a:gd name="connsiteX5" fmla="*/ 18675 w 589434"/>
              <a:gd name="connsiteY5" fmla="*/ 67206 h 110081"/>
              <a:gd name="connsiteX6" fmla="*/ 24215 w 589434"/>
              <a:gd name="connsiteY6" fmla="*/ 40012 h 110081"/>
              <a:gd name="connsiteX7" fmla="*/ 4046 w 589434"/>
              <a:gd name="connsiteY7" fmla="*/ 40012 h 110081"/>
              <a:gd name="connsiteX8" fmla="*/ 4046 w 589434"/>
              <a:gd name="connsiteY8" fmla="*/ 29559 h 110081"/>
              <a:gd name="connsiteX9" fmla="*/ 26269 w 589434"/>
              <a:gd name="connsiteY9" fmla="*/ 29559 h 110081"/>
              <a:gd name="connsiteX10" fmla="*/ 32120 w 589434"/>
              <a:gd name="connsiteY10" fmla="*/ 1493 h 110081"/>
              <a:gd name="connsiteX11" fmla="*/ 44072 w 589434"/>
              <a:gd name="connsiteY11" fmla="*/ 1493 h 110081"/>
              <a:gd name="connsiteX12" fmla="*/ 38221 w 589434"/>
              <a:gd name="connsiteY12" fmla="*/ 29559 h 110081"/>
              <a:gd name="connsiteX13" fmla="*/ 60630 w 589434"/>
              <a:gd name="connsiteY13" fmla="*/ 29559 h 110081"/>
              <a:gd name="connsiteX14" fmla="*/ 66481 w 589434"/>
              <a:gd name="connsiteY14" fmla="*/ 1493 h 110081"/>
              <a:gd name="connsiteX15" fmla="*/ 78434 w 589434"/>
              <a:gd name="connsiteY15" fmla="*/ 1493 h 110081"/>
              <a:gd name="connsiteX16" fmla="*/ 72582 w 589434"/>
              <a:gd name="connsiteY16" fmla="*/ 29559 h 110081"/>
              <a:gd name="connsiteX17" fmla="*/ 89327 w 589434"/>
              <a:gd name="connsiteY17" fmla="*/ 29559 h 110081"/>
              <a:gd name="connsiteX18" fmla="*/ 89327 w 589434"/>
              <a:gd name="connsiteY18" fmla="*/ 40012 h 110081"/>
              <a:gd name="connsiteX19" fmla="*/ 70528 w 589434"/>
              <a:gd name="connsiteY19" fmla="*/ 40012 h 110081"/>
              <a:gd name="connsiteX20" fmla="*/ 64988 w 589434"/>
              <a:gd name="connsiteY20" fmla="*/ 67206 h 110081"/>
              <a:gd name="connsiteX21" fmla="*/ 85281 w 589434"/>
              <a:gd name="connsiteY21" fmla="*/ 67206 h 110081"/>
              <a:gd name="connsiteX22" fmla="*/ 85281 w 589434"/>
              <a:gd name="connsiteY22" fmla="*/ 77661 h 110081"/>
              <a:gd name="connsiteX23" fmla="*/ 62747 w 589434"/>
              <a:gd name="connsiteY23" fmla="*/ 77661 h 110081"/>
              <a:gd name="connsiteX24" fmla="*/ 56459 w 589434"/>
              <a:gd name="connsiteY24" fmla="*/ 108588 h 110081"/>
              <a:gd name="connsiteX25" fmla="*/ 44508 w 589434"/>
              <a:gd name="connsiteY25" fmla="*/ 108588 h 110081"/>
              <a:gd name="connsiteX26" fmla="*/ 50795 w 589434"/>
              <a:gd name="connsiteY26" fmla="*/ 77661 h 110081"/>
              <a:gd name="connsiteX27" fmla="*/ 28385 w 589434"/>
              <a:gd name="connsiteY27" fmla="*/ 77661 h 110081"/>
              <a:gd name="connsiteX28" fmla="*/ 22098 w 589434"/>
              <a:gd name="connsiteY28" fmla="*/ 108588 h 110081"/>
              <a:gd name="connsiteX29" fmla="*/ 30626 w 589434"/>
              <a:gd name="connsiteY29" fmla="*/ 67206 h 110081"/>
              <a:gd name="connsiteX30" fmla="*/ 53036 w 589434"/>
              <a:gd name="connsiteY30" fmla="*/ 67206 h 110081"/>
              <a:gd name="connsiteX31" fmla="*/ 58576 w 589434"/>
              <a:gd name="connsiteY31" fmla="*/ 40012 h 110081"/>
              <a:gd name="connsiteX32" fmla="*/ 36166 w 589434"/>
              <a:gd name="connsiteY32" fmla="*/ 40012 h 110081"/>
              <a:gd name="connsiteX33" fmla="*/ 30626 w 589434"/>
              <a:gd name="connsiteY33" fmla="*/ 67206 h 110081"/>
              <a:gd name="connsiteX34" fmla="*/ 136823 w 589434"/>
              <a:gd name="connsiteY34" fmla="*/ 110082 h 110081"/>
              <a:gd name="connsiteX35" fmla="*/ 118148 w 589434"/>
              <a:gd name="connsiteY35" fmla="*/ 106473 h 110081"/>
              <a:gd name="connsiteX36" fmla="*/ 105449 w 589434"/>
              <a:gd name="connsiteY36" fmla="*/ 96205 h 110081"/>
              <a:gd name="connsiteX37" fmla="*/ 100781 w 589434"/>
              <a:gd name="connsiteY37" fmla="*/ 79777 h 110081"/>
              <a:gd name="connsiteX38" fmla="*/ 106196 w 589434"/>
              <a:gd name="connsiteY38" fmla="*/ 62291 h 110081"/>
              <a:gd name="connsiteX39" fmla="*/ 120949 w 589434"/>
              <a:gd name="connsiteY39" fmla="*/ 51711 h 110081"/>
              <a:gd name="connsiteX40" fmla="*/ 108998 w 589434"/>
              <a:gd name="connsiteY40" fmla="*/ 42564 h 110081"/>
              <a:gd name="connsiteX41" fmla="*/ 104702 w 589434"/>
              <a:gd name="connsiteY41" fmla="*/ 27504 h 110081"/>
              <a:gd name="connsiteX42" fmla="*/ 108873 w 589434"/>
              <a:gd name="connsiteY42" fmla="*/ 12570 h 110081"/>
              <a:gd name="connsiteX43" fmla="*/ 120389 w 589434"/>
              <a:gd name="connsiteY43" fmla="*/ 3298 h 110081"/>
              <a:gd name="connsiteX44" fmla="*/ 136823 w 589434"/>
              <a:gd name="connsiteY44" fmla="*/ 186 h 110081"/>
              <a:gd name="connsiteX45" fmla="*/ 152945 w 589434"/>
              <a:gd name="connsiteY45" fmla="*/ 3298 h 110081"/>
              <a:gd name="connsiteX46" fmla="*/ 164275 w 589434"/>
              <a:gd name="connsiteY46" fmla="*/ 12259 h 110081"/>
              <a:gd name="connsiteX47" fmla="*/ 168632 w 589434"/>
              <a:gd name="connsiteY47" fmla="*/ 27194 h 110081"/>
              <a:gd name="connsiteX48" fmla="*/ 164150 w 589434"/>
              <a:gd name="connsiteY48" fmla="*/ 42439 h 110081"/>
              <a:gd name="connsiteX49" fmla="*/ 152323 w 589434"/>
              <a:gd name="connsiteY49" fmla="*/ 51711 h 110081"/>
              <a:gd name="connsiteX50" fmla="*/ 166703 w 589434"/>
              <a:gd name="connsiteY50" fmla="*/ 61855 h 110081"/>
              <a:gd name="connsiteX51" fmla="*/ 172242 w 589434"/>
              <a:gd name="connsiteY51" fmla="*/ 79341 h 110081"/>
              <a:gd name="connsiteX52" fmla="*/ 167574 w 589434"/>
              <a:gd name="connsiteY52" fmla="*/ 95893 h 110081"/>
              <a:gd name="connsiteX53" fmla="*/ 154875 w 589434"/>
              <a:gd name="connsiteY53" fmla="*/ 106473 h 110081"/>
              <a:gd name="connsiteX54" fmla="*/ 136823 w 589434"/>
              <a:gd name="connsiteY54" fmla="*/ 110082 h 110081"/>
              <a:gd name="connsiteX55" fmla="*/ 136823 w 589434"/>
              <a:gd name="connsiteY55" fmla="*/ 46298 h 110081"/>
              <a:gd name="connsiteX56" fmla="*/ 149833 w 589434"/>
              <a:gd name="connsiteY56" fmla="*/ 41817 h 110081"/>
              <a:gd name="connsiteX57" fmla="*/ 155062 w 589434"/>
              <a:gd name="connsiteY57" fmla="*/ 29122 h 110081"/>
              <a:gd name="connsiteX58" fmla="*/ 149833 w 589434"/>
              <a:gd name="connsiteY58" fmla="*/ 16615 h 110081"/>
              <a:gd name="connsiteX59" fmla="*/ 136823 w 589434"/>
              <a:gd name="connsiteY59" fmla="*/ 11947 h 110081"/>
              <a:gd name="connsiteX60" fmla="*/ 123502 w 589434"/>
              <a:gd name="connsiteY60" fmla="*/ 16615 h 110081"/>
              <a:gd name="connsiteX61" fmla="*/ 118273 w 589434"/>
              <a:gd name="connsiteY61" fmla="*/ 29122 h 110081"/>
              <a:gd name="connsiteX62" fmla="*/ 123502 w 589434"/>
              <a:gd name="connsiteY62" fmla="*/ 41817 h 110081"/>
              <a:gd name="connsiteX63" fmla="*/ 136823 w 589434"/>
              <a:gd name="connsiteY63" fmla="*/ 46298 h 110081"/>
              <a:gd name="connsiteX64" fmla="*/ 136823 w 589434"/>
              <a:gd name="connsiteY64" fmla="*/ 98258 h 110081"/>
              <a:gd name="connsiteX65" fmla="*/ 152198 w 589434"/>
              <a:gd name="connsiteY65" fmla="*/ 92907 h 110081"/>
              <a:gd name="connsiteX66" fmla="*/ 158486 w 589434"/>
              <a:gd name="connsiteY66" fmla="*/ 77536 h 110081"/>
              <a:gd name="connsiteX67" fmla="*/ 152198 w 589434"/>
              <a:gd name="connsiteY67" fmla="*/ 62291 h 110081"/>
              <a:gd name="connsiteX68" fmla="*/ 136823 w 589434"/>
              <a:gd name="connsiteY68" fmla="*/ 56752 h 110081"/>
              <a:gd name="connsiteX69" fmla="*/ 120825 w 589434"/>
              <a:gd name="connsiteY69" fmla="*/ 62291 h 110081"/>
              <a:gd name="connsiteX70" fmla="*/ 114538 w 589434"/>
              <a:gd name="connsiteY70" fmla="*/ 77536 h 110081"/>
              <a:gd name="connsiteX71" fmla="*/ 120825 w 589434"/>
              <a:gd name="connsiteY71" fmla="*/ 92907 h 110081"/>
              <a:gd name="connsiteX72" fmla="*/ 136823 w 589434"/>
              <a:gd name="connsiteY72" fmla="*/ 98258 h 110081"/>
              <a:gd name="connsiteX73" fmla="*/ 253042 w 589434"/>
              <a:gd name="connsiteY73" fmla="*/ 108588 h 110081"/>
              <a:gd name="connsiteX74" fmla="*/ 184754 w 589434"/>
              <a:gd name="connsiteY74" fmla="*/ 108588 h 110081"/>
              <a:gd name="connsiteX75" fmla="*/ 184754 w 589434"/>
              <a:gd name="connsiteY75" fmla="*/ 94400 h 110081"/>
              <a:gd name="connsiteX76" fmla="*/ 210899 w 589434"/>
              <a:gd name="connsiteY76" fmla="*/ 72433 h 110081"/>
              <a:gd name="connsiteX77" fmla="*/ 226897 w 589434"/>
              <a:gd name="connsiteY77" fmla="*/ 56628 h 110081"/>
              <a:gd name="connsiteX78" fmla="*/ 234927 w 589434"/>
              <a:gd name="connsiteY78" fmla="*/ 43933 h 110081"/>
              <a:gd name="connsiteX79" fmla="*/ 237355 w 589434"/>
              <a:gd name="connsiteY79" fmla="*/ 32109 h 110081"/>
              <a:gd name="connsiteX80" fmla="*/ 231815 w 589434"/>
              <a:gd name="connsiteY80" fmla="*/ 17610 h 110081"/>
              <a:gd name="connsiteX81" fmla="*/ 216564 w 589434"/>
              <a:gd name="connsiteY81" fmla="*/ 12383 h 110081"/>
              <a:gd name="connsiteX82" fmla="*/ 187556 w 589434"/>
              <a:gd name="connsiteY82" fmla="*/ 27194 h 110081"/>
              <a:gd name="connsiteX83" fmla="*/ 187556 w 589434"/>
              <a:gd name="connsiteY83" fmla="*/ 12134 h 110081"/>
              <a:gd name="connsiteX84" fmla="*/ 217000 w 589434"/>
              <a:gd name="connsiteY84" fmla="*/ 0 h 110081"/>
              <a:gd name="connsiteX85" fmla="*/ 242397 w 589434"/>
              <a:gd name="connsiteY85" fmla="*/ 8401 h 110081"/>
              <a:gd name="connsiteX86" fmla="*/ 251797 w 589434"/>
              <a:gd name="connsiteY86" fmla="*/ 30803 h 110081"/>
              <a:gd name="connsiteX87" fmla="*/ 249431 w 589434"/>
              <a:gd name="connsiteY87" fmla="*/ 44804 h 110081"/>
              <a:gd name="connsiteX88" fmla="*/ 241339 w 589434"/>
              <a:gd name="connsiteY88" fmla="*/ 58681 h 110081"/>
              <a:gd name="connsiteX89" fmla="*/ 225652 w 589434"/>
              <a:gd name="connsiteY89" fmla="*/ 74860 h 110081"/>
              <a:gd name="connsiteX90" fmla="*/ 200254 w 589434"/>
              <a:gd name="connsiteY90" fmla="*/ 95769 h 110081"/>
              <a:gd name="connsiteX91" fmla="*/ 253042 w 589434"/>
              <a:gd name="connsiteY91" fmla="*/ 95769 h 110081"/>
              <a:gd name="connsiteX92" fmla="*/ 253042 w 589434"/>
              <a:gd name="connsiteY92" fmla="*/ 108588 h 110081"/>
              <a:gd name="connsiteX93" fmla="*/ 315104 w 589434"/>
              <a:gd name="connsiteY93" fmla="*/ 108588 h 110081"/>
              <a:gd name="connsiteX94" fmla="*/ 301534 w 589434"/>
              <a:gd name="connsiteY94" fmla="*/ 108588 h 110081"/>
              <a:gd name="connsiteX95" fmla="*/ 301534 w 589434"/>
              <a:gd name="connsiteY95" fmla="*/ 18357 h 110081"/>
              <a:gd name="connsiteX96" fmla="*/ 271965 w 589434"/>
              <a:gd name="connsiteY96" fmla="*/ 41071 h 110081"/>
              <a:gd name="connsiteX97" fmla="*/ 271965 w 589434"/>
              <a:gd name="connsiteY97" fmla="*/ 26011 h 110081"/>
              <a:gd name="connsiteX98" fmla="*/ 303774 w 589434"/>
              <a:gd name="connsiteY98" fmla="*/ 1493 h 110081"/>
              <a:gd name="connsiteX99" fmla="*/ 315104 w 589434"/>
              <a:gd name="connsiteY99" fmla="*/ 1493 h 110081"/>
              <a:gd name="connsiteX100" fmla="*/ 315104 w 589434"/>
              <a:gd name="connsiteY100" fmla="*/ 108588 h 110081"/>
              <a:gd name="connsiteX101" fmla="*/ 354258 w 589434"/>
              <a:gd name="connsiteY101" fmla="*/ 1493 h 110081"/>
              <a:gd name="connsiteX102" fmla="*/ 420554 w 589434"/>
              <a:gd name="connsiteY102" fmla="*/ 1493 h 110081"/>
              <a:gd name="connsiteX103" fmla="*/ 420554 w 589434"/>
              <a:gd name="connsiteY103" fmla="*/ 14374 h 110081"/>
              <a:gd name="connsiteX104" fmla="*/ 368264 w 589434"/>
              <a:gd name="connsiteY104" fmla="*/ 14374 h 110081"/>
              <a:gd name="connsiteX105" fmla="*/ 368264 w 589434"/>
              <a:gd name="connsiteY105" fmla="*/ 46734 h 110081"/>
              <a:gd name="connsiteX106" fmla="*/ 412648 w 589434"/>
              <a:gd name="connsiteY106" fmla="*/ 46734 h 110081"/>
              <a:gd name="connsiteX107" fmla="*/ 412648 w 589434"/>
              <a:gd name="connsiteY107" fmla="*/ 59428 h 110081"/>
              <a:gd name="connsiteX108" fmla="*/ 368264 w 589434"/>
              <a:gd name="connsiteY108" fmla="*/ 59428 h 110081"/>
              <a:gd name="connsiteX109" fmla="*/ 368264 w 589434"/>
              <a:gd name="connsiteY109" fmla="*/ 95893 h 110081"/>
              <a:gd name="connsiteX110" fmla="*/ 421300 w 589434"/>
              <a:gd name="connsiteY110" fmla="*/ 95893 h 110081"/>
              <a:gd name="connsiteX111" fmla="*/ 421300 w 589434"/>
              <a:gd name="connsiteY111" fmla="*/ 108588 h 110081"/>
              <a:gd name="connsiteX112" fmla="*/ 354258 w 589434"/>
              <a:gd name="connsiteY112" fmla="*/ 108588 h 110081"/>
              <a:gd name="connsiteX113" fmla="*/ 354258 w 589434"/>
              <a:gd name="connsiteY113" fmla="*/ 1493 h 110081"/>
              <a:gd name="connsiteX114" fmla="*/ 472345 w 589434"/>
              <a:gd name="connsiteY114" fmla="*/ 110082 h 110081"/>
              <a:gd name="connsiteX115" fmla="*/ 454168 w 589434"/>
              <a:gd name="connsiteY115" fmla="*/ 104233 h 110081"/>
              <a:gd name="connsiteX116" fmla="*/ 441469 w 589434"/>
              <a:gd name="connsiteY116" fmla="*/ 86311 h 110081"/>
              <a:gd name="connsiteX117" fmla="*/ 436987 w 589434"/>
              <a:gd name="connsiteY117" fmla="*/ 54947 h 110081"/>
              <a:gd name="connsiteX118" fmla="*/ 441469 w 589434"/>
              <a:gd name="connsiteY118" fmla="*/ 23584 h 110081"/>
              <a:gd name="connsiteX119" fmla="*/ 454168 w 589434"/>
              <a:gd name="connsiteY119" fmla="*/ 5849 h 110081"/>
              <a:gd name="connsiteX120" fmla="*/ 472345 w 589434"/>
              <a:gd name="connsiteY120" fmla="*/ 186 h 110081"/>
              <a:gd name="connsiteX121" fmla="*/ 490459 w 589434"/>
              <a:gd name="connsiteY121" fmla="*/ 5849 h 110081"/>
              <a:gd name="connsiteX122" fmla="*/ 502847 w 589434"/>
              <a:gd name="connsiteY122" fmla="*/ 23584 h 110081"/>
              <a:gd name="connsiteX123" fmla="*/ 507329 w 589434"/>
              <a:gd name="connsiteY123" fmla="*/ 54698 h 110081"/>
              <a:gd name="connsiteX124" fmla="*/ 502847 w 589434"/>
              <a:gd name="connsiteY124" fmla="*/ 86062 h 110081"/>
              <a:gd name="connsiteX125" fmla="*/ 490459 w 589434"/>
              <a:gd name="connsiteY125" fmla="*/ 104233 h 110081"/>
              <a:gd name="connsiteX126" fmla="*/ 472345 w 589434"/>
              <a:gd name="connsiteY126" fmla="*/ 110082 h 110081"/>
              <a:gd name="connsiteX127" fmla="*/ 472220 w 589434"/>
              <a:gd name="connsiteY127" fmla="*/ 98258 h 110081"/>
              <a:gd name="connsiteX128" fmla="*/ 483549 w 589434"/>
              <a:gd name="connsiteY128" fmla="*/ 94275 h 110081"/>
              <a:gd name="connsiteX129" fmla="*/ 490771 w 589434"/>
              <a:gd name="connsiteY129" fmla="*/ 80648 h 110081"/>
              <a:gd name="connsiteX130" fmla="*/ 493261 w 589434"/>
              <a:gd name="connsiteY130" fmla="*/ 55134 h 110081"/>
              <a:gd name="connsiteX131" fmla="*/ 490895 w 589434"/>
              <a:gd name="connsiteY131" fmla="*/ 29745 h 110081"/>
              <a:gd name="connsiteX132" fmla="*/ 483736 w 589434"/>
              <a:gd name="connsiteY132" fmla="*/ 16117 h 110081"/>
              <a:gd name="connsiteX133" fmla="*/ 472345 w 589434"/>
              <a:gd name="connsiteY133" fmla="*/ 11947 h 110081"/>
              <a:gd name="connsiteX134" fmla="*/ 460891 w 589434"/>
              <a:gd name="connsiteY134" fmla="*/ 16117 h 110081"/>
              <a:gd name="connsiteX135" fmla="*/ 453546 w 589434"/>
              <a:gd name="connsiteY135" fmla="*/ 29745 h 110081"/>
              <a:gd name="connsiteX136" fmla="*/ 450993 w 589434"/>
              <a:gd name="connsiteY136" fmla="*/ 55134 h 110081"/>
              <a:gd name="connsiteX137" fmla="*/ 453421 w 589434"/>
              <a:gd name="connsiteY137" fmla="*/ 80648 h 110081"/>
              <a:gd name="connsiteX138" fmla="*/ 460705 w 589434"/>
              <a:gd name="connsiteY138" fmla="*/ 94275 h 110081"/>
              <a:gd name="connsiteX139" fmla="*/ 472220 w 589434"/>
              <a:gd name="connsiteY139" fmla="*/ 98258 h 110081"/>
              <a:gd name="connsiteX140" fmla="*/ 554513 w 589434"/>
              <a:gd name="connsiteY140" fmla="*/ 110082 h 110081"/>
              <a:gd name="connsiteX141" fmla="*/ 536275 w 589434"/>
              <a:gd name="connsiteY141" fmla="*/ 104233 h 110081"/>
              <a:gd name="connsiteX142" fmla="*/ 523576 w 589434"/>
              <a:gd name="connsiteY142" fmla="*/ 86311 h 110081"/>
              <a:gd name="connsiteX143" fmla="*/ 519094 w 589434"/>
              <a:gd name="connsiteY143" fmla="*/ 54947 h 110081"/>
              <a:gd name="connsiteX144" fmla="*/ 523576 w 589434"/>
              <a:gd name="connsiteY144" fmla="*/ 23584 h 110081"/>
              <a:gd name="connsiteX145" fmla="*/ 536275 w 589434"/>
              <a:gd name="connsiteY145" fmla="*/ 5849 h 110081"/>
              <a:gd name="connsiteX146" fmla="*/ 554513 w 589434"/>
              <a:gd name="connsiteY146" fmla="*/ 186 h 110081"/>
              <a:gd name="connsiteX147" fmla="*/ 572566 w 589434"/>
              <a:gd name="connsiteY147" fmla="*/ 5849 h 110081"/>
              <a:gd name="connsiteX148" fmla="*/ 584953 w 589434"/>
              <a:gd name="connsiteY148" fmla="*/ 23584 h 110081"/>
              <a:gd name="connsiteX149" fmla="*/ 589435 w 589434"/>
              <a:gd name="connsiteY149" fmla="*/ 54698 h 110081"/>
              <a:gd name="connsiteX150" fmla="*/ 584953 w 589434"/>
              <a:gd name="connsiteY150" fmla="*/ 86062 h 110081"/>
              <a:gd name="connsiteX151" fmla="*/ 572566 w 589434"/>
              <a:gd name="connsiteY151" fmla="*/ 104233 h 110081"/>
              <a:gd name="connsiteX152" fmla="*/ 554513 w 589434"/>
              <a:gd name="connsiteY152" fmla="*/ 110082 h 110081"/>
              <a:gd name="connsiteX153" fmla="*/ 554326 w 589434"/>
              <a:gd name="connsiteY153" fmla="*/ 98258 h 110081"/>
              <a:gd name="connsiteX154" fmla="*/ 565719 w 589434"/>
              <a:gd name="connsiteY154" fmla="*/ 94275 h 110081"/>
              <a:gd name="connsiteX155" fmla="*/ 572877 w 589434"/>
              <a:gd name="connsiteY155" fmla="*/ 80648 h 110081"/>
              <a:gd name="connsiteX156" fmla="*/ 575429 w 589434"/>
              <a:gd name="connsiteY156" fmla="*/ 55134 h 110081"/>
              <a:gd name="connsiteX157" fmla="*/ 573001 w 589434"/>
              <a:gd name="connsiteY157" fmla="*/ 29745 h 110081"/>
              <a:gd name="connsiteX158" fmla="*/ 565843 w 589434"/>
              <a:gd name="connsiteY158" fmla="*/ 16117 h 110081"/>
              <a:gd name="connsiteX159" fmla="*/ 554513 w 589434"/>
              <a:gd name="connsiteY159" fmla="*/ 11947 h 110081"/>
              <a:gd name="connsiteX160" fmla="*/ 542997 w 589434"/>
              <a:gd name="connsiteY160" fmla="*/ 16117 h 110081"/>
              <a:gd name="connsiteX161" fmla="*/ 535652 w 589434"/>
              <a:gd name="connsiteY161" fmla="*/ 29745 h 110081"/>
              <a:gd name="connsiteX162" fmla="*/ 533162 w 589434"/>
              <a:gd name="connsiteY162" fmla="*/ 55134 h 110081"/>
              <a:gd name="connsiteX163" fmla="*/ 535528 w 589434"/>
              <a:gd name="connsiteY163" fmla="*/ 80648 h 110081"/>
              <a:gd name="connsiteX164" fmla="*/ 542873 w 589434"/>
              <a:gd name="connsiteY164" fmla="*/ 94275 h 110081"/>
              <a:gd name="connsiteX165" fmla="*/ 554326 w 589434"/>
              <a:gd name="connsiteY165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589434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1" y="110082"/>
                  <a:pt x="123626" y="108900"/>
                  <a:pt x="118148" y="106473"/>
                </a:cubicBezTo>
                <a:cubicBezTo>
                  <a:pt x="112733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6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0" y="49720"/>
                  <a:pt x="111986" y="46671"/>
                  <a:pt x="108998" y="42564"/>
                </a:cubicBezTo>
                <a:cubicBezTo>
                  <a:pt x="106134" y="38519"/>
                  <a:pt x="104702" y="33479"/>
                  <a:pt x="104702" y="27504"/>
                </a:cubicBezTo>
                <a:cubicBezTo>
                  <a:pt x="104702" y="21593"/>
                  <a:pt x="106072" y="16615"/>
                  <a:pt x="108873" y="12570"/>
                </a:cubicBezTo>
                <a:cubicBezTo>
                  <a:pt x="111674" y="8463"/>
                  <a:pt x="115471" y="5414"/>
                  <a:pt x="120389" y="3298"/>
                </a:cubicBezTo>
                <a:cubicBezTo>
                  <a:pt x="125245" y="1182"/>
                  <a:pt x="130723" y="186"/>
                  <a:pt x="136823" y="186"/>
                </a:cubicBezTo>
                <a:cubicBezTo>
                  <a:pt x="142799" y="186"/>
                  <a:pt x="148152" y="1182"/>
                  <a:pt x="152945" y="3298"/>
                </a:cubicBezTo>
                <a:cubicBezTo>
                  <a:pt x="157739" y="5289"/>
                  <a:pt x="161536" y="8276"/>
                  <a:pt x="164275" y="12259"/>
                </a:cubicBezTo>
                <a:cubicBezTo>
                  <a:pt x="167201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5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5" y="106473"/>
                </a:cubicBezTo>
                <a:cubicBezTo>
                  <a:pt x="149584" y="108900"/>
                  <a:pt x="143608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4" y="46298"/>
                  <a:pt x="146410" y="44804"/>
                  <a:pt x="149833" y="41817"/>
                </a:cubicBezTo>
                <a:cubicBezTo>
                  <a:pt x="153319" y="38768"/>
                  <a:pt x="155062" y="34536"/>
                  <a:pt x="155062" y="29122"/>
                </a:cubicBezTo>
                <a:cubicBezTo>
                  <a:pt x="155062" y="23771"/>
                  <a:pt x="153319" y="19601"/>
                  <a:pt x="149833" y="16615"/>
                </a:cubicBezTo>
                <a:cubicBezTo>
                  <a:pt x="146410" y="13503"/>
                  <a:pt x="142114" y="11947"/>
                  <a:pt x="136823" y="11947"/>
                </a:cubicBezTo>
                <a:cubicBezTo>
                  <a:pt x="131532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2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69" y="89235"/>
                  <a:pt x="158486" y="84071"/>
                  <a:pt x="158486" y="77536"/>
                </a:cubicBezTo>
                <a:cubicBezTo>
                  <a:pt x="158486" y="70940"/>
                  <a:pt x="156369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0" y="58619"/>
                  <a:pt x="120825" y="62291"/>
                </a:cubicBezTo>
                <a:cubicBezTo>
                  <a:pt x="116654" y="65900"/>
                  <a:pt x="114538" y="70940"/>
                  <a:pt x="114538" y="77536"/>
                </a:cubicBezTo>
                <a:cubicBezTo>
                  <a:pt x="114538" y="84071"/>
                  <a:pt x="116654" y="89235"/>
                  <a:pt x="120825" y="92907"/>
                </a:cubicBezTo>
                <a:cubicBezTo>
                  <a:pt x="125120" y="96516"/>
                  <a:pt x="130411" y="98258"/>
                  <a:pt x="136823" y="98258"/>
                </a:cubicBezTo>
                <a:close/>
                <a:moveTo>
                  <a:pt x="253042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4" y="78532"/>
                  <a:pt x="210899" y="72433"/>
                </a:cubicBezTo>
                <a:cubicBezTo>
                  <a:pt x="217747" y="66397"/>
                  <a:pt x="223100" y="61108"/>
                  <a:pt x="226897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355" y="36092"/>
                  <a:pt x="237355" y="32109"/>
                </a:cubicBezTo>
                <a:cubicBezTo>
                  <a:pt x="237355" y="25949"/>
                  <a:pt x="235488" y="21095"/>
                  <a:pt x="231815" y="17610"/>
                </a:cubicBezTo>
                <a:cubicBezTo>
                  <a:pt x="228143" y="14125"/>
                  <a:pt x="223038" y="12383"/>
                  <a:pt x="216564" y="12383"/>
                </a:cubicBezTo>
                <a:cubicBezTo>
                  <a:pt x="206231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5" y="4044"/>
                  <a:pt x="205670" y="0"/>
                  <a:pt x="217000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1050" y="40324"/>
                  <a:pt x="249431" y="44804"/>
                </a:cubicBezTo>
                <a:cubicBezTo>
                  <a:pt x="247937" y="49222"/>
                  <a:pt x="245261" y="53827"/>
                  <a:pt x="241339" y="58681"/>
                </a:cubicBezTo>
                <a:cubicBezTo>
                  <a:pt x="237604" y="63473"/>
                  <a:pt x="232375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3042" y="95769"/>
                </a:lnTo>
                <a:lnTo>
                  <a:pt x="253042" y="108588"/>
                </a:lnTo>
                <a:close/>
                <a:moveTo>
                  <a:pt x="315104" y="108588"/>
                </a:moveTo>
                <a:lnTo>
                  <a:pt x="301534" y="108588"/>
                </a:lnTo>
                <a:lnTo>
                  <a:pt x="301534" y="18357"/>
                </a:lnTo>
                <a:lnTo>
                  <a:pt x="271965" y="41071"/>
                </a:lnTo>
                <a:lnTo>
                  <a:pt x="271965" y="26011"/>
                </a:lnTo>
                <a:lnTo>
                  <a:pt x="303774" y="1493"/>
                </a:lnTo>
                <a:lnTo>
                  <a:pt x="315104" y="1493"/>
                </a:lnTo>
                <a:lnTo>
                  <a:pt x="315104" y="108588"/>
                </a:lnTo>
                <a:close/>
                <a:moveTo>
                  <a:pt x="354258" y="1493"/>
                </a:moveTo>
                <a:lnTo>
                  <a:pt x="420554" y="1493"/>
                </a:lnTo>
                <a:lnTo>
                  <a:pt x="420554" y="14374"/>
                </a:lnTo>
                <a:lnTo>
                  <a:pt x="368264" y="14374"/>
                </a:lnTo>
                <a:lnTo>
                  <a:pt x="368264" y="46734"/>
                </a:lnTo>
                <a:lnTo>
                  <a:pt x="412648" y="46734"/>
                </a:lnTo>
                <a:lnTo>
                  <a:pt x="412648" y="59428"/>
                </a:lnTo>
                <a:lnTo>
                  <a:pt x="368264" y="59428"/>
                </a:lnTo>
                <a:lnTo>
                  <a:pt x="368264" y="95893"/>
                </a:lnTo>
                <a:lnTo>
                  <a:pt x="421300" y="95893"/>
                </a:lnTo>
                <a:lnTo>
                  <a:pt x="421300" y="108588"/>
                </a:lnTo>
                <a:lnTo>
                  <a:pt x="354258" y="108588"/>
                </a:lnTo>
                <a:lnTo>
                  <a:pt x="354258" y="1493"/>
                </a:lnTo>
                <a:close/>
                <a:moveTo>
                  <a:pt x="472345" y="110082"/>
                </a:moveTo>
                <a:cubicBezTo>
                  <a:pt x="465622" y="110082"/>
                  <a:pt x="459521" y="108153"/>
                  <a:pt x="454168" y="104233"/>
                </a:cubicBezTo>
                <a:cubicBezTo>
                  <a:pt x="448752" y="100374"/>
                  <a:pt x="444519" y="94400"/>
                  <a:pt x="441469" y="86311"/>
                </a:cubicBezTo>
                <a:cubicBezTo>
                  <a:pt x="438481" y="78159"/>
                  <a:pt x="436987" y="67705"/>
                  <a:pt x="436987" y="54947"/>
                </a:cubicBezTo>
                <a:cubicBezTo>
                  <a:pt x="436987" y="42128"/>
                  <a:pt x="438481" y="31674"/>
                  <a:pt x="441469" y="23584"/>
                </a:cubicBezTo>
                <a:cubicBezTo>
                  <a:pt x="444519" y="15557"/>
                  <a:pt x="448752" y="9645"/>
                  <a:pt x="454168" y="5849"/>
                </a:cubicBezTo>
                <a:cubicBezTo>
                  <a:pt x="459521" y="2053"/>
                  <a:pt x="465622" y="186"/>
                  <a:pt x="472345" y="186"/>
                </a:cubicBezTo>
                <a:cubicBezTo>
                  <a:pt x="479130" y="186"/>
                  <a:pt x="485168" y="2053"/>
                  <a:pt x="490459" y="5849"/>
                </a:cubicBezTo>
                <a:cubicBezTo>
                  <a:pt x="495751" y="9645"/>
                  <a:pt x="499859" y="15557"/>
                  <a:pt x="502847" y="23584"/>
                </a:cubicBezTo>
                <a:cubicBezTo>
                  <a:pt x="505835" y="31549"/>
                  <a:pt x="507329" y="41942"/>
                  <a:pt x="507329" y="54698"/>
                </a:cubicBezTo>
                <a:cubicBezTo>
                  <a:pt x="507329" y="67331"/>
                  <a:pt x="505835" y="77786"/>
                  <a:pt x="502847" y="86062"/>
                </a:cubicBezTo>
                <a:cubicBezTo>
                  <a:pt x="499859" y="94213"/>
                  <a:pt x="495751" y="100250"/>
                  <a:pt x="490459" y="104233"/>
                </a:cubicBezTo>
                <a:cubicBezTo>
                  <a:pt x="485168" y="108153"/>
                  <a:pt x="479130" y="110082"/>
                  <a:pt x="472345" y="110082"/>
                </a:cubicBezTo>
                <a:close/>
                <a:moveTo>
                  <a:pt x="472220" y="98258"/>
                </a:moveTo>
                <a:cubicBezTo>
                  <a:pt x="476702" y="98258"/>
                  <a:pt x="480499" y="96952"/>
                  <a:pt x="483549" y="94275"/>
                </a:cubicBezTo>
                <a:cubicBezTo>
                  <a:pt x="486786" y="91475"/>
                  <a:pt x="489152" y="86933"/>
                  <a:pt x="490771" y="80648"/>
                </a:cubicBezTo>
                <a:cubicBezTo>
                  <a:pt x="492451" y="74300"/>
                  <a:pt x="493261" y="65775"/>
                  <a:pt x="493261" y="55134"/>
                </a:cubicBezTo>
                <a:cubicBezTo>
                  <a:pt x="493261" y="44493"/>
                  <a:pt x="492514" y="36030"/>
                  <a:pt x="490895" y="29745"/>
                </a:cubicBezTo>
                <a:cubicBezTo>
                  <a:pt x="489277" y="23336"/>
                  <a:pt x="486911" y="18855"/>
                  <a:pt x="483736" y="16117"/>
                </a:cubicBezTo>
                <a:cubicBezTo>
                  <a:pt x="480624" y="13379"/>
                  <a:pt x="476827" y="11947"/>
                  <a:pt x="472345" y="11947"/>
                </a:cubicBezTo>
                <a:cubicBezTo>
                  <a:pt x="467863" y="11947"/>
                  <a:pt x="464065" y="13379"/>
                  <a:pt x="460891" y="16117"/>
                </a:cubicBezTo>
                <a:cubicBezTo>
                  <a:pt x="457654" y="18855"/>
                  <a:pt x="455227" y="23336"/>
                  <a:pt x="453546" y="29745"/>
                </a:cubicBezTo>
                <a:cubicBezTo>
                  <a:pt x="451865" y="36030"/>
                  <a:pt x="450993" y="44493"/>
                  <a:pt x="450993" y="55134"/>
                </a:cubicBezTo>
                <a:cubicBezTo>
                  <a:pt x="450993" y="65775"/>
                  <a:pt x="451803" y="74300"/>
                  <a:pt x="453421" y="80648"/>
                </a:cubicBezTo>
                <a:cubicBezTo>
                  <a:pt x="455102" y="86933"/>
                  <a:pt x="457530" y="91475"/>
                  <a:pt x="460705" y="94275"/>
                </a:cubicBezTo>
                <a:cubicBezTo>
                  <a:pt x="463879" y="96952"/>
                  <a:pt x="467739" y="98258"/>
                  <a:pt x="472220" y="98258"/>
                </a:cubicBezTo>
                <a:close/>
                <a:moveTo>
                  <a:pt x="554513" y="110082"/>
                </a:moveTo>
                <a:cubicBezTo>
                  <a:pt x="547728" y="110082"/>
                  <a:pt x="541628" y="108153"/>
                  <a:pt x="536275" y="104233"/>
                </a:cubicBezTo>
                <a:cubicBezTo>
                  <a:pt x="530921" y="100374"/>
                  <a:pt x="526688" y="94400"/>
                  <a:pt x="523576" y="86311"/>
                </a:cubicBezTo>
                <a:cubicBezTo>
                  <a:pt x="520588" y="78159"/>
                  <a:pt x="519094" y="67705"/>
                  <a:pt x="519094" y="54947"/>
                </a:cubicBezTo>
                <a:cubicBezTo>
                  <a:pt x="519094" y="42128"/>
                  <a:pt x="520588" y="31674"/>
                  <a:pt x="523576" y="23584"/>
                </a:cubicBezTo>
                <a:cubicBezTo>
                  <a:pt x="526688" y="15557"/>
                  <a:pt x="530921" y="9645"/>
                  <a:pt x="536275" y="5849"/>
                </a:cubicBezTo>
                <a:cubicBezTo>
                  <a:pt x="541628" y="2053"/>
                  <a:pt x="547728" y="186"/>
                  <a:pt x="554513" y="186"/>
                </a:cubicBezTo>
                <a:cubicBezTo>
                  <a:pt x="561298" y="186"/>
                  <a:pt x="567275" y="2053"/>
                  <a:pt x="572566" y="5849"/>
                </a:cubicBezTo>
                <a:cubicBezTo>
                  <a:pt x="577857" y="9645"/>
                  <a:pt x="581965" y="15557"/>
                  <a:pt x="584953" y="23584"/>
                </a:cubicBezTo>
                <a:cubicBezTo>
                  <a:pt x="587941" y="31549"/>
                  <a:pt x="589435" y="41942"/>
                  <a:pt x="589435" y="54698"/>
                </a:cubicBezTo>
                <a:cubicBezTo>
                  <a:pt x="589435" y="67331"/>
                  <a:pt x="587941" y="77786"/>
                  <a:pt x="584953" y="86062"/>
                </a:cubicBezTo>
                <a:cubicBezTo>
                  <a:pt x="581965" y="94213"/>
                  <a:pt x="577857" y="100250"/>
                  <a:pt x="572566" y="104233"/>
                </a:cubicBezTo>
                <a:cubicBezTo>
                  <a:pt x="567275" y="108153"/>
                  <a:pt x="561298" y="110082"/>
                  <a:pt x="554513" y="110082"/>
                </a:cubicBezTo>
                <a:close/>
                <a:moveTo>
                  <a:pt x="554326" y="98258"/>
                </a:moveTo>
                <a:cubicBezTo>
                  <a:pt x="558809" y="98258"/>
                  <a:pt x="562606" y="96952"/>
                  <a:pt x="565719" y="94275"/>
                </a:cubicBezTo>
                <a:cubicBezTo>
                  <a:pt x="568893" y="91475"/>
                  <a:pt x="571259" y="86933"/>
                  <a:pt x="572877" y="80648"/>
                </a:cubicBezTo>
                <a:cubicBezTo>
                  <a:pt x="574557" y="74300"/>
                  <a:pt x="575429" y="65775"/>
                  <a:pt x="575429" y="55134"/>
                </a:cubicBezTo>
                <a:cubicBezTo>
                  <a:pt x="575429" y="44493"/>
                  <a:pt x="574620" y="36030"/>
                  <a:pt x="573001" y="29745"/>
                </a:cubicBezTo>
                <a:cubicBezTo>
                  <a:pt x="571445" y="23336"/>
                  <a:pt x="569017" y="18855"/>
                  <a:pt x="565843" y="16117"/>
                </a:cubicBezTo>
                <a:cubicBezTo>
                  <a:pt x="562792" y="13379"/>
                  <a:pt x="558995" y="11947"/>
                  <a:pt x="554513" y="11947"/>
                </a:cubicBezTo>
                <a:cubicBezTo>
                  <a:pt x="550032" y="11947"/>
                  <a:pt x="546172" y="13379"/>
                  <a:pt x="542997" y="16117"/>
                </a:cubicBezTo>
                <a:cubicBezTo>
                  <a:pt x="539823" y="18855"/>
                  <a:pt x="537395" y="23336"/>
                  <a:pt x="535652" y="29745"/>
                </a:cubicBezTo>
                <a:cubicBezTo>
                  <a:pt x="533972" y="36030"/>
                  <a:pt x="533162" y="44493"/>
                  <a:pt x="533162" y="55134"/>
                </a:cubicBezTo>
                <a:cubicBezTo>
                  <a:pt x="533162" y="65775"/>
                  <a:pt x="533909" y="74300"/>
                  <a:pt x="535528" y="80648"/>
                </a:cubicBezTo>
                <a:cubicBezTo>
                  <a:pt x="537208" y="86933"/>
                  <a:pt x="539636" y="91475"/>
                  <a:pt x="542873" y="94275"/>
                </a:cubicBezTo>
                <a:cubicBezTo>
                  <a:pt x="546048" y="96952"/>
                  <a:pt x="549845" y="98258"/>
                  <a:pt x="554326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5" name="Полилиния 1044">
            <a:extLst>
              <a:ext uri="{FF2B5EF4-FFF2-40B4-BE49-F238E27FC236}">
                <a16:creationId xmlns:a16="http://schemas.microsoft.com/office/drawing/2014/main" id="{60A63D55-03C5-25AA-1318-32AD6BF3179E}"/>
              </a:ext>
            </a:extLst>
          </p:cNvPr>
          <p:cNvSpPr/>
          <p:nvPr userDrawn="1"/>
        </p:nvSpPr>
        <p:spPr>
          <a:xfrm>
            <a:off x="19989822" y="5240073"/>
            <a:ext cx="1398954" cy="726227"/>
          </a:xfrm>
          <a:custGeom>
            <a:avLst/>
            <a:gdLst>
              <a:gd name="connsiteX0" fmla="*/ 1063 w 1198727"/>
              <a:gd name="connsiteY0" fmla="*/ 1222 h 622284"/>
              <a:gd name="connsiteX1" fmla="*/ 1199791 w 1198727"/>
              <a:gd name="connsiteY1" fmla="*/ 1222 h 622284"/>
              <a:gd name="connsiteX2" fmla="*/ 1199791 w 1198727"/>
              <a:gd name="connsiteY2" fmla="*/ 623506 h 622284"/>
              <a:gd name="connsiteX3" fmla="*/ 1063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222"/>
                </a:moveTo>
                <a:lnTo>
                  <a:pt x="1199791" y="1222"/>
                </a:lnTo>
                <a:lnTo>
                  <a:pt x="1199791" y="623506"/>
                </a:lnTo>
                <a:lnTo>
                  <a:pt x="1063" y="623506"/>
                </a:lnTo>
                <a:close/>
              </a:path>
            </a:pathLst>
          </a:custGeom>
          <a:solidFill>
            <a:srgbClr val="A528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6" name="Полилиния 1045">
            <a:extLst>
              <a:ext uri="{FF2B5EF4-FFF2-40B4-BE49-F238E27FC236}">
                <a16:creationId xmlns:a16="http://schemas.microsoft.com/office/drawing/2014/main" id="{51D1CD10-B045-C48C-032E-D2770AB8861E}"/>
              </a:ext>
            </a:extLst>
          </p:cNvPr>
          <p:cNvSpPr/>
          <p:nvPr userDrawn="1"/>
        </p:nvSpPr>
        <p:spPr>
          <a:xfrm>
            <a:off x="20113031" y="5541820"/>
            <a:ext cx="697479" cy="128468"/>
          </a:xfrm>
          <a:custGeom>
            <a:avLst/>
            <a:gdLst>
              <a:gd name="connsiteX0" fmla="*/ 22098 w 597652"/>
              <a:gd name="connsiteY0" fmla="*/ 108588 h 110081"/>
              <a:gd name="connsiteX1" fmla="*/ 10147 w 597652"/>
              <a:gd name="connsiteY1" fmla="*/ 108588 h 110081"/>
              <a:gd name="connsiteX2" fmla="*/ 16434 w 597652"/>
              <a:gd name="connsiteY2" fmla="*/ 77661 h 110081"/>
              <a:gd name="connsiteX3" fmla="*/ 0 w 597652"/>
              <a:gd name="connsiteY3" fmla="*/ 77661 h 110081"/>
              <a:gd name="connsiteX4" fmla="*/ 0 w 597652"/>
              <a:gd name="connsiteY4" fmla="*/ 67206 h 110081"/>
              <a:gd name="connsiteX5" fmla="*/ 18675 w 597652"/>
              <a:gd name="connsiteY5" fmla="*/ 67206 h 110081"/>
              <a:gd name="connsiteX6" fmla="*/ 24215 w 597652"/>
              <a:gd name="connsiteY6" fmla="*/ 40012 h 110081"/>
              <a:gd name="connsiteX7" fmla="*/ 4046 w 597652"/>
              <a:gd name="connsiteY7" fmla="*/ 40012 h 110081"/>
              <a:gd name="connsiteX8" fmla="*/ 4046 w 597652"/>
              <a:gd name="connsiteY8" fmla="*/ 29559 h 110081"/>
              <a:gd name="connsiteX9" fmla="*/ 26269 w 597652"/>
              <a:gd name="connsiteY9" fmla="*/ 29559 h 110081"/>
              <a:gd name="connsiteX10" fmla="*/ 32120 w 597652"/>
              <a:gd name="connsiteY10" fmla="*/ 1493 h 110081"/>
              <a:gd name="connsiteX11" fmla="*/ 44072 w 597652"/>
              <a:gd name="connsiteY11" fmla="*/ 1493 h 110081"/>
              <a:gd name="connsiteX12" fmla="*/ 38221 w 597652"/>
              <a:gd name="connsiteY12" fmla="*/ 29559 h 110081"/>
              <a:gd name="connsiteX13" fmla="*/ 60630 w 597652"/>
              <a:gd name="connsiteY13" fmla="*/ 29559 h 110081"/>
              <a:gd name="connsiteX14" fmla="*/ 66481 w 597652"/>
              <a:gd name="connsiteY14" fmla="*/ 1493 h 110081"/>
              <a:gd name="connsiteX15" fmla="*/ 78434 w 597652"/>
              <a:gd name="connsiteY15" fmla="*/ 1493 h 110081"/>
              <a:gd name="connsiteX16" fmla="*/ 72582 w 597652"/>
              <a:gd name="connsiteY16" fmla="*/ 29559 h 110081"/>
              <a:gd name="connsiteX17" fmla="*/ 89327 w 597652"/>
              <a:gd name="connsiteY17" fmla="*/ 29559 h 110081"/>
              <a:gd name="connsiteX18" fmla="*/ 89327 w 597652"/>
              <a:gd name="connsiteY18" fmla="*/ 40012 h 110081"/>
              <a:gd name="connsiteX19" fmla="*/ 70528 w 597652"/>
              <a:gd name="connsiteY19" fmla="*/ 40012 h 110081"/>
              <a:gd name="connsiteX20" fmla="*/ 64988 w 597652"/>
              <a:gd name="connsiteY20" fmla="*/ 67206 h 110081"/>
              <a:gd name="connsiteX21" fmla="*/ 85281 w 597652"/>
              <a:gd name="connsiteY21" fmla="*/ 67206 h 110081"/>
              <a:gd name="connsiteX22" fmla="*/ 85281 w 597652"/>
              <a:gd name="connsiteY22" fmla="*/ 77661 h 110081"/>
              <a:gd name="connsiteX23" fmla="*/ 62747 w 597652"/>
              <a:gd name="connsiteY23" fmla="*/ 77661 h 110081"/>
              <a:gd name="connsiteX24" fmla="*/ 56459 w 597652"/>
              <a:gd name="connsiteY24" fmla="*/ 108588 h 110081"/>
              <a:gd name="connsiteX25" fmla="*/ 44508 w 597652"/>
              <a:gd name="connsiteY25" fmla="*/ 108588 h 110081"/>
              <a:gd name="connsiteX26" fmla="*/ 50795 w 597652"/>
              <a:gd name="connsiteY26" fmla="*/ 77661 h 110081"/>
              <a:gd name="connsiteX27" fmla="*/ 28385 w 597652"/>
              <a:gd name="connsiteY27" fmla="*/ 77661 h 110081"/>
              <a:gd name="connsiteX28" fmla="*/ 22098 w 597652"/>
              <a:gd name="connsiteY28" fmla="*/ 108588 h 110081"/>
              <a:gd name="connsiteX29" fmla="*/ 30626 w 597652"/>
              <a:gd name="connsiteY29" fmla="*/ 67206 h 110081"/>
              <a:gd name="connsiteX30" fmla="*/ 53036 w 597652"/>
              <a:gd name="connsiteY30" fmla="*/ 67206 h 110081"/>
              <a:gd name="connsiteX31" fmla="*/ 58576 w 597652"/>
              <a:gd name="connsiteY31" fmla="*/ 40012 h 110081"/>
              <a:gd name="connsiteX32" fmla="*/ 36166 w 597652"/>
              <a:gd name="connsiteY32" fmla="*/ 40012 h 110081"/>
              <a:gd name="connsiteX33" fmla="*/ 30626 w 597652"/>
              <a:gd name="connsiteY33" fmla="*/ 67206 h 110081"/>
              <a:gd name="connsiteX34" fmla="*/ 189672 w 597652"/>
              <a:gd name="connsiteY34" fmla="*/ 108588 h 110081"/>
              <a:gd name="connsiteX35" fmla="*/ 174732 w 597652"/>
              <a:gd name="connsiteY35" fmla="*/ 108588 h 110081"/>
              <a:gd name="connsiteX36" fmla="*/ 163714 w 597652"/>
              <a:gd name="connsiteY36" fmla="*/ 77972 h 110081"/>
              <a:gd name="connsiteX37" fmla="*/ 116343 w 597652"/>
              <a:gd name="connsiteY37" fmla="*/ 77972 h 110081"/>
              <a:gd name="connsiteX38" fmla="*/ 105449 w 597652"/>
              <a:gd name="connsiteY38" fmla="*/ 108588 h 110081"/>
              <a:gd name="connsiteX39" fmla="*/ 92315 w 597652"/>
              <a:gd name="connsiteY39" fmla="*/ 108588 h 110081"/>
              <a:gd name="connsiteX40" fmla="*/ 130411 w 597652"/>
              <a:gd name="connsiteY40" fmla="*/ 1493 h 110081"/>
              <a:gd name="connsiteX41" fmla="*/ 151327 w 597652"/>
              <a:gd name="connsiteY41" fmla="*/ 1493 h 110081"/>
              <a:gd name="connsiteX42" fmla="*/ 189672 w 597652"/>
              <a:gd name="connsiteY42" fmla="*/ 108588 h 110081"/>
              <a:gd name="connsiteX43" fmla="*/ 120949 w 597652"/>
              <a:gd name="connsiteY43" fmla="*/ 65278 h 110081"/>
              <a:gd name="connsiteX44" fmla="*/ 159233 w 597652"/>
              <a:gd name="connsiteY44" fmla="*/ 65278 h 110081"/>
              <a:gd name="connsiteX45" fmla="*/ 140122 w 597652"/>
              <a:gd name="connsiteY45" fmla="*/ 11947 h 110081"/>
              <a:gd name="connsiteX46" fmla="*/ 120949 w 597652"/>
              <a:gd name="connsiteY46" fmla="*/ 65278 h 110081"/>
              <a:gd name="connsiteX47" fmla="*/ 229200 w 597652"/>
              <a:gd name="connsiteY47" fmla="*/ 110082 h 110081"/>
              <a:gd name="connsiteX48" fmla="*/ 200628 w 597652"/>
              <a:gd name="connsiteY48" fmla="*/ 102490 h 110081"/>
              <a:gd name="connsiteX49" fmla="*/ 200628 w 597652"/>
              <a:gd name="connsiteY49" fmla="*/ 87804 h 110081"/>
              <a:gd name="connsiteX50" fmla="*/ 213825 w 597652"/>
              <a:gd name="connsiteY50" fmla="*/ 95458 h 110081"/>
              <a:gd name="connsiteX51" fmla="*/ 229200 w 597652"/>
              <a:gd name="connsiteY51" fmla="*/ 97823 h 110081"/>
              <a:gd name="connsiteX52" fmla="*/ 246194 w 597652"/>
              <a:gd name="connsiteY52" fmla="*/ 91102 h 110081"/>
              <a:gd name="connsiteX53" fmla="*/ 252357 w 597652"/>
              <a:gd name="connsiteY53" fmla="*/ 73491 h 110081"/>
              <a:gd name="connsiteX54" fmla="*/ 246381 w 597652"/>
              <a:gd name="connsiteY54" fmla="*/ 56441 h 110081"/>
              <a:gd name="connsiteX55" fmla="*/ 231255 w 597652"/>
              <a:gd name="connsiteY55" fmla="*/ 51089 h 110081"/>
              <a:gd name="connsiteX56" fmla="*/ 220672 w 597652"/>
              <a:gd name="connsiteY56" fmla="*/ 53329 h 110081"/>
              <a:gd name="connsiteX57" fmla="*/ 214572 w 597652"/>
              <a:gd name="connsiteY57" fmla="*/ 57810 h 110081"/>
              <a:gd name="connsiteX58" fmla="*/ 203616 w 597652"/>
              <a:gd name="connsiteY58" fmla="*/ 57810 h 110081"/>
              <a:gd name="connsiteX59" fmla="*/ 203616 w 597652"/>
              <a:gd name="connsiteY59" fmla="*/ 1493 h 110081"/>
              <a:gd name="connsiteX60" fmla="*/ 261633 w 597652"/>
              <a:gd name="connsiteY60" fmla="*/ 1493 h 110081"/>
              <a:gd name="connsiteX61" fmla="*/ 261633 w 597652"/>
              <a:gd name="connsiteY61" fmla="*/ 14374 h 110081"/>
              <a:gd name="connsiteX62" fmla="*/ 215879 w 597652"/>
              <a:gd name="connsiteY62" fmla="*/ 14374 h 110081"/>
              <a:gd name="connsiteX63" fmla="*/ 215879 w 597652"/>
              <a:gd name="connsiteY63" fmla="*/ 44991 h 110081"/>
              <a:gd name="connsiteX64" fmla="*/ 223225 w 597652"/>
              <a:gd name="connsiteY64" fmla="*/ 41071 h 110081"/>
              <a:gd name="connsiteX65" fmla="*/ 233496 w 597652"/>
              <a:gd name="connsiteY65" fmla="*/ 39266 h 110081"/>
              <a:gd name="connsiteX66" fmla="*/ 250240 w 597652"/>
              <a:gd name="connsiteY66" fmla="*/ 43186 h 110081"/>
              <a:gd name="connsiteX67" fmla="*/ 262068 w 597652"/>
              <a:gd name="connsiteY67" fmla="*/ 54512 h 110081"/>
              <a:gd name="connsiteX68" fmla="*/ 266550 w 597652"/>
              <a:gd name="connsiteY68" fmla="*/ 73181 h 110081"/>
              <a:gd name="connsiteX69" fmla="*/ 261881 w 597652"/>
              <a:gd name="connsiteY69" fmla="*/ 92596 h 110081"/>
              <a:gd name="connsiteX70" fmla="*/ 249058 w 597652"/>
              <a:gd name="connsiteY70" fmla="*/ 105601 h 110081"/>
              <a:gd name="connsiteX71" fmla="*/ 229200 w 597652"/>
              <a:gd name="connsiteY71" fmla="*/ 110082 h 110081"/>
              <a:gd name="connsiteX72" fmla="*/ 350461 w 597652"/>
              <a:gd name="connsiteY72" fmla="*/ 108588 h 110081"/>
              <a:gd name="connsiteX73" fmla="*/ 282174 w 597652"/>
              <a:gd name="connsiteY73" fmla="*/ 108588 h 110081"/>
              <a:gd name="connsiteX74" fmla="*/ 282174 w 597652"/>
              <a:gd name="connsiteY74" fmla="*/ 94400 h 110081"/>
              <a:gd name="connsiteX75" fmla="*/ 308319 w 597652"/>
              <a:gd name="connsiteY75" fmla="*/ 72433 h 110081"/>
              <a:gd name="connsiteX76" fmla="*/ 324317 w 597652"/>
              <a:gd name="connsiteY76" fmla="*/ 56628 h 110081"/>
              <a:gd name="connsiteX77" fmla="*/ 332410 w 597652"/>
              <a:gd name="connsiteY77" fmla="*/ 43933 h 110081"/>
              <a:gd name="connsiteX78" fmla="*/ 334775 w 597652"/>
              <a:gd name="connsiteY78" fmla="*/ 32109 h 110081"/>
              <a:gd name="connsiteX79" fmla="*/ 329235 w 597652"/>
              <a:gd name="connsiteY79" fmla="*/ 17610 h 110081"/>
              <a:gd name="connsiteX80" fmla="*/ 314046 w 597652"/>
              <a:gd name="connsiteY80" fmla="*/ 12383 h 110081"/>
              <a:gd name="connsiteX81" fmla="*/ 285037 w 597652"/>
              <a:gd name="connsiteY81" fmla="*/ 27194 h 110081"/>
              <a:gd name="connsiteX82" fmla="*/ 285037 w 597652"/>
              <a:gd name="connsiteY82" fmla="*/ 12134 h 110081"/>
              <a:gd name="connsiteX83" fmla="*/ 314482 w 597652"/>
              <a:gd name="connsiteY83" fmla="*/ 0 h 110081"/>
              <a:gd name="connsiteX84" fmla="*/ 339879 w 597652"/>
              <a:gd name="connsiteY84" fmla="*/ 8401 h 110081"/>
              <a:gd name="connsiteX85" fmla="*/ 349279 w 597652"/>
              <a:gd name="connsiteY85" fmla="*/ 30803 h 110081"/>
              <a:gd name="connsiteX86" fmla="*/ 346913 w 597652"/>
              <a:gd name="connsiteY86" fmla="*/ 44804 h 110081"/>
              <a:gd name="connsiteX87" fmla="*/ 338821 w 597652"/>
              <a:gd name="connsiteY87" fmla="*/ 58681 h 110081"/>
              <a:gd name="connsiteX88" fmla="*/ 323134 w 597652"/>
              <a:gd name="connsiteY88" fmla="*/ 74860 h 110081"/>
              <a:gd name="connsiteX89" fmla="*/ 297736 w 597652"/>
              <a:gd name="connsiteY89" fmla="*/ 95769 h 110081"/>
              <a:gd name="connsiteX90" fmla="*/ 350461 w 597652"/>
              <a:gd name="connsiteY90" fmla="*/ 95769 h 110081"/>
              <a:gd name="connsiteX91" fmla="*/ 350461 w 597652"/>
              <a:gd name="connsiteY91" fmla="*/ 108588 h 110081"/>
              <a:gd name="connsiteX92" fmla="*/ 398518 w 597652"/>
              <a:gd name="connsiteY92" fmla="*/ 110082 h 110081"/>
              <a:gd name="connsiteX93" fmla="*/ 379843 w 597652"/>
              <a:gd name="connsiteY93" fmla="*/ 106473 h 110081"/>
              <a:gd name="connsiteX94" fmla="*/ 367144 w 597652"/>
              <a:gd name="connsiteY94" fmla="*/ 96205 h 110081"/>
              <a:gd name="connsiteX95" fmla="*/ 362538 w 597652"/>
              <a:gd name="connsiteY95" fmla="*/ 79777 h 110081"/>
              <a:gd name="connsiteX96" fmla="*/ 367891 w 597652"/>
              <a:gd name="connsiteY96" fmla="*/ 62291 h 110081"/>
              <a:gd name="connsiteX97" fmla="*/ 382706 w 597652"/>
              <a:gd name="connsiteY97" fmla="*/ 51711 h 110081"/>
              <a:gd name="connsiteX98" fmla="*/ 370754 w 597652"/>
              <a:gd name="connsiteY98" fmla="*/ 42564 h 110081"/>
              <a:gd name="connsiteX99" fmla="*/ 366397 w 597652"/>
              <a:gd name="connsiteY99" fmla="*/ 27504 h 110081"/>
              <a:gd name="connsiteX100" fmla="*/ 370630 w 597652"/>
              <a:gd name="connsiteY100" fmla="*/ 12570 h 110081"/>
              <a:gd name="connsiteX101" fmla="*/ 382084 w 597652"/>
              <a:gd name="connsiteY101" fmla="*/ 3298 h 110081"/>
              <a:gd name="connsiteX102" fmla="*/ 398518 w 597652"/>
              <a:gd name="connsiteY102" fmla="*/ 186 h 110081"/>
              <a:gd name="connsiteX103" fmla="*/ 414702 w 597652"/>
              <a:gd name="connsiteY103" fmla="*/ 3298 h 110081"/>
              <a:gd name="connsiteX104" fmla="*/ 426031 w 597652"/>
              <a:gd name="connsiteY104" fmla="*/ 12259 h 110081"/>
              <a:gd name="connsiteX105" fmla="*/ 430389 w 597652"/>
              <a:gd name="connsiteY105" fmla="*/ 27194 h 110081"/>
              <a:gd name="connsiteX106" fmla="*/ 425907 w 597652"/>
              <a:gd name="connsiteY106" fmla="*/ 42439 h 110081"/>
              <a:gd name="connsiteX107" fmla="*/ 414080 w 597652"/>
              <a:gd name="connsiteY107" fmla="*/ 51711 h 110081"/>
              <a:gd name="connsiteX108" fmla="*/ 428397 w 597652"/>
              <a:gd name="connsiteY108" fmla="*/ 61855 h 110081"/>
              <a:gd name="connsiteX109" fmla="*/ 433937 w 597652"/>
              <a:gd name="connsiteY109" fmla="*/ 79341 h 110081"/>
              <a:gd name="connsiteX110" fmla="*/ 429331 w 597652"/>
              <a:gd name="connsiteY110" fmla="*/ 95893 h 110081"/>
              <a:gd name="connsiteX111" fmla="*/ 416632 w 597652"/>
              <a:gd name="connsiteY111" fmla="*/ 106473 h 110081"/>
              <a:gd name="connsiteX112" fmla="*/ 398518 w 597652"/>
              <a:gd name="connsiteY112" fmla="*/ 110082 h 110081"/>
              <a:gd name="connsiteX113" fmla="*/ 398518 w 597652"/>
              <a:gd name="connsiteY113" fmla="*/ 46298 h 110081"/>
              <a:gd name="connsiteX114" fmla="*/ 411528 w 597652"/>
              <a:gd name="connsiteY114" fmla="*/ 41817 h 110081"/>
              <a:gd name="connsiteX115" fmla="*/ 416756 w 597652"/>
              <a:gd name="connsiteY115" fmla="*/ 29122 h 110081"/>
              <a:gd name="connsiteX116" fmla="*/ 411528 w 597652"/>
              <a:gd name="connsiteY116" fmla="*/ 16615 h 110081"/>
              <a:gd name="connsiteX117" fmla="*/ 398518 w 597652"/>
              <a:gd name="connsiteY117" fmla="*/ 11947 h 110081"/>
              <a:gd name="connsiteX118" fmla="*/ 385259 w 597652"/>
              <a:gd name="connsiteY118" fmla="*/ 16615 h 110081"/>
              <a:gd name="connsiteX119" fmla="*/ 380029 w 597652"/>
              <a:gd name="connsiteY119" fmla="*/ 29122 h 110081"/>
              <a:gd name="connsiteX120" fmla="*/ 385259 w 597652"/>
              <a:gd name="connsiteY120" fmla="*/ 41817 h 110081"/>
              <a:gd name="connsiteX121" fmla="*/ 398518 w 597652"/>
              <a:gd name="connsiteY121" fmla="*/ 46298 h 110081"/>
              <a:gd name="connsiteX122" fmla="*/ 398518 w 597652"/>
              <a:gd name="connsiteY122" fmla="*/ 98258 h 110081"/>
              <a:gd name="connsiteX123" fmla="*/ 413956 w 597652"/>
              <a:gd name="connsiteY123" fmla="*/ 92907 h 110081"/>
              <a:gd name="connsiteX124" fmla="*/ 420180 w 597652"/>
              <a:gd name="connsiteY124" fmla="*/ 77536 h 110081"/>
              <a:gd name="connsiteX125" fmla="*/ 413956 w 597652"/>
              <a:gd name="connsiteY125" fmla="*/ 62291 h 110081"/>
              <a:gd name="connsiteX126" fmla="*/ 398518 w 597652"/>
              <a:gd name="connsiteY126" fmla="*/ 56752 h 110081"/>
              <a:gd name="connsiteX127" fmla="*/ 382582 w 597652"/>
              <a:gd name="connsiteY127" fmla="*/ 62291 h 110081"/>
              <a:gd name="connsiteX128" fmla="*/ 376295 w 597652"/>
              <a:gd name="connsiteY128" fmla="*/ 77536 h 110081"/>
              <a:gd name="connsiteX129" fmla="*/ 382582 w 597652"/>
              <a:gd name="connsiteY129" fmla="*/ 92907 h 110081"/>
              <a:gd name="connsiteX130" fmla="*/ 398518 w 597652"/>
              <a:gd name="connsiteY130" fmla="*/ 98258 h 110081"/>
              <a:gd name="connsiteX131" fmla="*/ 480562 w 597652"/>
              <a:gd name="connsiteY131" fmla="*/ 110082 h 110081"/>
              <a:gd name="connsiteX132" fmla="*/ 462323 w 597652"/>
              <a:gd name="connsiteY132" fmla="*/ 104233 h 110081"/>
              <a:gd name="connsiteX133" fmla="*/ 449624 w 597652"/>
              <a:gd name="connsiteY133" fmla="*/ 86311 h 110081"/>
              <a:gd name="connsiteX134" fmla="*/ 445142 w 597652"/>
              <a:gd name="connsiteY134" fmla="*/ 54947 h 110081"/>
              <a:gd name="connsiteX135" fmla="*/ 449624 w 597652"/>
              <a:gd name="connsiteY135" fmla="*/ 23584 h 110081"/>
              <a:gd name="connsiteX136" fmla="*/ 462323 w 597652"/>
              <a:gd name="connsiteY136" fmla="*/ 5849 h 110081"/>
              <a:gd name="connsiteX137" fmla="*/ 480562 w 597652"/>
              <a:gd name="connsiteY137" fmla="*/ 186 h 110081"/>
              <a:gd name="connsiteX138" fmla="*/ 498614 w 597652"/>
              <a:gd name="connsiteY138" fmla="*/ 5849 h 110081"/>
              <a:gd name="connsiteX139" fmla="*/ 511001 w 597652"/>
              <a:gd name="connsiteY139" fmla="*/ 23584 h 110081"/>
              <a:gd name="connsiteX140" fmla="*/ 515483 w 597652"/>
              <a:gd name="connsiteY140" fmla="*/ 54698 h 110081"/>
              <a:gd name="connsiteX141" fmla="*/ 511001 w 597652"/>
              <a:gd name="connsiteY141" fmla="*/ 86062 h 110081"/>
              <a:gd name="connsiteX142" fmla="*/ 498614 w 597652"/>
              <a:gd name="connsiteY142" fmla="*/ 104233 h 110081"/>
              <a:gd name="connsiteX143" fmla="*/ 480562 w 597652"/>
              <a:gd name="connsiteY143" fmla="*/ 110082 h 110081"/>
              <a:gd name="connsiteX144" fmla="*/ 480375 w 597652"/>
              <a:gd name="connsiteY144" fmla="*/ 98258 h 110081"/>
              <a:gd name="connsiteX145" fmla="*/ 491767 w 597652"/>
              <a:gd name="connsiteY145" fmla="*/ 94275 h 110081"/>
              <a:gd name="connsiteX146" fmla="*/ 498925 w 597652"/>
              <a:gd name="connsiteY146" fmla="*/ 80648 h 110081"/>
              <a:gd name="connsiteX147" fmla="*/ 501477 w 597652"/>
              <a:gd name="connsiteY147" fmla="*/ 55134 h 110081"/>
              <a:gd name="connsiteX148" fmla="*/ 499049 w 597652"/>
              <a:gd name="connsiteY148" fmla="*/ 29745 h 110081"/>
              <a:gd name="connsiteX149" fmla="*/ 491891 w 597652"/>
              <a:gd name="connsiteY149" fmla="*/ 16117 h 110081"/>
              <a:gd name="connsiteX150" fmla="*/ 480562 w 597652"/>
              <a:gd name="connsiteY150" fmla="*/ 11947 h 110081"/>
              <a:gd name="connsiteX151" fmla="*/ 469046 w 597652"/>
              <a:gd name="connsiteY151" fmla="*/ 16117 h 110081"/>
              <a:gd name="connsiteX152" fmla="*/ 461700 w 597652"/>
              <a:gd name="connsiteY152" fmla="*/ 29745 h 110081"/>
              <a:gd name="connsiteX153" fmla="*/ 459148 w 597652"/>
              <a:gd name="connsiteY153" fmla="*/ 55134 h 110081"/>
              <a:gd name="connsiteX154" fmla="*/ 461576 w 597652"/>
              <a:gd name="connsiteY154" fmla="*/ 80648 h 110081"/>
              <a:gd name="connsiteX155" fmla="*/ 468859 w 597652"/>
              <a:gd name="connsiteY155" fmla="*/ 94275 h 110081"/>
              <a:gd name="connsiteX156" fmla="*/ 480375 w 597652"/>
              <a:gd name="connsiteY156" fmla="*/ 98258 h 110081"/>
              <a:gd name="connsiteX157" fmla="*/ 562668 w 597652"/>
              <a:gd name="connsiteY157" fmla="*/ 110082 h 110081"/>
              <a:gd name="connsiteX158" fmla="*/ 544429 w 597652"/>
              <a:gd name="connsiteY158" fmla="*/ 104233 h 110081"/>
              <a:gd name="connsiteX159" fmla="*/ 531730 w 597652"/>
              <a:gd name="connsiteY159" fmla="*/ 86311 h 110081"/>
              <a:gd name="connsiteX160" fmla="*/ 527248 w 597652"/>
              <a:gd name="connsiteY160" fmla="*/ 54947 h 110081"/>
              <a:gd name="connsiteX161" fmla="*/ 531730 w 597652"/>
              <a:gd name="connsiteY161" fmla="*/ 23584 h 110081"/>
              <a:gd name="connsiteX162" fmla="*/ 544429 w 597652"/>
              <a:gd name="connsiteY162" fmla="*/ 5849 h 110081"/>
              <a:gd name="connsiteX163" fmla="*/ 562668 w 597652"/>
              <a:gd name="connsiteY163" fmla="*/ 186 h 110081"/>
              <a:gd name="connsiteX164" fmla="*/ 580782 w 597652"/>
              <a:gd name="connsiteY164" fmla="*/ 5849 h 110081"/>
              <a:gd name="connsiteX165" fmla="*/ 593170 w 597652"/>
              <a:gd name="connsiteY165" fmla="*/ 23584 h 110081"/>
              <a:gd name="connsiteX166" fmla="*/ 597652 w 597652"/>
              <a:gd name="connsiteY166" fmla="*/ 54698 h 110081"/>
              <a:gd name="connsiteX167" fmla="*/ 593170 w 597652"/>
              <a:gd name="connsiteY167" fmla="*/ 86062 h 110081"/>
              <a:gd name="connsiteX168" fmla="*/ 580782 w 597652"/>
              <a:gd name="connsiteY168" fmla="*/ 104233 h 110081"/>
              <a:gd name="connsiteX169" fmla="*/ 562668 w 597652"/>
              <a:gd name="connsiteY169" fmla="*/ 110082 h 110081"/>
              <a:gd name="connsiteX170" fmla="*/ 562544 w 597652"/>
              <a:gd name="connsiteY170" fmla="*/ 98258 h 110081"/>
              <a:gd name="connsiteX171" fmla="*/ 573873 w 597652"/>
              <a:gd name="connsiteY171" fmla="*/ 94275 h 110081"/>
              <a:gd name="connsiteX172" fmla="*/ 581031 w 597652"/>
              <a:gd name="connsiteY172" fmla="*/ 80648 h 110081"/>
              <a:gd name="connsiteX173" fmla="*/ 583584 w 597652"/>
              <a:gd name="connsiteY173" fmla="*/ 55134 h 110081"/>
              <a:gd name="connsiteX174" fmla="*/ 581218 w 597652"/>
              <a:gd name="connsiteY174" fmla="*/ 29745 h 110081"/>
              <a:gd name="connsiteX175" fmla="*/ 574060 w 597652"/>
              <a:gd name="connsiteY175" fmla="*/ 16117 h 110081"/>
              <a:gd name="connsiteX176" fmla="*/ 562668 w 597652"/>
              <a:gd name="connsiteY176" fmla="*/ 11947 h 110081"/>
              <a:gd name="connsiteX177" fmla="*/ 551152 w 597652"/>
              <a:gd name="connsiteY177" fmla="*/ 16117 h 110081"/>
              <a:gd name="connsiteX178" fmla="*/ 543869 w 597652"/>
              <a:gd name="connsiteY178" fmla="*/ 29745 h 110081"/>
              <a:gd name="connsiteX179" fmla="*/ 541317 w 597652"/>
              <a:gd name="connsiteY179" fmla="*/ 55134 h 110081"/>
              <a:gd name="connsiteX180" fmla="*/ 543682 w 597652"/>
              <a:gd name="connsiteY180" fmla="*/ 80648 h 110081"/>
              <a:gd name="connsiteX181" fmla="*/ 551028 w 597652"/>
              <a:gd name="connsiteY181" fmla="*/ 94275 h 110081"/>
              <a:gd name="connsiteX182" fmla="*/ 562544 w 597652"/>
              <a:gd name="connsiteY182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652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89672" y="108588"/>
                </a:moveTo>
                <a:lnTo>
                  <a:pt x="174732" y="108588"/>
                </a:lnTo>
                <a:lnTo>
                  <a:pt x="163714" y="77972"/>
                </a:lnTo>
                <a:lnTo>
                  <a:pt x="116343" y="77972"/>
                </a:lnTo>
                <a:lnTo>
                  <a:pt x="105449" y="108588"/>
                </a:lnTo>
                <a:lnTo>
                  <a:pt x="92315" y="108588"/>
                </a:lnTo>
                <a:lnTo>
                  <a:pt x="130411" y="1493"/>
                </a:lnTo>
                <a:lnTo>
                  <a:pt x="151327" y="1493"/>
                </a:lnTo>
                <a:lnTo>
                  <a:pt x="189672" y="108588"/>
                </a:lnTo>
                <a:close/>
                <a:moveTo>
                  <a:pt x="120949" y="65278"/>
                </a:moveTo>
                <a:lnTo>
                  <a:pt x="159233" y="65278"/>
                </a:lnTo>
                <a:lnTo>
                  <a:pt x="140122" y="11947"/>
                </a:lnTo>
                <a:lnTo>
                  <a:pt x="120949" y="65278"/>
                </a:lnTo>
                <a:close/>
                <a:moveTo>
                  <a:pt x="229200" y="110082"/>
                </a:moveTo>
                <a:cubicBezTo>
                  <a:pt x="217249" y="110082"/>
                  <a:pt x="207725" y="107530"/>
                  <a:pt x="200628" y="102490"/>
                </a:cubicBezTo>
                <a:lnTo>
                  <a:pt x="200628" y="87804"/>
                </a:lnTo>
                <a:cubicBezTo>
                  <a:pt x="204861" y="91226"/>
                  <a:pt x="209219" y="93778"/>
                  <a:pt x="213825" y="95458"/>
                </a:cubicBezTo>
                <a:cubicBezTo>
                  <a:pt x="218369" y="97014"/>
                  <a:pt x="223535" y="97823"/>
                  <a:pt x="229200" y="97823"/>
                </a:cubicBezTo>
                <a:cubicBezTo>
                  <a:pt x="236546" y="97823"/>
                  <a:pt x="242210" y="95583"/>
                  <a:pt x="246194" y="91102"/>
                </a:cubicBezTo>
                <a:cubicBezTo>
                  <a:pt x="250303" y="86621"/>
                  <a:pt x="252357" y="80772"/>
                  <a:pt x="252357" y="73491"/>
                </a:cubicBezTo>
                <a:cubicBezTo>
                  <a:pt x="252357" y="65713"/>
                  <a:pt x="250365" y="60050"/>
                  <a:pt x="246381" y="56441"/>
                </a:cubicBezTo>
                <a:cubicBezTo>
                  <a:pt x="242397" y="52894"/>
                  <a:pt x="237355" y="51089"/>
                  <a:pt x="231255" y="51089"/>
                </a:cubicBezTo>
                <a:cubicBezTo>
                  <a:pt x="226897" y="51089"/>
                  <a:pt x="223349" y="51836"/>
                  <a:pt x="220672" y="53329"/>
                </a:cubicBezTo>
                <a:cubicBezTo>
                  <a:pt x="217996" y="54698"/>
                  <a:pt x="215941" y="56192"/>
                  <a:pt x="214572" y="57810"/>
                </a:cubicBezTo>
                <a:lnTo>
                  <a:pt x="203616" y="57810"/>
                </a:lnTo>
                <a:lnTo>
                  <a:pt x="203616" y="1493"/>
                </a:lnTo>
                <a:lnTo>
                  <a:pt x="261633" y="1493"/>
                </a:lnTo>
                <a:lnTo>
                  <a:pt x="261633" y="14374"/>
                </a:lnTo>
                <a:lnTo>
                  <a:pt x="215879" y="14374"/>
                </a:lnTo>
                <a:lnTo>
                  <a:pt x="215879" y="44991"/>
                </a:lnTo>
                <a:cubicBezTo>
                  <a:pt x="217871" y="43498"/>
                  <a:pt x="220299" y="42190"/>
                  <a:pt x="223225" y="41071"/>
                </a:cubicBezTo>
                <a:cubicBezTo>
                  <a:pt x="226088" y="39888"/>
                  <a:pt x="229512" y="39266"/>
                  <a:pt x="233496" y="39266"/>
                </a:cubicBezTo>
                <a:cubicBezTo>
                  <a:pt x="239721" y="39266"/>
                  <a:pt x="245261" y="40572"/>
                  <a:pt x="250240" y="43186"/>
                </a:cubicBezTo>
                <a:cubicBezTo>
                  <a:pt x="255221" y="45675"/>
                  <a:pt x="259142" y="49471"/>
                  <a:pt x="262068" y="54512"/>
                </a:cubicBezTo>
                <a:cubicBezTo>
                  <a:pt x="265056" y="59490"/>
                  <a:pt x="266550" y="65713"/>
                  <a:pt x="266550" y="73181"/>
                </a:cubicBezTo>
                <a:cubicBezTo>
                  <a:pt x="266550" y="80586"/>
                  <a:pt x="264993" y="87058"/>
                  <a:pt x="261881" y="92596"/>
                </a:cubicBezTo>
                <a:cubicBezTo>
                  <a:pt x="258893" y="98196"/>
                  <a:pt x="254660" y="102490"/>
                  <a:pt x="249058" y="105601"/>
                </a:cubicBezTo>
                <a:cubicBezTo>
                  <a:pt x="243456" y="108588"/>
                  <a:pt x="236857" y="110082"/>
                  <a:pt x="229200" y="110082"/>
                </a:cubicBezTo>
                <a:close/>
                <a:moveTo>
                  <a:pt x="350461" y="108588"/>
                </a:moveTo>
                <a:lnTo>
                  <a:pt x="282174" y="108588"/>
                </a:lnTo>
                <a:lnTo>
                  <a:pt x="282174" y="94400"/>
                </a:lnTo>
                <a:cubicBezTo>
                  <a:pt x="292881" y="85812"/>
                  <a:pt x="301596" y="78532"/>
                  <a:pt x="308319" y="72433"/>
                </a:cubicBezTo>
                <a:cubicBezTo>
                  <a:pt x="315229" y="66397"/>
                  <a:pt x="320520" y="61108"/>
                  <a:pt x="324317" y="56628"/>
                </a:cubicBezTo>
                <a:cubicBezTo>
                  <a:pt x="328239" y="52023"/>
                  <a:pt x="330915" y="47791"/>
                  <a:pt x="332410" y="43933"/>
                </a:cubicBezTo>
                <a:cubicBezTo>
                  <a:pt x="333966" y="40012"/>
                  <a:pt x="334775" y="36092"/>
                  <a:pt x="334775" y="32109"/>
                </a:cubicBezTo>
                <a:cubicBezTo>
                  <a:pt x="334775" y="25949"/>
                  <a:pt x="332970" y="21095"/>
                  <a:pt x="329235" y="17610"/>
                </a:cubicBezTo>
                <a:cubicBezTo>
                  <a:pt x="325562" y="14125"/>
                  <a:pt x="320520" y="12383"/>
                  <a:pt x="314046" y="12383"/>
                </a:cubicBezTo>
                <a:cubicBezTo>
                  <a:pt x="303651" y="12383"/>
                  <a:pt x="294002" y="17361"/>
                  <a:pt x="285037" y="27194"/>
                </a:cubicBezTo>
                <a:lnTo>
                  <a:pt x="285037" y="12134"/>
                </a:lnTo>
                <a:cubicBezTo>
                  <a:pt x="293317" y="4044"/>
                  <a:pt x="303090" y="0"/>
                  <a:pt x="314482" y="0"/>
                </a:cubicBezTo>
                <a:cubicBezTo>
                  <a:pt x="325251" y="0"/>
                  <a:pt x="333717" y="2800"/>
                  <a:pt x="339879" y="8401"/>
                </a:cubicBezTo>
                <a:cubicBezTo>
                  <a:pt x="346166" y="13877"/>
                  <a:pt x="349279" y="21344"/>
                  <a:pt x="349279" y="30803"/>
                </a:cubicBezTo>
                <a:cubicBezTo>
                  <a:pt x="349279" y="35657"/>
                  <a:pt x="348470" y="40324"/>
                  <a:pt x="346913" y="44804"/>
                </a:cubicBezTo>
                <a:cubicBezTo>
                  <a:pt x="345419" y="49222"/>
                  <a:pt x="342680" y="53827"/>
                  <a:pt x="338821" y="58681"/>
                </a:cubicBezTo>
                <a:cubicBezTo>
                  <a:pt x="335024" y="63473"/>
                  <a:pt x="329795" y="68887"/>
                  <a:pt x="323134" y="74860"/>
                </a:cubicBezTo>
                <a:cubicBezTo>
                  <a:pt x="316473" y="80835"/>
                  <a:pt x="308008" y="87804"/>
                  <a:pt x="297736" y="95769"/>
                </a:cubicBezTo>
                <a:lnTo>
                  <a:pt x="350461" y="95769"/>
                </a:lnTo>
                <a:lnTo>
                  <a:pt x="350461" y="108588"/>
                </a:lnTo>
                <a:close/>
                <a:moveTo>
                  <a:pt x="398518" y="110082"/>
                </a:moveTo>
                <a:cubicBezTo>
                  <a:pt x="391546" y="110082"/>
                  <a:pt x="385321" y="108900"/>
                  <a:pt x="379843" y="106473"/>
                </a:cubicBezTo>
                <a:cubicBezTo>
                  <a:pt x="374489" y="104108"/>
                  <a:pt x="370257" y="100685"/>
                  <a:pt x="367144" y="96205"/>
                </a:cubicBezTo>
                <a:cubicBezTo>
                  <a:pt x="364094" y="91600"/>
                  <a:pt x="362538" y="86124"/>
                  <a:pt x="362538" y="79777"/>
                </a:cubicBezTo>
                <a:cubicBezTo>
                  <a:pt x="362538" y="72869"/>
                  <a:pt x="364343" y="67082"/>
                  <a:pt x="367891" y="62291"/>
                </a:cubicBezTo>
                <a:cubicBezTo>
                  <a:pt x="371626" y="57437"/>
                  <a:pt x="376544" y="53889"/>
                  <a:pt x="382706" y="51711"/>
                </a:cubicBezTo>
                <a:cubicBezTo>
                  <a:pt x="377726" y="49720"/>
                  <a:pt x="373742" y="46671"/>
                  <a:pt x="370754" y="42564"/>
                </a:cubicBezTo>
                <a:cubicBezTo>
                  <a:pt x="367891" y="38519"/>
                  <a:pt x="366397" y="33479"/>
                  <a:pt x="366397" y="27504"/>
                </a:cubicBezTo>
                <a:cubicBezTo>
                  <a:pt x="366397" y="21593"/>
                  <a:pt x="367829" y="16615"/>
                  <a:pt x="370630" y="12570"/>
                </a:cubicBezTo>
                <a:cubicBezTo>
                  <a:pt x="373369" y="8463"/>
                  <a:pt x="377228" y="5414"/>
                  <a:pt x="382084" y="3298"/>
                </a:cubicBezTo>
                <a:cubicBezTo>
                  <a:pt x="387001" y="1182"/>
                  <a:pt x="392479" y="186"/>
                  <a:pt x="398518" y="186"/>
                </a:cubicBezTo>
                <a:cubicBezTo>
                  <a:pt x="404494" y="186"/>
                  <a:pt x="409909" y="1182"/>
                  <a:pt x="414702" y="3298"/>
                </a:cubicBezTo>
                <a:cubicBezTo>
                  <a:pt x="419433" y="5289"/>
                  <a:pt x="423231" y="8276"/>
                  <a:pt x="426031" y="12259"/>
                </a:cubicBezTo>
                <a:cubicBezTo>
                  <a:pt x="428895" y="16242"/>
                  <a:pt x="430389" y="21219"/>
                  <a:pt x="430389" y="27194"/>
                </a:cubicBezTo>
                <a:cubicBezTo>
                  <a:pt x="430389" y="33292"/>
                  <a:pt x="428895" y="38332"/>
                  <a:pt x="425907" y="42439"/>
                </a:cubicBezTo>
                <a:cubicBezTo>
                  <a:pt x="422919" y="46484"/>
                  <a:pt x="418935" y="49596"/>
                  <a:pt x="414080" y="51711"/>
                </a:cubicBezTo>
                <a:cubicBezTo>
                  <a:pt x="420056" y="53765"/>
                  <a:pt x="424849" y="57188"/>
                  <a:pt x="428397" y="61855"/>
                </a:cubicBezTo>
                <a:cubicBezTo>
                  <a:pt x="432132" y="66522"/>
                  <a:pt x="433937" y="72372"/>
                  <a:pt x="433937" y="79341"/>
                </a:cubicBezTo>
                <a:cubicBezTo>
                  <a:pt x="433937" y="85688"/>
                  <a:pt x="432381" y="91226"/>
                  <a:pt x="429331" y="95893"/>
                </a:cubicBezTo>
                <a:cubicBezTo>
                  <a:pt x="426218" y="100498"/>
                  <a:pt x="421985" y="103983"/>
                  <a:pt x="416632" y="106473"/>
                </a:cubicBezTo>
                <a:cubicBezTo>
                  <a:pt x="411341" y="108900"/>
                  <a:pt x="405303" y="110082"/>
                  <a:pt x="398518" y="110082"/>
                </a:cubicBezTo>
                <a:close/>
                <a:moveTo>
                  <a:pt x="398518" y="46298"/>
                </a:moveTo>
                <a:cubicBezTo>
                  <a:pt x="403809" y="46298"/>
                  <a:pt x="408166" y="44804"/>
                  <a:pt x="411528" y="41817"/>
                </a:cubicBezTo>
                <a:cubicBezTo>
                  <a:pt x="415013" y="38768"/>
                  <a:pt x="416756" y="34536"/>
                  <a:pt x="416756" y="29122"/>
                </a:cubicBezTo>
                <a:cubicBezTo>
                  <a:pt x="416756" y="23771"/>
                  <a:pt x="415013" y="19601"/>
                  <a:pt x="411528" y="16615"/>
                </a:cubicBezTo>
                <a:cubicBezTo>
                  <a:pt x="408166" y="13503"/>
                  <a:pt x="403809" y="11947"/>
                  <a:pt x="398518" y="11947"/>
                </a:cubicBezTo>
                <a:cubicBezTo>
                  <a:pt x="393288" y="11947"/>
                  <a:pt x="388807" y="13503"/>
                  <a:pt x="385259" y="16615"/>
                </a:cubicBezTo>
                <a:cubicBezTo>
                  <a:pt x="381773" y="19601"/>
                  <a:pt x="380029" y="23771"/>
                  <a:pt x="380029" y="29122"/>
                </a:cubicBezTo>
                <a:cubicBezTo>
                  <a:pt x="380029" y="34536"/>
                  <a:pt x="381773" y="38768"/>
                  <a:pt x="385259" y="41817"/>
                </a:cubicBezTo>
                <a:cubicBezTo>
                  <a:pt x="388807" y="44804"/>
                  <a:pt x="393288" y="46298"/>
                  <a:pt x="398518" y="46298"/>
                </a:cubicBezTo>
                <a:close/>
                <a:moveTo>
                  <a:pt x="398518" y="98258"/>
                </a:moveTo>
                <a:cubicBezTo>
                  <a:pt x="404743" y="98258"/>
                  <a:pt x="409847" y="96516"/>
                  <a:pt x="413956" y="92907"/>
                </a:cubicBezTo>
                <a:cubicBezTo>
                  <a:pt x="418126" y="89235"/>
                  <a:pt x="420180" y="84071"/>
                  <a:pt x="420180" y="77536"/>
                </a:cubicBezTo>
                <a:cubicBezTo>
                  <a:pt x="420180" y="70940"/>
                  <a:pt x="418126" y="65900"/>
                  <a:pt x="413956" y="62291"/>
                </a:cubicBezTo>
                <a:cubicBezTo>
                  <a:pt x="409847" y="58619"/>
                  <a:pt x="404743" y="56752"/>
                  <a:pt x="398518" y="56752"/>
                </a:cubicBezTo>
                <a:cubicBezTo>
                  <a:pt x="392168" y="56752"/>
                  <a:pt x="386815" y="58619"/>
                  <a:pt x="382582" y="62291"/>
                </a:cubicBezTo>
                <a:cubicBezTo>
                  <a:pt x="378349" y="65900"/>
                  <a:pt x="376295" y="70940"/>
                  <a:pt x="376295" y="77536"/>
                </a:cubicBezTo>
                <a:cubicBezTo>
                  <a:pt x="376295" y="84071"/>
                  <a:pt x="378349" y="89235"/>
                  <a:pt x="382582" y="92907"/>
                </a:cubicBezTo>
                <a:cubicBezTo>
                  <a:pt x="386815" y="96516"/>
                  <a:pt x="392168" y="98258"/>
                  <a:pt x="398518" y="98258"/>
                </a:cubicBezTo>
                <a:close/>
                <a:moveTo>
                  <a:pt x="480562" y="110082"/>
                </a:moveTo>
                <a:cubicBezTo>
                  <a:pt x="473777" y="110082"/>
                  <a:pt x="467676" y="108153"/>
                  <a:pt x="462323" y="104233"/>
                </a:cubicBezTo>
                <a:cubicBezTo>
                  <a:pt x="456907" y="100374"/>
                  <a:pt x="452674" y="94400"/>
                  <a:pt x="449624" y="86311"/>
                </a:cubicBezTo>
                <a:cubicBezTo>
                  <a:pt x="446636" y="78159"/>
                  <a:pt x="445142" y="67705"/>
                  <a:pt x="445142" y="54947"/>
                </a:cubicBezTo>
                <a:cubicBezTo>
                  <a:pt x="445142" y="42128"/>
                  <a:pt x="446636" y="31674"/>
                  <a:pt x="449624" y="23584"/>
                </a:cubicBezTo>
                <a:cubicBezTo>
                  <a:pt x="452674" y="15557"/>
                  <a:pt x="456907" y="9645"/>
                  <a:pt x="462323" y="5849"/>
                </a:cubicBezTo>
                <a:cubicBezTo>
                  <a:pt x="467676" y="2053"/>
                  <a:pt x="473777" y="186"/>
                  <a:pt x="480562" y="186"/>
                </a:cubicBezTo>
                <a:cubicBezTo>
                  <a:pt x="487285" y="186"/>
                  <a:pt x="493323" y="2053"/>
                  <a:pt x="498614" y="5849"/>
                </a:cubicBezTo>
                <a:cubicBezTo>
                  <a:pt x="503905" y="9645"/>
                  <a:pt x="508014" y="15557"/>
                  <a:pt x="511001" y="23584"/>
                </a:cubicBezTo>
                <a:cubicBezTo>
                  <a:pt x="513989" y="31549"/>
                  <a:pt x="515483" y="41942"/>
                  <a:pt x="515483" y="54698"/>
                </a:cubicBezTo>
                <a:cubicBezTo>
                  <a:pt x="515483" y="67331"/>
                  <a:pt x="513989" y="77786"/>
                  <a:pt x="511001" y="86062"/>
                </a:cubicBezTo>
                <a:cubicBezTo>
                  <a:pt x="508014" y="94213"/>
                  <a:pt x="503905" y="100250"/>
                  <a:pt x="498614" y="104233"/>
                </a:cubicBezTo>
                <a:cubicBezTo>
                  <a:pt x="493323" y="108153"/>
                  <a:pt x="487285" y="110082"/>
                  <a:pt x="480562" y="110082"/>
                </a:cubicBezTo>
                <a:close/>
                <a:moveTo>
                  <a:pt x="480375" y="98258"/>
                </a:moveTo>
                <a:cubicBezTo>
                  <a:pt x="484857" y="98258"/>
                  <a:pt x="488654" y="96952"/>
                  <a:pt x="491767" y="94275"/>
                </a:cubicBezTo>
                <a:cubicBezTo>
                  <a:pt x="494941" y="91475"/>
                  <a:pt x="497307" y="86933"/>
                  <a:pt x="498925" y="80648"/>
                </a:cubicBezTo>
                <a:cubicBezTo>
                  <a:pt x="500606" y="74300"/>
                  <a:pt x="501477" y="65775"/>
                  <a:pt x="501477" y="55134"/>
                </a:cubicBezTo>
                <a:cubicBezTo>
                  <a:pt x="501477" y="44493"/>
                  <a:pt x="500668" y="36030"/>
                  <a:pt x="499049" y="29745"/>
                </a:cubicBezTo>
                <a:cubicBezTo>
                  <a:pt x="497493" y="23336"/>
                  <a:pt x="495066" y="18855"/>
                  <a:pt x="491891" y="16117"/>
                </a:cubicBezTo>
                <a:cubicBezTo>
                  <a:pt x="488779" y="13379"/>
                  <a:pt x="485043" y="11947"/>
                  <a:pt x="480562" y="11947"/>
                </a:cubicBezTo>
                <a:cubicBezTo>
                  <a:pt x="476080" y="11947"/>
                  <a:pt x="472220" y="13379"/>
                  <a:pt x="469046" y="16117"/>
                </a:cubicBezTo>
                <a:cubicBezTo>
                  <a:pt x="465871" y="18855"/>
                  <a:pt x="463381" y="23336"/>
                  <a:pt x="461700" y="29745"/>
                </a:cubicBezTo>
                <a:cubicBezTo>
                  <a:pt x="460020" y="36030"/>
                  <a:pt x="459148" y="44493"/>
                  <a:pt x="459148" y="55134"/>
                </a:cubicBezTo>
                <a:cubicBezTo>
                  <a:pt x="459148" y="65775"/>
                  <a:pt x="459958" y="74300"/>
                  <a:pt x="461576" y="80648"/>
                </a:cubicBezTo>
                <a:cubicBezTo>
                  <a:pt x="463256" y="86933"/>
                  <a:pt x="465684" y="91475"/>
                  <a:pt x="468859" y="94275"/>
                </a:cubicBezTo>
                <a:cubicBezTo>
                  <a:pt x="472096" y="96952"/>
                  <a:pt x="475893" y="98258"/>
                  <a:pt x="480375" y="98258"/>
                </a:cubicBezTo>
                <a:close/>
                <a:moveTo>
                  <a:pt x="562668" y="110082"/>
                </a:moveTo>
                <a:cubicBezTo>
                  <a:pt x="555883" y="110082"/>
                  <a:pt x="549845" y="108153"/>
                  <a:pt x="544429" y="104233"/>
                </a:cubicBezTo>
                <a:cubicBezTo>
                  <a:pt x="539076" y="100374"/>
                  <a:pt x="534843" y="94400"/>
                  <a:pt x="531730" y="86311"/>
                </a:cubicBezTo>
                <a:cubicBezTo>
                  <a:pt x="528742" y="78159"/>
                  <a:pt x="527248" y="67705"/>
                  <a:pt x="527248" y="54947"/>
                </a:cubicBezTo>
                <a:cubicBezTo>
                  <a:pt x="527248" y="42128"/>
                  <a:pt x="528742" y="31674"/>
                  <a:pt x="531730" y="23584"/>
                </a:cubicBezTo>
                <a:cubicBezTo>
                  <a:pt x="534843" y="15557"/>
                  <a:pt x="539076" y="9645"/>
                  <a:pt x="544429" y="5849"/>
                </a:cubicBezTo>
                <a:cubicBezTo>
                  <a:pt x="549845" y="2053"/>
                  <a:pt x="555883" y="186"/>
                  <a:pt x="562668" y="186"/>
                </a:cubicBezTo>
                <a:cubicBezTo>
                  <a:pt x="569453" y="186"/>
                  <a:pt x="575491" y="2053"/>
                  <a:pt x="580782" y="5849"/>
                </a:cubicBezTo>
                <a:cubicBezTo>
                  <a:pt x="586012" y="9645"/>
                  <a:pt x="590182" y="15557"/>
                  <a:pt x="593170" y="23584"/>
                </a:cubicBezTo>
                <a:cubicBezTo>
                  <a:pt x="596158" y="31549"/>
                  <a:pt x="597652" y="41942"/>
                  <a:pt x="597652" y="54698"/>
                </a:cubicBezTo>
                <a:cubicBezTo>
                  <a:pt x="597652" y="67331"/>
                  <a:pt x="596158" y="77786"/>
                  <a:pt x="593170" y="86062"/>
                </a:cubicBezTo>
                <a:cubicBezTo>
                  <a:pt x="590182" y="94213"/>
                  <a:pt x="586012" y="100250"/>
                  <a:pt x="580782" y="104233"/>
                </a:cubicBezTo>
                <a:cubicBezTo>
                  <a:pt x="575491" y="108153"/>
                  <a:pt x="569453" y="110082"/>
                  <a:pt x="562668" y="110082"/>
                </a:cubicBezTo>
                <a:close/>
                <a:moveTo>
                  <a:pt x="562544" y="98258"/>
                </a:moveTo>
                <a:cubicBezTo>
                  <a:pt x="567025" y="98258"/>
                  <a:pt x="570823" y="96952"/>
                  <a:pt x="573873" y="94275"/>
                </a:cubicBezTo>
                <a:cubicBezTo>
                  <a:pt x="577047" y="91475"/>
                  <a:pt x="579475" y="86933"/>
                  <a:pt x="581031" y="80648"/>
                </a:cubicBezTo>
                <a:cubicBezTo>
                  <a:pt x="582775" y="74300"/>
                  <a:pt x="583584" y="65775"/>
                  <a:pt x="583584" y="55134"/>
                </a:cubicBezTo>
                <a:cubicBezTo>
                  <a:pt x="583584" y="44493"/>
                  <a:pt x="582775" y="36030"/>
                  <a:pt x="581218" y="29745"/>
                </a:cubicBezTo>
                <a:cubicBezTo>
                  <a:pt x="579600" y="23336"/>
                  <a:pt x="577234" y="18855"/>
                  <a:pt x="574060" y="16117"/>
                </a:cubicBezTo>
                <a:cubicBezTo>
                  <a:pt x="570947" y="13379"/>
                  <a:pt x="567150" y="11947"/>
                  <a:pt x="562668" y="11947"/>
                </a:cubicBezTo>
                <a:cubicBezTo>
                  <a:pt x="558186" y="11947"/>
                  <a:pt x="554389" y="13379"/>
                  <a:pt x="551152" y="16117"/>
                </a:cubicBezTo>
                <a:cubicBezTo>
                  <a:pt x="547978" y="18855"/>
                  <a:pt x="545550" y="23336"/>
                  <a:pt x="543869" y="29745"/>
                </a:cubicBezTo>
                <a:cubicBezTo>
                  <a:pt x="542188" y="36030"/>
                  <a:pt x="541317" y="44493"/>
                  <a:pt x="541317" y="55134"/>
                </a:cubicBezTo>
                <a:cubicBezTo>
                  <a:pt x="541317" y="65775"/>
                  <a:pt x="542126" y="74300"/>
                  <a:pt x="543682" y="80648"/>
                </a:cubicBezTo>
                <a:cubicBezTo>
                  <a:pt x="545425" y="86933"/>
                  <a:pt x="547853" y="91475"/>
                  <a:pt x="551028" y="94275"/>
                </a:cubicBezTo>
                <a:cubicBezTo>
                  <a:pt x="554203" y="96952"/>
                  <a:pt x="558062" y="98258"/>
                  <a:pt x="56254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7" name="Полилиния 1046">
            <a:extLst>
              <a:ext uri="{FF2B5EF4-FFF2-40B4-BE49-F238E27FC236}">
                <a16:creationId xmlns:a16="http://schemas.microsoft.com/office/drawing/2014/main" id="{E1F085D1-0CDA-FF49-D5EF-ED49AD8B5640}"/>
              </a:ext>
            </a:extLst>
          </p:cNvPr>
          <p:cNvSpPr/>
          <p:nvPr userDrawn="1"/>
        </p:nvSpPr>
        <p:spPr>
          <a:xfrm>
            <a:off x="19989822" y="5966300"/>
            <a:ext cx="1398954" cy="726227"/>
          </a:xfrm>
          <a:custGeom>
            <a:avLst/>
            <a:gdLst>
              <a:gd name="connsiteX0" fmla="*/ 1063 w 1198727"/>
              <a:gd name="connsiteY0" fmla="*/ 1322 h 622284"/>
              <a:gd name="connsiteX1" fmla="*/ 1199791 w 1198727"/>
              <a:gd name="connsiteY1" fmla="*/ 1322 h 622284"/>
              <a:gd name="connsiteX2" fmla="*/ 1199791 w 1198727"/>
              <a:gd name="connsiteY2" fmla="*/ 623606 h 622284"/>
              <a:gd name="connsiteX3" fmla="*/ 1063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322"/>
                </a:moveTo>
                <a:lnTo>
                  <a:pt x="1199791" y="1322"/>
                </a:lnTo>
                <a:lnTo>
                  <a:pt x="1199791" y="623606"/>
                </a:lnTo>
                <a:lnTo>
                  <a:pt x="1063" y="623606"/>
                </a:lnTo>
                <a:close/>
              </a:path>
            </a:pathLst>
          </a:custGeom>
          <a:solidFill>
            <a:srgbClr val="D741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8" name="Полилиния 1047">
            <a:extLst>
              <a:ext uri="{FF2B5EF4-FFF2-40B4-BE49-F238E27FC236}">
                <a16:creationId xmlns:a16="http://schemas.microsoft.com/office/drawing/2014/main" id="{E214E9BC-4796-8A5B-8DD0-A28E26BCFC5E}"/>
              </a:ext>
            </a:extLst>
          </p:cNvPr>
          <p:cNvSpPr/>
          <p:nvPr userDrawn="1"/>
        </p:nvSpPr>
        <p:spPr>
          <a:xfrm>
            <a:off x="20113031" y="6268264"/>
            <a:ext cx="706850" cy="128252"/>
          </a:xfrm>
          <a:custGeom>
            <a:avLst/>
            <a:gdLst>
              <a:gd name="connsiteX0" fmla="*/ 22098 w 605681"/>
              <a:gd name="connsiteY0" fmla="*/ 108402 h 109895"/>
              <a:gd name="connsiteX1" fmla="*/ 10147 w 605681"/>
              <a:gd name="connsiteY1" fmla="*/ 108402 h 109895"/>
              <a:gd name="connsiteX2" fmla="*/ 16434 w 605681"/>
              <a:gd name="connsiteY2" fmla="*/ 77475 h 109895"/>
              <a:gd name="connsiteX3" fmla="*/ 0 w 605681"/>
              <a:gd name="connsiteY3" fmla="*/ 77475 h 109895"/>
              <a:gd name="connsiteX4" fmla="*/ 0 w 605681"/>
              <a:gd name="connsiteY4" fmla="*/ 67020 h 109895"/>
              <a:gd name="connsiteX5" fmla="*/ 18675 w 605681"/>
              <a:gd name="connsiteY5" fmla="*/ 67020 h 109895"/>
              <a:gd name="connsiteX6" fmla="*/ 24215 w 605681"/>
              <a:gd name="connsiteY6" fmla="*/ 39826 h 109895"/>
              <a:gd name="connsiteX7" fmla="*/ 4046 w 605681"/>
              <a:gd name="connsiteY7" fmla="*/ 39826 h 109895"/>
              <a:gd name="connsiteX8" fmla="*/ 4046 w 605681"/>
              <a:gd name="connsiteY8" fmla="*/ 29372 h 109895"/>
              <a:gd name="connsiteX9" fmla="*/ 26269 w 605681"/>
              <a:gd name="connsiteY9" fmla="*/ 29372 h 109895"/>
              <a:gd name="connsiteX10" fmla="*/ 32120 w 605681"/>
              <a:gd name="connsiteY10" fmla="*/ 1307 h 109895"/>
              <a:gd name="connsiteX11" fmla="*/ 44072 w 605681"/>
              <a:gd name="connsiteY11" fmla="*/ 1307 h 109895"/>
              <a:gd name="connsiteX12" fmla="*/ 38221 w 605681"/>
              <a:gd name="connsiteY12" fmla="*/ 29372 h 109895"/>
              <a:gd name="connsiteX13" fmla="*/ 60630 w 605681"/>
              <a:gd name="connsiteY13" fmla="*/ 29372 h 109895"/>
              <a:gd name="connsiteX14" fmla="*/ 66481 w 605681"/>
              <a:gd name="connsiteY14" fmla="*/ 1307 h 109895"/>
              <a:gd name="connsiteX15" fmla="*/ 78434 w 605681"/>
              <a:gd name="connsiteY15" fmla="*/ 1307 h 109895"/>
              <a:gd name="connsiteX16" fmla="*/ 72582 w 605681"/>
              <a:gd name="connsiteY16" fmla="*/ 29372 h 109895"/>
              <a:gd name="connsiteX17" fmla="*/ 89327 w 605681"/>
              <a:gd name="connsiteY17" fmla="*/ 29372 h 109895"/>
              <a:gd name="connsiteX18" fmla="*/ 89327 w 605681"/>
              <a:gd name="connsiteY18" fmla="*/ 39826 h 109895"/>
              <a:gd name="connsiteX19" fmla="*/ 70528 w 605681"/>
              <a:gd name="connsiteY19" fmla="*/ 39826 h 109895"/>
              <a:gd name="connsiteX20" fmla="*/ 64988 w 605681"/>
              <a:gd name="connsiteY20" fmla="*/ 67020 h 109895"/>
              <a:gd name="connsiteX21" fmla="*/ 85281 w 605681"/>
              <a:gd name="connsiteY21" fmla="*/ 67020 h 109895"/>
              <a:gd name="connsiteX22" fmla="*/ 85281 w 605681"/>
              <a:gd name="connsiteY22" fmla="*/ 77475 h 109895"/>
              <a:gd name="connsiteX23" fmla="*/ 62747 w 605681"/>
              <a:gd name="connsiteY23" fmla="*/ 77475 h 109895"/>
              <a:gd name="connsiteX24" fmla="*/ 56459 w 605681"/>
              <a:gd name="connsiteY24" fmla="*/ 108402 h 109895"/>
              <a:gd name="connsiteX25" fmla="*/ 44508 w 605681"/>
              <a:gd name="connsiteY25" fmla="*/ 108402 h 109895"/>
              <a:gd name="connsiteX26" fmla="*/ 50795 w 605681"/>
              <a:gd name="connsiteY26" fmla="*/ 77475 h 109895"/>
              <a:gd name="connsiteX27" fmla="*/ 28385 w 605681"/>
              <a:gd name="connsiteY27" fmla="*/ 77475 h 109895"/>
              <a:gd name="connsiteX28" fmla="*/ 22098 w 605681"/>
              <a:gd name="connsiteY28" fmla="*/ 108402 h 109895"/>
              <a:gd name="connsiteX29" fmla="*/ 30626 w 605681"/>
              <a:gd name="connsiteY29" fmla="*/ 67020 h 109895"/>
              <a:gd name="connsiteX30" fmla="*/ 53036 w 605681"/>
              <a:gd name="connsiteY30" fmla="*/ 67020 h 109895"/>
              <a:gd name="connsiteX31" fmla="*/ 58576 w 605681"/>
              <a:gd name="connsiteY31" fmla="*/ 39826 h 109895"/>
              <a:gd name="connsiteX32" fmla="*/ 36166 w 605681"/>
              <a:gd name="connsiteY32" fmla="*/ 39826 h 109895"/>
              <a:gd name="connsiteX33" fmla="*/ 30626 w 605681"/>
              <a:gd name="connsiteY33" fmla="*/ 67020 h 109895"/>
              <a:gd name="connsiteX34" fmla="*/ 107815 w 605681"/>
              <a:gd name="connsiteY34" fmla="*/ 1307 h 109895"/>
              <a:gd name="connsiteX35" fmla="*/ 143857 w 605681"/>
              <a:gd name="connsiteY35" fmla="*/ 1307 h 109895"/>
              <a:gd name="connsiteX36" fmla="*/ 163839 w 605681"/>
              <a:gd name="connsiteY36" fmla="*/ 3858 h 109895"/>
              <a:gd name="connsiteX37" fmla="*/ 179961 w 605681"/>
              <a:gd name="connsiteY37" fmla="*/ 12197 h 109895"/>
              <a:gd name="connsiteX38" fmla="*/ 190731 w 605681"/>
              <a:gd name="connsiteY38" fmla="*/ 27443 h 109895"/>
              <a:gd name="connsiteX39" fmla="*/ 194653 w 605681"/>
              <a:gd name="connsiteY39" fmla="*/ 51215 h 109895"/>
              <a:gd name="connsiteX40" fmla="*/ 187742 w 605681"/>
              <a:gd name="connsiteY40" fmla="*/ 82889 h 109895"/>
              <a:gd name="connsiteX41" fmla="*/ 169255 w 605681"/>
              <a:gd name="connsiteY41" fmla="*/ 101992 h 109895"/>
              <a:gd name="connsiteX42" fmla="*/ 142176 w 605681"/>
              <a:gd name="connsiteY42" fmla="*/ 108402 h 109895"/>
              <a:gd name="connsiteX43" fmla="*/ 107815 w 605681"/>
              <a:gd name="connsiteY43" fmla="*/ 108402 h 109895"/>
              <a:gd name="connsiteX44" fmla="*/ 107815 w 605681"/>
              <a:gd name="connsiteY44" fmla="*/ 1307 h 109895"/>
              <a:gd name="connsiteX45" fmla="*/ 142176 w 605681"/>
              <a:gd name="connsiteY45" fmla="*/ 95707 h 109895"/>
              <a:gd name="connsiteX46" fmla="*/ 161598 w 605681"/>
              <a:gd name="connsiteY46" fmla="*/ 91227 h 109895"/>
              <a:gd name="connsiteX47" fmla="*/ 174608 w 605681"/>
              <a:gd name="connsiteY47" fmla="*/ 77039 h 109895"/>
              <a:gd name="connsiteX48" fmla="*/ 179401 w 605681"/>
              <a:gd name="connsiteY48" fmla="*/ 52272 h 109895"/>
              <a:gd name="connsiteX49" fmla="*/ 174732 w 605681"/>
              <a:gd name="connsiteY49" fmla="*/ 28936 h 109895"/>
              <a:gd name="connsiteX50" fmla="*/ 162034 w 605681"/>
              <a:gd name="connsiteY50" fmla="*/ 17424 h 109895"/>
              <a:gd name="connsiteX51" fmla="*/ 143857 w 605681"/>
              <a:gd name="connsiteY51" fmla="*/ 14188 h 109895"/>
              <a:gd name="connsiteX52" fmla="*/ 121883 w 605681"/>
              <a:gd name="connsiteY52" fmla="*/ 14188 h 109895"/>
              <a:gd name="connsiteX53" fmla="*/ 121883 w 605681"/>
              <a:gd name="connsiteY53" fmla="*/ 95707 h 109895"/>
              <a:gd name="connsiteX54" fmla="*/ 142176 w 605681"/>
              <a:gd name="connsiteY54" fmla="*/ 95707 h 109895"/>
              <a:gd name="connsiteX55" fmla="*/ 276385 w 605681"/>
              <a:gd name="connsiteY55" fmla="*/ 13442 h 109895"/>
              <a:gd name="connsiteX56" fmla="*/ 230943 w 605681"/>
              <a:gd name="connsiteY56" fmla="*/ 108402 h 109895"/>
              <a:gd name="connsiteX57" fmla="*/ 216315 w 605681"/>
              <a:gd name="connsiteY57" fmla="*/ 108402 h 109895"/>
              <a:gd name="connsiteX58" fmla="*/ 262006 w 605681"/>
              <a:gd name="connsiteY58" fmla="*/ 14188 h 109895"/>
              <a:gd name="connsiteX59" fmla="*/ 207475 w 605681"/>
              <a:gd name="connsiteY59" fmla="*/ 14188 h 109895"/>
              <a:gd name="connsiteX60" fmla="*/ 207475 w 605681"/>
              <a:gd name="connsiteY60" fmla="*/ 1307 h 109895"/>
              <a:gd name="connsiteX61" fmla="*/ 276385 w 605681"/>
              <a:gd name="connsiteY61" fmla="*/ 1307 h 109895"/>
              <a:gd name="connsiteX62" fmla="*/ 276385 w 605681"/>
              <a:gd name="connsiteY62" fmla="*/ 13442 h 109895"/>
              <a:gd name="connsiteX63" fmla="*/ 346416 w 605681"/>
              <a:gd name="connsiteY63" fmla="*/ 108402 h 109895"/>
              <a:gd name="connsiteX64" fmla="*/ 333219 w 605681"/>
              <a:gd name="connsiteY64" fmla="*/ 108402 h 109895"/>
              <a:gd name="connsiteX65" fmla="*/ 333219 w 605681"/>
              <a:gd name="connsiteY65" fmla="*/ 83013 h 109895"/>
              <a:gd name="connsiteX66" fmla="*/ 286905 w 605681"/>
              <a:gd name="connsiteY66" fmla="*/ 83013 h 109895"/>
              <a:gd name="connsiteX67" fmla="*/ 286905 w 605681"/>
              <a:gd name="connsiteY67" fmla="*/ 73741 h 109895"/>
              <a:gd name="connsiteX68" fmla="*/ 328736 w 605681"/>
              <a:gd name="connsiteY68" fmla="*/ 1307 h 109895"/>
              <a:gd name="connsiteX69" fmla="*/ 346416 w 605681"/>
              <a:gd name="connsiteY69" fmla="*/ 1307 h 109895"/>
              <a:gd name="connsiteX70" fmla="*/ 346416 w 605681"/>
              <a:gd name="connsiteY70" fmla="*/ 71687 h 109895"/>
              <a:gd name="connsiteX71" fmla="*/ 360857 w 605681"/>
              <a:gd name="connsiteY71" fmla="*/ 71687 h 109895"/>
              <a:gd name="connsiteX72" fmla="*/ 360857 w 605681"/>
              <a:gd name="connsiteY72" fmla="*/ 83013 h 109895"/>
              <a:gd name="connsiteX73" fmla="*/ 346416 w 605681"/>
              <a:gd name="connsiteY73" fmla="*/ 83013 h 109895"/>
              <a:gd name="connsiteX74" fmla="*/ 346416 w 605681"/>
              <a:gd name="connsiteY74" fmla="*/ 108402 h 109895"/>
              <a:gd name="connsiteX75" fmla="*/ 300538 w 605681"/>
              <a:gd name="connsiteY75" fmla="*/ 71687 h 109895"/>
              <a:gd name="connsiteX76" fmla="*/ 333219 w 605681"/>
              <a:gd name="connsiteY76" fmla="*/ 71687 h 109895"/>
              <a:gd name="connsiteX77" fmla="*/ 333219 w 605681"/>
              <a:gd name="connsiteY77" fmla="*/ 15931 h 109895"/>
              <a:gd name="connsiteX78" fmla="*/ 300538 w 605681"/>
              <a:gd name="connsiteY78" fmla="*/ 71687 h 109895"/>
              <a:gd name="connsiteX79" fmla="*/ 420616 w 605681"/>
              <a:gd name="connsiteY79" fmla="*/ 108402 h 109895"/>
              <a:gd name="connsiteX80" fmla="*/ 407046 w 605681"/>
              <a:gd name="connsiteY80" fmla="*/ 108402 h 109895"/>
              <a:gd name="connsiteX81" fmla="*/ 407046 w 605681"/>
              <a:gd name="connsiteY81" fmla="*/ 18171 h 109895"/>
              <a:gd name="connsiteX82" fmla="*/ 377415 w 605681"/>
              <a:gd name="connsiteY82" fmla="*/ 40885 h 109895"/>
              <a:gd name="connsiteX83" fmla="*/ 377415 w 605681"/>
              <a:gd name="connsiteY83" fmla="*/ 25825 h 109895"/>
              <a:gd name="connsiteX84" fmla="*/ 409287 w 605681"/>
              <a:gd name="connsiteY84" fmla="*/ 1307 h 109895"/>
              <a:gd name="connsiteX85" fmla="*/ 420616 w 605681"/>
              <a:gd name="connsiteY85" fmla="*/ 1307 h 109895"/>
              <a:gd name="connsiteX86" fmla="*/ 420616 w 605681"/>
              <a:gd name="connsiteY86" fmla="*/ 108402 h 109895"/>
              <a:gd name="connsiteX87" fmla="*/ 488592 w 605681"/>
              <a:gd name="connsiteY87" fmla="*/ 109896 h 109895"/>
              <a:gd name="connsiteX88" fmla="*/ 470353 w 605681"/>
              <a:gd name="connsiteY88" fmla="*/ 104047 h 109895"/>
              <a:gd name="connsiteX89" fmla="*/ 457654 w 605681"/>
              <a:gd name="connsiteY89" fmla="*/ 86125 h 109895"/>
              <a:gd name="connsiteX90" fmla="*/ 453172 w 605681"/>
              <a:gd name="connsiteY90" fmla="*/ 54761 h 109895"/>
              <a:gd name="connsiteX91" fmla="*/ 457654 w 605681"/>
              <a:gd name="connsiteY91" fmla="*/ 23398 h 109895"/>
              <a:gd name="connsiteX92" fmla="*/ 470353 w 605681"/>
              <a:gd name="connsiteY92" fmla="*/ 5663 h 109895"/>
              <a:gd name="connsiteX93" fmla="*/ 488592 w 605681"/>
              <a:gd name="connsiteY93" fmla="*/ 0 h 109895"/>
              <a:gd name="connsiteX94" fmla="*/ 506644 w 605681"/>
              <a:gd name="connsiteY94" fmla="*/ 5663 h 109895"/>
              <a:gd name="connsiteX95" fmla="*/ 519032 w 605681"/>
              <a:gd name="connsiteY95" fmla="*/ 23398 h 109895"/>
              <a:gd name="connsiteX96" fmla="*/ 523514 w 605681"/>
              <a:gd name="connsiteY96" fmla="*/ 54512 h 109895"/>
              <a:gd name="connsiteX97" fmla="*/ 519032 w 605681"/>
              <a:gd name="connsiteY97" fmla="*/ 85876 h 109895"/>
              <a:gd name="connsiteX98" fmla="*/ 506644 w 605681"/>
              <a:gd name="connsiteY98" fmla="*/ 104047 h 109895"/>
              <a:gd name="connsiteX99" fmla="*/ 488592 w 605681"/>
              <a:gd name="connsiteY99" fmla="*/ 109896 h 109895"/>
              <a:gd name="connsiteX100" fmla="*/ 488405 w 605681"/>
              <a:gd name="connsiteY100" fmla="*/ 98072 h 109895"/>
              <a:gd name="connsiteX101" fmla="*/ 499796 w 605681"/>
              <a:gd name="connsiteY101" fmla="*/ 94089 h 109895"/>
              <a:gd name="connsiteX102" fmla="*/ 506955 w 605681"/>
              <a:gd name="connsiteY102" fmla="*/ 80462 h 109895"/>
              <a:gd name="connsiteX103" fmla="*/ 509508 w 605681"/>
              <a:gd name="connsiteY103" fmla="*/ 54948 h 109895"/>
              <a:gd name="connsiteX104" fmla="*/ 507080 w 605681"/>
              <a:gd name="connsiteY104" fmla="*/ 29559 h 109895"/>
              <a:gd name="connsiteX105" fmla="*/ 499921 w 605681"/>
              <a:gd name="connsiteY105" fmla="*/ 15931 h 109895"/>
              <a:gd name="connsiteX106" fmla="*/ 488592 w 605681"/>
              <a:gd name="connsiteY106" fmla="*/ 11761 h 109895"/>
              <a:gd name="connsiteX107" fmla="*/ 477076 w 605681"/>
              <a:gd name="connsiteY107" fmla="*/ 15931 h 109895"/>
              <a:gd name="connsiteX108" fmla="*/ 469730 w 605681"/>
              <a:gd name="connsiteY108" fmla="*/ 29559 h 109895"/>
              <a:gd name="connsiteX109" fmla="*/ 467178 w 605681"/>
              <a:gd name="connsiteY109" fmla="*/ 54948 h 109895"/>
              <a:gd name="connsiteX110" fmla="*/ 469606 w 605681"/>
              <a:gd name="connsiteY110" fmla="*/ 80462 h 109895"/>
              <a:gd name="connsiteX111" fmla="*/ 476889 w 605681"/>
              <a:gd name="connsiteY111" fmla="*/ 94089 h 109895"/>
              <a:gd name="connsiteX112" fmla="*/ 488405 w 605681"/>
              <a:gd name="connsiteY112" fmla="*/ 98072 h 109895"/>
              <a:gd name="connsiteX113" fmla="*/ 570698 w 605681"/>
              <a:gd name="connsiteY113" fmla="*/ 109896 h 109895"/>
              <a:gd name="connsiteX114" fmla="*/ 552459 w 605681"/>
              <a:gd name="connsiteY114" fmla="*/ 104047 h 109895"/>
              <a:gd name="connsiteX115" fmla="*/ 539760 w 605681"/>
              <a:gd name="connsiteY115" fmla="*/ 86125 h 109895"/>
              <a:gd name="connsiteX116" fmla="*/ 535279 w 605681"/>
              <a:gd name="connsiteY116" fmla="*/ 54761 h 109895"/>
              <a:gd name="connsiteX117" fmla="*/ 539760 w 605681"/>
              <a:gd name="connsiteY117" fmla="*/ 23398 h 109895"/>
              <a:gd name="connsiteX118" fmla="*/ 552459 w 605681"/>
              <a:gd name="connsiteY118" fmla="*/ 5663 h 109895"/>
              <a:gd name="connsiteX119" fmla="*/ 570698 w 605681"/>
              <a:gd name="connsiteY119" fmla="*/ 0 h 109895"/>
              <a:gd name="connsiteX120" fmla="*/ 588750 w 605681"/>
              <a:gd name="connsiteY120" fmla="*/ 5663 h 109895"/>
              <a:gd name="connsiteX121" fmla="*/ 601200 w 605681"/>
              <a:gd name="connsiteY121" fmla="*/ 23398 h 109895"/>
              <a:gd name="connsiteX122" fmla="*/ 605682 w 605681"/>
              <a:gd name="connsiteY122" fmla="*/ 54512 h 109895"/>
              <a:gd name="connsiteX123" fmla="*/ 601200 w 605681"/>
              <a:gd name="connsiteY123" fmla="*/ 85876 h 109895"/>
              <a:gd name="connsiteX124" fmla="*/ 588750 w 605681"/>
              <a:gd name="connsiteY124" fmla="*/ 104047 h 109895"/>
              <a:gd name="connsiteX125" fmla="*/ 570698 w 605681"/>
              <a:gd name="connsiteY125" fmla="*/ 109896 h 109895"/>
              <a:gd name="connsiteX126" fmla="*/ 570573 w 605681"/>
              <a:gd name="connsiteY126" fmla="*/ 98072 h 109895"/>
              <a:gd name="connsiteX127" fmla="*/ 581903 w 605681"/>
              <a:gd name="connsiteY127" fmla="*/ 94089 h 109895"/>
              <a:gd name="connsiteX128" fmla="*/ 589062 w 605681"/>
              <a:gd name="connsiteY128" fmla="*/ 80462 h 109895"/>
              <a:gd name="connsiteX129" fmla="*/ 591614 w 605681"/>
              <a:gd name="connsiteY129" fmla="*/ 54948 h 109895"/>
              <a:gd name="connsiteX130" fmla="*/ 589248 w 605681"/>
              <a:gd name="connsiteY130" fmla="*/ 29559 h 109895"/>
              <a:gd name="connsiteX131" fmla="*/ 582028 w 605681"/>
              <a:gd name="connsiteY131" fmla="*/ 15931 h 109895"/>
              <a:gd name="connsiteX132" fmla="*/ 570698 w 605681"/>
              <a:gd name="connsiteY132" fmla="*/ 11761 h 109895"/>
              <a:gd name="connsiteX133" fmla="*/ 559182 w 605681"/>
              <a:gd name="connsiteY133" fmla="*/ 15931 h 109895"/>
              <a:gd name="connsiteX134" fmla="*/ 551899 w 605681"/>
              <a:gd name="connsiteY134" fmla="*/ 29559 h 109895"/>
              <a:gd name="connsiteX135" fmla="*/ 549347 w 605681"/>
              <a:gd name="connsiteY135" fmla="*/ 54948 h 109895"/>
              <a:gd name="connsiteX136" fmla="*/ 551712 w 605681"/>
              <a:gd name="connsiteY136" fmla="*/ 80462 h 109895"/>
              <a:gd name="connsiteX137" fmla="*/ 559057 w 605681"/>
              <a:gd name="connsiteY137" fmla="*/ 94089 h 109895"/>
              <a:gd name="connsiteX138" fmla="*/ 570573 w 605681"/>
              <a:gd name="connsiteY138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605681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07815" y="1307"/>
                </a:moveTo>
                <a:lnTo>
                  <a:pt x="143857" y="1307"/>
                </a:lnTo>
                <a:cubicBezTo>
                  <a:pt x="151016" y="1307"/>
                  <a:pt x="157676" y="2179"/>
                  <a:pt x="163839" y="3858"/>
                </a:cubicBezTo>
                <a:cubicBezTo>
                  <a:pt x="170001" y="5538"/>
                  <a:pt x="175417" y="8339"/>
                  <a:pt x="179961" y="12197"/>
                </a:cubicBezTo>
                <a:cubicBezTo>
                  <a:pt x="184568" y="15993"/>
                  <a:pt x="188178" y="21096"/>
                  <a:pt x="190731" y="27443"/>
                </a:cubicBezTo>
                <a:cubicBezTo>
                  <a:pt x="193345" y="33853"/>
                  <a:pt x="194653" y="41756"/>
                  <a:pt x="194653" y="51215"/>
                </a:cubicBezTo>
                <a:cubicBezTo>
                  <a:pt x="194653" y="63722"/>
                  <a:pt x="192349" y="74301"/>
                  <a:pt x="187742" y="82889"/>
                </a:cubicBezTo>
                <a:cubicBezTo>
                  <a:pt x="183261" y="91352"/>
                  <a:pt x="177098" y="97699"/>
                  <a:pt x="169255" y="101992"/>
                </a:cubicBezTo>
                <a:cubicBezTo>
                  <a:pt x="161349" y="106287"/>
                  <a:pt x="152323" y="108402"/>
                  <a:pt x="142176" y="108402"/>
                </a:cubicBezTo>
                <a:lnTo>
                  <a:pt x="107815" y="108402"/>
                </a:lnTo>
                <a:lnTo>
                  <a:pt x="107815" y="1307"/>
                </a:lnTo>
                <a:close/>
                <a:moveTo>
                  <a:pt x="142176" y="95707"/>
                </a:moveTo>
                <a:cubicBezTo>
                  <a:pt x="149584" y="95707"/>
                  <a:pt x="156058" y="94214"/>
                  <a:pt x="161598" y="91227"/>
                </a:cubicBezTo>
                <a:cubicBezTo>
                  <a:pt x="167201" y="88116"/>
                  <a:pt x="171495" y="83386"/>
                  <a:pt x="174608" y="77039"/>
                </a:cubicBezTo>
                <a:cubicBezTo>
                  <a:pt x="177783" y="70568"/>
                  <a:pt x="179401" y="62291"/>
                  <a:pt x="179401" y="52272"/>
                </a:cubicBezTo>
                <a:cubicBezTo>
                  <a:pt x="179401" y="42191"/>
                  <a:pt x="177845" y="34413"/>
                  <a:pt x="174732" y="28936"/>
                </a:cubicBezTo>
                <a:cubicBezTo>
                  <a:pt x="171682" y="23460"/>
                  <a:pt x="167450" y="19664"/>
                  <a:pt x="162034" y="17424"/>
                </a:cubicBezTo>
                <a:cubicBezTo>
                  <a:pt x="156805" y="15246"/>
                  <a:pt x="150704" y="14188"/>
                  <a:pt x="143857" y="14188"/>
                </a:cubicBezTo>
                <a:lnTo>
                  <a:pt x="121883" y="14188"/>
                </a:lnTo>
                <a:lnTo>
                  <a:pt x="121883" y="95707"/>
                </a:lnTo>
                <a:lnTo>
                  <a:pt x="142176" y="95707"/>
                </a:lnTo>
                <a:close/>
                <a:moveTo>
                  <a:pt x="276385" y="13442"/>
                </a:moveTo>
                <a:lnTo>
                  <a:pt x="230943" y="108402"/>
                </a:lnTo>
                <a:lnTo>
                  <a:pt x="216315" y="108402"/>
                </a:lnTo>
                <a:lnTo>
                  <a:pt x="262006" y="14188"/>
                </a:lnTo>
                <a:lnTo>
                  <a:pt x="207475" y="14188"/>
                </a:lnTo>
                <a:lnTo>
                  <a:pt x="207475" y="1307"/>
                </a:lnTo>
                <a:lnTo>
                  <a:pt x="276385" y="1307"/>
                </a:lnTo>
                <a:lnTo>
                  <a:pt x="276385" y="13442"/>
                </a:lnTo>
                <a:close/>
                <a:moveTo>
                  <a:pt x="346416" y="108402"/>
                </a:moveTo>
                <a:lnTo>
                  <a:pt x="333219" y="108402"/>
                </a:lnTo>
                <a:lnTo>
                  <a:pt x="333219" y="83013"/>
                </a:lnTo>
                <a:lnTo>
                  <a:pt x="286905" y="83013"/>
                </a:lnTo>
                <a:lnTo>
                  <a:pt x="286905" y="73741"/>
                </a:lnTo>
                <a:lnTo>
                  <a:pt x="328736" y="1307"/>
                </a:lnTo>
                <a:lnTo>
                  <a:pt x="346416" y="1307"/>
                </a:lnTo>
                <a:lnTo>
                  <a:pt x="346416" y="71687"/>
                </a:lnTo>
                <a:lnTo>
                  <a:pt x="360857" y="71687"/>
                </a:lnTo>
                <a:lnTo>
                  <a:pt x="360857" y="83013"/>
                </a:lnTo>
                <a:lnTo>
                  <a:pt x="346416" y="83013"/>
                </a:lnTo>
                <a:lnTo>
                  <a:pt x="346416" y="108402"/>
                </a:lnTo>
                <a:close/>
                <a:moveTo>
                  <a:pt x="300538" y="71687"/>
                </a:moveTo>
                <a:lnTo>
                  <a:pt x="333219" y="71687"/>
                </a:lnTo>
                <a:lnTo>
                  <a:pt x="333219" y="15931"/>
                </a:lnTo>
                <a:lnTo>
                  <a:pt x="300538" y="71687"/>
                </a:lnTo>
                <a:close/>
                <a:moveTo>
                  <a:pt x="420616" y="108402"/>
                </a:moveTo>
                <a:lnTo>
                  <a:pt x="407046" y="108402"/>
                </a:lnTo>
                <a:lnTo>
                  <a:pt x="407046" y="18171"/>
                </a:lnTo>
                <a:lnTo>
                  <a:pt x="377415" y="40885"/>
                </a:lnTo>
                <a:lnTo>
                  <a:pt x="377415" y="25825"/>
                </a:lnTo>
                <a:lnTo>
                  <a:pt x="409287" y="1307"/>
                </a:lnTo>
                <a:lnTo>
                  <a:pt x="420616" y="1307"/>
                </a:lnTo>
                <a:lnTo>
                  <a:pt x="420616" y="108402"/>
                </a:lnTo>
                <a:close/>
                <a:moveTo>
                  <a:pt x="488592" y="109896"/>
                </a:moveTo>
                <a:cubicBezTo>
                  <a:pt x="481807" y="109896"/>
                  <a:pt x="475706" y="107967"/>
                  <a:pt x="470353" y="104047"/>
                </a:cubicBezTo>
                <a:cubicBezTo>
                  <a:pt x="464937" y="100188"/>
                  <a:pt x="460705" y="94214"/>
                  <a:pt x="457654" y="86125"/>
                </a:cubicBezTo>
                <a:cubicBezTo>
                  <a:pt x="454666" y="77972"/>
                  <a:pt x="453172" y="67518"/>
                  <a:pt x="453172" y="54761"/>
                </a:cubicBezTo>
                <a:cubicBezTo>
                  <a:pt x="453172" y="41942"/>
                  <a:pt x="454666" y="31488"/>
                  <a:pt x="457654" y="23398"/>
                </a:cubicBezTo>
                <a:cubicBezTo>
                  <a:pt x="460705" y="15371"/>
                  <a:pt x="464937" y="9459"/>
                  <a:pt x="470353" y="5663"/>
                </a:cubicBezTo>
                <a:cubicBezTo>
                  <a:pt x="475706" y="1867"/>
                  <a:pt x="481807" y="0"/>
                  <a:pt x="488592" y="0"/>
                </a:cubicBezTo>
                <a:cubicBezTo>
                  <a:pt x="495315" y="0"/>
                  <a:pt x="501353" y="1867"/>
                  <a:pt x="506644" y="5663"/>
                </a:cubicBezTo>
                <a:cubicBezTo>
                  <a:pt x="511935" y="9459"/>
                  <a:pt x="516044" y="15371"/>
                  <a:pt x="519032" y="23398"/>
                </a:cubicBezTo>
                <a:cubicBezTo>
                  <a:pt x="522020" y="31363"/>
                  <a:pt x="523514" y="41756"/>
                  <a:pt x="523514" y="54512"/>
                </a:cubicBezTo>
                <a:cubicBezTo>
                  <a:pt x="523514" y="67145"/>
                  <a:pt x="522020" y="77599"/>
                  <a:pt x="519032" y="85876"/>
                </a:cubicBezTo>
                <a:cubicBezTo>
                  <a:pt x="516044" y="94027"/>
                  <a:pt x="511935" y="100064"/>
                  <a:pt x="506644" y="104047"/>
                </a:cubicBezTo>
                <a:cubicBezTo>
                  <a:pt x="501353" y="107967"/>
                  <a:pt x="495315" y="109896"/>
                  <a:pt x="488592" y="109896"/>
                </a:cubicBezTo>
                <a:close/>
                <a:moveTo>
                  <a:pt x="488405" y="98072"/>
                </a:moveTo>
                <a:cubicBezTo>
                  <a:pt x="492887" y="98072"/>
                  <a:pt x="496684" y="96766"/>
                  <a:pt x="499796" y="94089"/>
                </a:cubicBezTo>
                <a:cubicBezTo>
                  <a:pt x="502971" y="91289"/>
                  <a:pt x="505337" y="86747"/>
                  <a:pt x="506955" y="80462"/>
                </a:cubicBezTo>
                <a:cubicBezTo>
                  <a:pt x="508636" y="74114"/>
                  <a:pt x="509508" y="65589"/>
                  <a:pt x="509508" y="54948"/>
                </a:cubicBezTo>
                <a:cubicBezTo>
                  <a:pt x="509508" y="44307"/>
                  <a:pt x="508698" y="35844"/>
                  <a:pt x="507080" y="29559"/>
                </a:cubicBezTo>
                <a:cubicBezTo>
                  <a:pt x="505523" y="23150"/>
                  <a:pt x="503096" y="18669"/>
                  <a:pt x="499921" y="15931"/>
                </a:cubicBezTo>
                <a:cubicBezTo>
                  <a:pt x="496808" y="13192"/>
                  <a:pt x="493074" y="11761"/>
                  <a:pt x="488592" y="11761"/>
                </a:cubicBezTo>
                <a:cubicBezTo>
                  <a:pt x="484110" y="11761"/>
                  <a:pt x="480251" y="13192"/>
                  <a:pt x="477076" y="15931"/>
                </a:cubicBezTo>
                <a:cubicBezTo>
                  <a:pt x="473901" y="18669"/>
                  <a:pt x="471411" y="23150"/>
                  <a:pt x="469730" y="29559"/>
                </a:cubicBezTo>
                <a:cubicBezTo>
                  <a:pt x="468049" y="35844"/>
                  <a:pt x="467178" y="44307"/>
                  <a:pt x="467178" y="54948"/>
                </a:cubicBezTo>
                <a:cubicBezTo>
                  <a:pt x="467178" y="65589"/>
                  <a:pt x="467987" y="74114"/>
                  <a:pt x="469606" y="80462"/>
                </a:cubicBezTo>
                <a:cubicBezTo>
                  <a:pt x="471287" y="86747"/>
                  <a:pt x="473714" y="91289"/>
                  <a:pt x="476889" y="94089"/>
                </a:cubicBezTo>
                <a:cubicBezTo>
                  <a:pt x="480126" y="96766"/>
                  <a:pt x="483923" y="98072"/>
                  <a:pt x="488405" y="98072"/>
                </a:cubicBezTo>
                <a:close/>
                <a:moveTo>
                  <a:pt x="570698" y="109896"/>
                </a:moveTo>
                <a:cubicBezTo>
                  <a:pt x="563913" y="109896"/>
                  <a:pt x="557875" y="107967"/>
                  <a:pt x="552459" y="104047"/>
                </a:cubicBezTo>
                <a:cubicBezTo>
                  <a:pt x="547106" y="100188"/>
                  <a:pt x="542873" y="94214"/>
                  <a:pt x="539760" y="86125"/>
                </a:cubicBezTo>
                <a:cubicBezTo>
                  <a:pt x="536773" y="77972"/>
                  <a:pt x="535279" y="67518"/>
                  <a:pt x="535279" y="54761"/>
                </a:cubicBezTo>
                <a:cubicBezTo>
                  <a:pt x="535279" y="41942"/>
                  <a:pt x="536773" y="31488"/>
                  <a:pt x="539760" y="23398"/>
                </a:cubicBezTo>
                <a:cubicBezTo>
                  <a:pt x="542873" y="15371"/>
                  <a:pt x="547106" y="9459"/>
                  <a:pt x="552459" y="5663"/>
                </a:cubicBezTo>
                <a:cubicBezTo>
                  <a:pt x="557875" y="1867"/>
                  <a:pt x="563913" y="0"/>
                  <a:pt x="570698" y="0"/>
                </a:cubicBezTo>
                <a:cubicBezTo>
                  <a:pt x="577484" y="0"/>
                  <a:pt x="583522" y="1867"/>
                  <a:pt x="588750" y="5663"/>
                </a:cubicBezTo>
                <a:cubicBezTo>
                  <a:pt x="594041" y="9459"/>
                  <a:pt x="598212" y="15371"/>
                  <a:pt x="601200" y="23398"/>
                </a:cubicBezTo>
                <a:cubicBezTo>
                  <a:pt x="604188" y="31363"/>
                  <a:pt x="605682" y="41756"/>
                  <a:pt x="605682" y="54512"/>
                </a:cubicBezTo>
                <a:cubicBezTo>
                  <a:pt x="605682" y="67145"/>
                  <a:pt x="604188" y="77599"/>
                  <a:pt x="601200" y="85876"/>
                </a:cubicBezTo>
                <a:cubicBezTo>
                  <a:pt x="598212" y="94027"/>
                  <a:pt x="594041" y="100064"/>
                  <a:pt x="588750" y="104047"/>
                </a:cubicBezTo>
                <a:cubicBezTo>
                  <a:pt x="583522" y="107967"/>
                  <a:pt x="577484" y="109896"/>
                  <a:pt x="570698" y="109896"/>
                </a:cubicBezTo>
                <a:close/>
                <a:moveTo>
                  <a:pt x="570573" y="98072"/>
                </a:moveTo>
                <a:cubicBezTo>
                  <a:pt x="575056" y="98072"/>
                  <a:pt x="578791" y="96766"/>
                  <a:pt x="581903" y="94089"/>
                </a:cubicBezTo>
                <a:cubicBezTo>
                  <a:pt x="585078" y="91289"/>
                  <a:pt x="587506" y="86747"/>
                  <a:pt x="589062" y="80462"/>
                </a:cubicBezTo>
                <a:cubicBezTo>
                  <a:pt x="590743" y="74114"/>
                  <a:pt x="591614" y="65589"/>
                  <a:pt x="591614" y="54948"/>
                </a:cubicBezTo>
                <a:cubicBezTo>
                  <a:pt x="591614" y="44307"/>
                  <a:pt x="590804" y="35844"/>
                  <a:pt x="589248" y="29559"/>
                </a:cubicBezTo>
                <a:cubicBezTo>
                  <a:pt x="587630" y="23150"/>
                  <a:pt x="585265" y="18669"/>
                  <a:pt x="582028" y="15931"/>
                </a:cubicBezTo>
                <a:cubicBezTo>
                  <a:pt x="578978" y="13192"/>
                  <a:pt x="575180" y="11761"/>
                  <a:pt x="570698" y="11761"/>
                </a:cubicBezTo>
                <a:cubicBezTo>
                  <a:pt x="566216" y="11761"/>
                  <a:pt x="562357" y="13192"/>
                  <a:pt x="559182" y="15931"/>
                </a:cubicBezTo>
                <a:cubicBezTo>
                  <a:pt x="556007" y="18669"/>
                  <a:pt x="553579" y="23150"/>
                  <a:pt x="551899" y="29559"/>
                </a:cubicBezTo>
                <a:cubicBezTo>
                  <a:pt x="550156" y="35844"/>
                  <a:pt x="549347" y="44307"/>
                  <a:pt x="549347" y="54948"/>
                </a:cubicBezTo>
                <a:cubicBezTo>
                  <a:pt x="549347" y="65589"/>
                  <a:pt x="550156" y="74114"/>
                  <a:pt x="551712" y="80462"/>
                </a:cubicBezTo>
                <a:cubicBezTo>
                  <a:pt x="553393" y="86747"/>
                  <a:pt x="555883" y="91289"/>
                  <a:pt x="559057" y="94089"/>
                </a:cubicBezTo>
                <a:cubicBezTo>
                  <a:pt x="562232" y="96766"/>
                  <a:pt x="566092" y="98072"/>
                  <a:pt x="570573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9" name="Полилиния 1048">
            <a:extLst>
              <a:ext uri="{FF2B5EF4-FFF2-40B4-BE49-F238E27FC236}">
                <a16:creationId xmlns:a16="http://schemas.microsoft.com/office/drawing/2014/main" id="{2C39DA6B-77BD-0361-7D15-AE1D9126E3AC}"/>
              </a:ext>
            </a:extLst>
          </p:cNvPr>
          <p:cNvSpPr/>
          <p:nvPr userDrawn="1"/>
        </p:nvSpPr>
        <p:spPr>
          <a:xfrm>
            <a:off x="19989822" y="6692525"/>
            <a:ext cx="1398954" cy="726227"/>
          </a:xfrm>
          <a:custGeom>
            <a:avLst/>
            <a:gdLst>
              <a:gd name="connsiteX0" fmla="*/ 1063 w 1198727"/>
              <a:gd name="connsiteY0" fmla="*/ 1422 h 622284"/>
              <a:gd name="connsiteX1" fmla="*/ 1199791 w 1198727"/>
              <a:gd name="connsiteY1" fmla="*/ 1422 h 622284"/>
              <a:gd name="connsiteX2" fmla="*/ 1199791 w 1198727"/>
              <a:gd name="connsiteY2" fmla="*/ 623706 h 622284"/>
              <a:gd name="connsiteX3" fmla="*/ 1063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422"/>
                </a:moveTo>
                <a:lnTo>
                  <a:pt x="1199791" y="1422"/>
                </a:lnTo>
                <a:lnTo>
                  <a:pt x="1199791" y="623706"/>
                </a:lnTo>
                <a:lnTo>
                  <a:pt x="1063" y="623706"/>
                </a:lnTo>
                <a:close/>
              </a:path>
            </a:pathLst>
          </a:custGeom>
          <a:solidFill>
            <a:srgbClr val="FF5F2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0" name="Полилиния 1049">
            <a:extLst>
              <a:ext uri="{FF2B5EF4-FFF2-40B4-BE49-F238E27FC236}">
                <a16:creationId xmlns:a16="http://schemas.microsoft.com/office/drawing/2014/main" id="{89BA1850-F2C2-6FA0-CB94-03D364FDA895}"/>
              </a:ext>
            </a:extLst>
          </p:cNvPr>
          <p:cNvSpPr/>
          <p:nvPr userDrawn="1"/>
        </p:nvSpPr>
        <p:spPr>
          <a:xfrm>
            <a:off x="20113031" y="6994273"/>
            <a:ext cx="689487" cy="128468"/>
          </a:xfrm>
          <a:custGeom>
            <a:avLst/>
            <a:gdLst>
              <a:gd name="connsiteX0" fmla="*/ 22098 w 590804"/>
              <a:gd name="connsiteY0" fmla="*/ 108588 h 110081"/>
              <a:gd name="connsiteX1" fmla="*/ 10147 w 590804"/>
              <a:gd name="connsiteY1" fmla="*/ 108588 h 110081"/>
              <a:gd name="connsiteX2" fmla="*/ 16434 w 590804"/>
              <a:gd name="connsiteY2" fmla="*/ 77661 h 110081"/>
              <a:gd name="connsiteX3" fmla="*/ 0 w 590804"/>
              <a:gd name="connsiteY3" fmla="*/ 77661 h 110081"/>
              <a:gd name="connsiteX4" fmla="*/ 0 w 590804"/>
              <a:gd name="connsiteY4" fmla="*/ 67206 h 110081"/>
              <a:gd name="connsiteX5" fmla="*/ 18675 w 590804"/>
              <a:gd name="connsiteY5" fmla="*/ 67206 h 110081"/>
              <a:gd name="connsiteX6" fmla="*/ 24215 w 590804"/>
              <a:gd name="connsiteY6" fmla="*/ 40012 h 110081"/>
              <a:gd name="connsiteX7" fmla="*/ 4046 w 590804"/>
              <a:gd name="connsiteY7" fmla="*/ 40012 h 110081"/>
              <a:gd name="connsiteX8" fmla="*/ 4046 w 590804"/>
              <a:gd name="connsiteY8" fmla="*/ 29559 h 110081"/>
              <a:gd name="connsiteX9" fmla="*/ 26269 w 590804"/>
              <a:gd name="connsiteY9" fmla="*/ 29559 h 110081"/>
              <a:gd name="connsiteX10" fmla="*/ 32120 w 590804"/>
              <a:gd name="connsiteY10" fmla="*/ 1493 h 110081"/>
              <a:gd name="connsiteX11" fmla="*/ 44072 w 590804"/>
              <a:gd name="connsiteY11" fmla="*/ 1493 h 110081"/>
              <a:gd name="connsiteX12" fmla="*/ 38221 w 590804"/>
              <a:gd name="connsiteY12" fmla="*/ 29559 h 110081"/>
              <a:gd name="connsiteX13" fmla="*/ 60630 w 590804"/>
              <a:gd name="connsiteY13" fmla="*/ 29559 h 110081"/>
              <a:gd name="connsiteX14" fmla="*/ 66481 w 590804"/>
              <a:gd name="connsiteY14" fmla="*/ 1493 h 110081"/>
              <a:gd name="connsiteX15" fmla="*/ 78434 w 590804"/>
              <a:gd name="connsiteY15" fmla="*/ 1493 h 110081"/>
              <a:gd name="connsiteX16" fmla="*/ 72582 w 590804"/>
              <a:gd name="connsiteY16" fmla="*/ 29559 h 110081"/>
              <a:gd name="connsiteX17" fmla="*/ 89327 w 590804"/>
              <a:gd name="connsiteY17" fmla="*/ 29559 h 110081"/>
              <a:gd name="connsiteX18" fmla="*/ 89327 w 590804"/>
              <a:gd name="connsiteY18" fmla="*/ 40012 h 110081"/>
              <a:gd name="connsiteX19" fmla="*/ 70528 w 590804"/>
              <a:gd name="connsiteY19" fmla="*/ 40012 h 110081"/>
              <a:gd name="connsiteX20" fmla="*/ 64988 w 590804"/>
              <a:gd name="connsiteY20" fmla="*/ 67206 h 110081"/>
              <a:gd name="connsiteX21" fmla="*/ 85281 w 590804"/>
              <a:gd name="connsiteY21" fmla="*/ 67206 h 110081"/>
              <a:gd name="connsiteX22" fmla="*/ 85281 w 590804"/>
              <a:gd name="connsiteY22" fmla="*/ 77661 h 110081"/>
              <a:gd name="connsiteX23" fmla="*/ 62747 w 590804"/>
              <a:gd name="connsiteY23" fmla="*/ 77661 h 110081"/>
              <a:gd name="connsiteX24" fmla="*/ 56459 w 590804"/>
              <a:gd name="connsiteY24" fmla="*/ 108588 h 110081"/>
              <a:gd name="connsiteX25" fmla="*/ 44508 w 590804"/>
              <a:gd name="connsiteY25" fmla="*/ 108588 h 110081"/>
              <a:gd name="connsiteX26" fmla="*/ 50795 w 590804"/>
              <a:gd name="connsiteY26" fmla="*/ 77661 h 110081"/>
              <a:gd name="connsiteX27" fmla="*/ 28385 w 590804"/>
              <a:gd name="connsiteY27" fmla="*/ 77661 h 110081"/>
              <a:gd name="connsiteX28" fmla="*/ 22098 w 590804"/>
              <a:gd name="connsiteY28" fmla="*/ 108588 h 110081"/>
              <a:gd name="connsiteX29" fmla="*/ 30626 w 590804"/>
              <a:gd name="connsiteY29" fmla="*/ 67206 h 110081"/>
              <a:gd name="connsiteX30" fmla="*/ 53036 w 590804"/>
              <a:gd name="connsiteY30" fmla="*/ 67206 h 110081"/>
              <a:gd name="connsiteX31" fmla="*/ 58576 w 590804"/>
              <a:gd name="connsiteY31" fmla="*/ 40012 h 110081"/>
              <a:gd name="connsiteX32" fmla="*/ 36166 w 590804"/>
              <a:gd name="connsiteY32" fmla="*/ 40012 h 110081"/>
              <a:gd name="connsiteX33" fmla="*/ 30626 w 590804"/>
              <a:gd name="connsiteY33" fmla="*/ 67206 h 110081"/>
              <a:gd name="connsiteX34" fmla="*/ 107815 w 590804"/>
              <a:gd name="connsiteY34" fmla="*/ 1493 h 110081"/>
              <a:gd name="connsiteX35" fmla="*/ 173239 w 590804"/>
              <a:gd name="connsiteY35" fmla="*/ 1493 h 110081"/>
              <a:gd name="connsiteX36" fmla="*/ 173239 w 590804"/>
              <a:gd name="connsiteY36" fmla="*/ 14374 h 110081"/>
              <a:gd name="connsiteX37" fmla="*/ 121883 w 590804"/>
              <a:gd name="connsiteY37" fmla="*/ 14374 h 110081"/>
              <a:gd name="connsiteX38" fmla="*/ 121883 w 590804"/>
              <a:gd name="connsiteY38" fmla="*/ 49907 h 110081"/>
              <a:gd name="connsiteX39" fmla="*/ 165520 w 590804"/>
              <a:gd name="connsiteY39" fmla="*/ 49907 h 110081"/>
              <a:gd name="connsiteX40" fmla="*/ 165520 w 590804"/>
              <a:gd name="connsiteY40" fmla="*/ 62601 h 110081"/>
              <a:gd name="connsiteX41" fmla="*/ 121883 w 590804"/>
              <a:gd name="connsiteY41" fmla="*/ 62601 h 110081"/>
              <a:gd name="connsiteX42" fmla="*/ 121883 w 590804"/>
              <a:gd name="connsiteY42" fmla="*/ 108588 h 110081"/>
              <a:gd name="connsiteX43" fmla="*/ 107815 w 590804"/>
              <a:gd name="connsiteY43" fmla="*/ 108588 h 110081"/>
              <a:gd name="connsiteX44" fmla="*/ 107815 w 590804"/>
              <a:gd name="connsiteY44" fmla="*/ 1493 h 110081"/>
              <a:gd name="connsiteX45" fmla="*/ 192723 w 590804"/>
              <a:gd name="connsiteY45" fmla="*/ 1493 h 110081"/>
              <a:gd name="connsiteX46" fmla="*/ 258146 w 590804"/>
              <a:gd name="connsiteY46" fmla="*/ 1493 h 110081"/>
              <a:gd name="connsiteX47" fmla="*/ 258146 w 590804"/>
              <a:gd name="connsiteY47" fmla="*/ 14374 h 110081"/>
              <a:gd name="connsiteX48" fmla="*/ 206791 w 590804"/>
              <a:gd name="connsiteY48" fmla="*/ 14374 h 110081"/>
              <a:gd name="connsiteX49" fmla="*/ 206791 w 590804"/>
              <a:gd name="connsiteY49" fmla="*/ 49907 h 110081"/>
              <a:gd name="connsiteX50" fmla="*/ 250427 w 590804"/>
              <a:gd name="connsiteY50" fmla="*/ 49907 h 110081"/>
              <a:gd name="connsiteX51" fmla="*/ 250427 w 590804"/>
              <a:gd name="connsiteY51" fmla="*/ 62601 h 110081"/>
              <a:gd name="connsiteX52" fmla="*/ 206791 w 590804"/>
              <a:gd name="connsiteY52" fmla="*/ 62601 h 110081"/>
              <a:gd name="connsiteX53" fmla="*/ 206791 w 590804"/>
              <a:gd name="connsiteY53" fmla="*/ 108588 h 110081"/>
              <a:gd name="connsiteX54" fmla="*/ 192723 w 590804"/>
              <a:gd name="connsiteY54" fmla="*/ 108588 h 110081"/>
              <a:gd name="connsiteX55" fmla="*/ 192723 w 590804"/>
              <a:gd name="connsiteY55" fmla="*/ 1493 h 110081"/>
              <a:gd name="connsiteX56" fmla="*/ 301534 w 590804"/>
              <a:gd name="connsiteY56" fmla="*/ 110082 h 110081"/>
              <a:gd name="connsiteX57" fmla="*/ 273024 w 590804"/>
              <a:gd name="connsiteY57" fmla="*/ 102490 h 110081"/>
              <a:gd name="connsiteX58" fmla="*/ 273024 w 590804"/>
              <a:gd name="connsiteY58" fmla="*/ 87804 h 110081"/>
              <a:gd name="connsiteX59" fmla="*/ 286158 w 590804"/>
              <a:gd name="connsiteY59" fmla="*/ 95458 h 110081"/>
              <a:gd name="connsiteX60" fmla="*/ 301534 w 590804"/>
              <a:gd name="connsiteY60" fmla="*/ 97823 h 110081"/>
              <a:gd name="connsiteX61" fmla="*/ 318590 w 590804"/>
              <a:gd name="connsiteY61" fmla="*/ 91102 h 110081"/>
              <a:gd name="connsiteX62" fmla="*/ 324690 w 590804"/>
              <a:gd name="connsiteY62" fmla="*/ 73491 h 110081"/>
              <a:gd name="connsiteX63" fmla="*/ 318714 w 590804"/>
              <a:gd name="connsiteY63" fmla="*/ 56441 h 110081"/>
              <a:gd name="connsiteX64" fmla="*/ 303651 w 590804"/>
              <a:gd name="connsiteY64" fmla="*/ 51089 h 110081"/>
              <a:gd name="connsiteX65" fmla="*/ 293068 w 590804"/>
              <a:gd name="connsiteY65" fmla="*/ 53329 h 110081"/>
              <a:gd name="connsiteX66" fmla="*/ 286905 w 590804"/>
              <a:gd name="connsiteY66" fmla="*/ 57810 h 110081"/>
              <a:gd name="connsiteX67" fmla="*/ 276012 w 590804"/>
              <a:gd name="connsiteY67" fmla="*/ 57810 h 110081"/>
              <a:gd name="connsiteX68" fmla="*/ 276012 w 590804"/>
              <a:gd name="connsiteY68" fmla="*/ 1493 h 110081"/>
              <a:gd name="connsiteX69" fmla="*/ 333966 w 590804"/>
              <a:gd name="connsiteY69" fmla="*/ 1493 h 110081"/>
              <a:gd name="connsiteX70" fmla="*/ 333966 w 590804"/>
              <a:gd name="connsiteY70" fmla="*/ 14374 h 110081"/>
              <a:gd name="connsiteX71" fmla="*/ 288274 w 590804"/>
              <a:gd name="connsiteY71" fmla="*/ 14374 h 110081"/>
              <a:gd name="connsiteX72" fmla="*/ 288274 w 590804"/>
              <a:gd name="connsiteY72" fmla="*/ 44991 h 110081"/>
              <a:gd name="connsiteX73" fmla="*/ 295558 w 590804"/>
              <a:gd name="connsiteY73" fmla="*/ 41071 h 110081"/>
              <a:gd name="connsiteX74" fmla="*/ 305891 w 590804"/>
              <a:gd name="connsiteY74" fmla="*/ 39266 h 110081"/>
              <a:gd name="connsiteX75" fmla="*/ 322636 w 590804"/>
              <a:gd name="connsiteY75" fmla="*/ 43186 h 110081"/>
              <a:gd name="connsiteX76" fmla="*/ 334401 w 590804"/>
              <a:gd name="connsiteY76" fmla="*/ 54512 h 110081"/>
              <a:gd name="connsiteX77" fmla="*/ 338883 w 590804"/>
              <a:gd name="connsiteY77" fmla="*/ 73181 h 110081"/>
              <a:gd name="connsiteX78" fmla="*/ 334277 w 590804"/>
              <a:gd name="connsiteY78" fmla="*/ 92596 h 110081"/>
              <a:gd name="connsiteX79" fmla="*/ 321454 w 590804"/>
              <a:gd name="connsiteY79" fmla="*/ 105601 h 110081"/>
              <a:gd name="connsiteX80" fmla="*/ 301534 w 590804"/>
              <a:gd name="connsiteY80" fmla="*/ 110082 h 110081"/>
              <a:gd name="connsiteX81" fmla="*/ 359798 w 590804"/>
              <a:gd name="connsiteY81" fmla="*/ 1493 h 110081"/>
              <a:gd name="connsiteX82" fmla="*/ 425222 w 590804"/>
              <a:gd name="connsiteY82" fmla="*/ 1493 h 110081"/>
              <a:gd name="connsiteX83" fmla="*/ 425222 w 590804"/>
              <a:gd name="connsiteY83" fmla="*/ 14374 h 110081"/>
              <a:gd name="connsiteX84" fmla="*/ 373804 w 590804"/>
              <a:gd name="connsiteY84" fmla="*/ 14374 h 110081"/>
              <a:gd name="connsiteX85" fmla="*/ 373804 w 590804"/>
              <a:gd name="connsiteY85" fmla="*/ 49907 h 110081"/>
              <a:gd name="connsiteX86" fmla="*/ 417441 w 590804"/>
              <a:gd name="connsiteY86" fmla="*/ 49907 h 110081"/>
              <a:gd name="connsiteX87" fmla="*/ 417441 w 590804"/>
              <a:gd name="connsiteY87" fmla="*/ 62601 h 110081"/>
              <a:gd name="connsiteX88" fmla="*/ 373804 w 590804"/>
              <a:gd name="connsiteY88" fmla="*/ 62601 h 110081"/>
              <a:gd name="connsiteX89" fmla="*/ 373804 w 590804"/>
              <a:gd name="connsiteY89" fmla="*/ 108588 h 110081"/>
              <a:gd name="connsiteX90" fmla="*/ 359798 w 590804"/>
              <a:gd name="connsiteY90" fmla="*/ 108588 h 110081"/>
              <a:gd name="connsiteX91" fmla="*/ 359798 w 590804"/>
              <a:gd name="connsiteY91" fmla="*/ 1493 h 110081"/>
              <a:gd name="connsiteX92" fmla="*/ 507764 w 590804"/>
              <a:gd name="connsiteY92" fmla="*/ 108588 h 110081"/>
              <a:gd name="connsiteX93" fmla="*/ 439477 w 590804"/>
              <a:gd name="connsiteY93" fmla="*/ 108588 h 110081"/>
              <a:gd name="connsiteX94" fmla="*/ 439477 w 590804"/>
              <a:gd name="connsiteY94" fmla="*/ 94400 h 110081"/>
              <a:gd name="connsiteX95" fmla="*/ 465622 w 590804"/>
              <a:gd name="connsiteY95" fmla="*/ 72433 h 110081"/>
              <a:gd name="connsiteX96" fmla="*/ 481620 w 590804"/>
              <a:gd name="connsiteY96" fmla="*/ 56628 h 110081"/>
              <a:gd name="connsiteX97" fmla="*/ 489650 w 590804"/>
              <a:gd name="connsiteY97" fmla="*/ 43933 h 110081"/>
              <a:gd name="connsiteX98" fmla="*/ 492077 w 590804"/>
              <a:gd name="connsiteY98" fmla="*/ 32109 h 110081"/>
              <a:gd name="connsiteX99" fmla="*/ 486537 w 590804"/>
              <a:gd name="connsiteY99" fmla="*/ 17610 h 110081"/>
              <a:gd name="connsiteX100" fmla="*/ 471287 w 590804"/>
              <a:gd name="connsiteY100" fmla="*/ 12383 h 110081"/>
              <a:gd name="connsiteX101" fmla="*/ 442341 w 590804"/>
              <a:gd name="connsiteY101" fmla="*/ 27194 h 110081"/>
              <a:gd name="connsiteX102" fmla="*/ 442341 w 590804"/>
              <a:gd name="connsiteY102" fmla="*/ 12134 h 110081"/>
              <a:gd name="connsiteX103" fmla="*/ 471723 w 590804"/>
              <a:gd name="connsiteY103" fmla="*/ 0 h 110081"/>
              <a:gd name="connsiteX104" fmla="*/ 497120 w 590804"/>
              <a:gd name="connsiteY104" fmla="*/ 8401 h 110081"/>
              <a:gd name="connsiteX105" fmla="*/ 506582 w 590804"/>
              <a:gd name="connsiteY105" fmla="*/ 30803 h 110081"/>
              <a:gd name="connsiteX106" fmla="*/ 504154 w 590804"/>
              <a:gd name="connsiteY106" fmla="*/ 44804 h 110081"/>
              <a:gd name="connsiteX107" fmla="*/ 496124 w 590804"/>
              <a:gd name="connsiteY107" fmla="*/ 58681 h 110081"/>
              <a:gd name="connsiteX108" fmla="*/ 480437 w 590804"/>
              <a:gd name="connsiteY108" fmla="*/ 74860 h 110081"/>
              <a:gd name="connsiteX109" fmla="*/ 455040 w 590804"/>
              <a:gd name="connsiteY109" fmla="*/ 95769 h 110081"/>
              <a:gd name="connsiteX110" fmla="*/ 507764 w 590804"/>
              <a:gd name="connsiteY110" fmla="*/ 95769 h 110081"/>
              <a:gd name="connsiteX111" fmla="*/ 507764 w 590804"/>
              <a:gd name="connsiteY111" fmla="*/ 108588 h 110081"/>
              <a:gd name="connsiteX112" fmla="*/ 539076 w 590804"/>
              <a:gd name="connsiteY112" fmla="*/ 58992 h 110081"/>
              <a:gd name="connsiteX113" fmla="*/ 539076 w 590804"/>
              <a:gd name="connsiteY113" fmla="*/ 46298 h 110081"/>
              <a:gd name="connsiteX114" fmla="*/ 553455 w 590804"/>
              <a:gd name="connsiteY114" fmla="*/ 46298 h 110081"/>
              <a:gd name="connsiteX115" fmla="*/ 567025 w 590804"/>
              <a:gd name="connsiteY115" fmla="*/ 41817 h 110081"/>
              <a:gd name="connsiteX116" fmla="*/ 572379 w 590804"/>
              <a:gd name="connsiteY116" fmla="*/ 28812 h 110081"/>
              <a:gd name="connsiteX117" fmla="*/ 567461 w 590804"/>
              <a:gd name="connsiteY117" fmla="*/ 16864 h 110081"/>
              <a:gd name="connsiteX118" fmla="*/ 553269 w 590804"/>
              <a:gd name="connsiteY118" fmla="*/ 12383 h 110081"/>
              <a:gd name="connsiteX119" fmla="*/ 538640 w 590804"/>
              <a:gd name="connsiteY119" fmla="*/ 15246 h 110081"/>
              <a:gd name="connsiteX120" fmla="*/ 524572 w 590804"/>
              <a:gd name="connsiteY120" fmla="*/ 24331 h 110081"/>
              <a:gd name="connsiteX121" fmla="*/ 524572 w 590804"/>
              <a:gd name="connsiteY121" fmla="*/ 9707 h 110081"/>
              <a:gd name="connsiteX122" fmla="*/ 553455 w 590804"/>
              <a:gd name="connsiteY122" fmla="*/ 0 h 110081"/>
              <a:gd name="connsiteX123" fmla="*/ 577484 w 590804"/>
              <a:gd name="connsiteY123" fmla="*/ 7779 h 110081"/>
              <a:gd name="connsiteX124" fmla="*/ 586323 w 590804"/>
              <a:gd name="connsiteY124" fmla="*/ 28065 h 110081"/>
              <a:gd name="connsiteX125" fmla="*/ 580596 w 590804"/>
              <a:gd name="connsiteY125" fmla="*/ 44244 h 110081"/>
              <a:gd name="connsiteX126" fmla="*/ 567337 w 590804"/>
              <a:gd name="connsiteY126" fmla="*/ 52147 h 110081"/>
              <a:gd name="connsiteX127" fmla="*/ 578853 w 590804"/>
              <a:gd name="connsiteY127" fmla="*/ 56441 h 110081"/>
              <a:gd name="connsiteX128" fmla="*/ 587506 w 590804"/>
              <a:gd name="connsiteY128" fmla="*/ 65153 h 110081"/>
              <a:gd name="connsiteX129" fmla="*/ 590804 w 590804"/>
              <a:gd name="connsiteY129" fmla="*/ 77661 h 110081"/>
              <a:gd name="connsiteX130" fmla="*/ 585825 w 590804"/>
              <a:gd name="connsiteY130" fmla="*/ 94836 h 110081"/>
              <a:gd name="connsiteX131" fmla="*/ 572254 w 590804"/>
              <a:gd name="connsiteY131" fmla="*/ 106224 h 110081"/>
              <a:gd name="connsiteX132" fmla="*/ 552397 w 590804"/>
              <a:gd name="connsiteY132" fmla="*/ 110082 h 110081"/>
              <a:gd name="connsiteX133" fmla="*/ 521895 w 590804"/>
              <a:gd name="connsiteY133" fmla="*/ 100997 h 110081"/>
              <a:gd name="connsiteX134" fmla="*/ 521895 w 590804"/>
              <a:gd name="connsiteY134" fmla="*/ 86062 h 110081"/>
              <a:gd name="connsiteX135" fmla="*/ 535652 w 590804"/>
              <a:gd name="connsiteY135" fmla="*/ 94711 h 110081"/>
              <a:gd name="connsiteX136" fmla="*/ 552522 w 590804"/>
              <a:gd name="connsiteY136" fmla="*/ 97823 h 110081"/>
              <a:gd name="connsiteX137" fmla="*/ 569889 w 590804"/>
              <a:gd name="connsiteY137" fmla="*/ 92596 h 110081"/>
              <a:gd name="connsiteX138" fmla="*/ 576301 w 590804"/>
              <a:gd name="connsiteY138" fmla="*/ 77972 h 110081"/>
              <a:gd name="connsiteX139" fmla="*/ 570449 w 590804"/>
              <a:gd name="connsiteY139" fmla="*/ 64095 h 110081"/>
              <a:gd name="connsiteX140" fmla="*/ 552833 w 590804"/>
              <a:gd name="connsiteY140" fmla="*/ 58992 h 110081"/>
              <a:gd name="connsiteX141" fmla="*/ 539076 w 590804"/>
              <a:gd name="connsiteY141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590804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01534" y="110082"/>
                </a:moveTo>
                <a:cubicBezTo>
                  <a:pt x="289582" y="110082"/>
                  <a:pt x="280120" y="107530"/>
                  <a:pt x="273024" y="102490"/>
                </a:cubicBezTo>
                <a:lnTo>
                  <a:pt x="273024" y="87804"/>
                </a:lnTo>
                <a:cubicBezTo>
                  <a:pt x="277195" y="91226"/>
                  <a:pt x="281614" y="93778"/>
                  <a:pt x="286158" y="95458"/>
                </a:cubicBezTo>
                <a:cubicBezTo>
                  <a:pt x="290765" y="97014"/>
                  <a:pt x="295869" y="97823"/>
                  <a:pt x="301534" y="97823"/>
                </a:cubicBezTo>
                <a:cubicBezTo>
                  <a:pt x="308942" y="97823"/>
                  <a:pt x="314606" y="95583"/>
                  <a:pt x="318590" y="91102"/>
                </a:cubicBezTo>
                <a:cubicBezTo>
                  <a:pt x="322698" y="86621"/>
                  <a:pt x="324690" y="80772"/>
                  <a:pt x="324690" y="73491"/>
                </a:cubicBezTo>
                <a:cubicBezTo>
                  <a:pt x="324690" y="65713"/>
                  <a:pt x="322698" y="60050"/>
                  <a:pt x="318714" y="56441"/>
                </a:cubicBezTo>
                <a:cubicBezTo>
                  <a:pt x="314730" y="52894"/>
                  <a:pt x="309751" y="51089"/>
                  <a:pt x="303651" y="51089"/>
                </a:cubicBezTo>
                <a:cubicBezTo>
                  <a:pt x="299293" y="51089"/>
                  <a:pt x="295745" y="51836"/>
                  <a:pt x="293068" y="53329"/>
                </a:cubicBezTo>
                <a:cubicBezTo>
                  <a:pt x="290329" y="54698"/>
                  <a:pt x="288337" y="56192"/>
                  <a:pt x="286905" y="57810"/>
                </a:cubicBezTo>
                <a:lnTo>
                  <a:pt x="276012" y="57810"/>
                </a:lnTo>
                <a:lnTo>
                  <a:pt x="276012" y="1493"/>
                </a:lnTo>
                <a:lnTo>
                  <a:pt x="333966" y="1493"/>
                </a:lnTo>
                <a:lnTo>
                  <a:pt x="333966" y="14374"/>
                </a:lnTo>
                <a:lnTo>
                  <a:pt x="288274" y="14374"/>
                </a:lnTo>
                <a:lnTo>
                  <a:pt x="288274" y="44991"/>
                </a:lnTo>
                <a:cubicBezTo>
                  <a:pt x="290267" y="43498"/>
                  <a:pt x="292695" y="42190"/>
                  <a:pt x="295558" y="41071"/>
                </a:cubicBezTo>
                <a:cubicBezTo>
                  <a:pt x="298483" y="39888"/>
                  <a:pt x="301907" y="39266"/>
                  <a:pt x="305891" y="39266"/>
                </a:cubicBezTo>
                <a:cubicBezTo>
                  <a:pt x="312054" y="39266"/>
                  <a:pt x="317657" y="40572"/>
                  <a:pt x="322636" y="43186"/>
                </a:cubicBezTo>
                <a:cubicBezTo>
                  <a:pt x="327616" y="45675"/>
                  <a:pt x="331538" y="49471"/>
                  <a:pt x="334401" y="54512"/>
                </a:cubicBezTo>
                <a:cubicBezTo>
                  <a:pt x="337389" y="59490"/>
                  <a:pt x="338883" y="65713"/>
                  <a:pt x="338883" y="73181"/>
                </a:cubicBezTo>
                <a:cubicBezTo>
                  <a:pt x="338883" y="80586"/>
                  <a:pt x="337389" y="87058"/>
                  <a:pt x="334277" y="92596"/>
                </a:cubicBezTo>
                <a:cubicBezTo>
                  <a:pt x="331289" y="98196"/>
                  <a:pt x="326994" y="102490"/>
                  <a:pt x="321454" y="105601"/>
                </a:cubicBezTo>
                <a:cubicBezTo>
                  <a:pt x="315851" y="108588"/>
                  <a:pt x="309252" y="110082"/>
                  <a:pt x="301534" y="110082"/>
                </a:cubicBezTo>
                <a:close/>
                <a:moveTo>
                  <a:pt x="359798" y="1493"/>
                </a:moveTo>
                <a:lnTo>
                  <a:pt x="425222" y="1493"/>
                </a:lnTo>
                <a:lnTo>
                  <a:pt x="425222" y="14374"/>
                </a:lnTo>
                <a:lnTo>
                  <a:pt x="373804" y="14374"/>
                </a:lnTo>
                <a:lnTo>
                  <a:pt x="373804" y="49907"/>
                </a:lnTo>
                <a:lnTo>
                  <a:pt x="417441" y="49907"/>
                </a:lnTo>
                <a:lnTo>
                  <a:pt x="417441" y="62601"/>
                </a:lnTo>
                <a:lnTo>
                  <a:pt x="373804" y="62601"/>
                </a:lnTo>
                <a:lnTo>
                  <a:pt x="373804" y="108588"/>
                </a:lnTo>
                <a:lnTo>
                  <a:pt x="359798" y="108588"/>
                </a:lnTo>
                <a:lnTo>
                  <a:pt x="359798" y="1493"/>
                </a:lnTo>
                <a:close/>
                <a:moveTo>
                  <a:pt x="507764" y="108588"/>
                </a:moveTo>
                <a:lnTo>
                  <a:pt x="439477" y="108588"/>
                </a:lnTo>
                <a:lnTo>
                  <a:pt x="439477" y="94400"/>
                </a:lnTo>
                <a:cubicBezTo>
                  <a:pt x="450122" y="85812"/>
                  <a:pt x="458837" y="78532"/>
                  <a:pt x="465622" y="72433"/>
                </a:cubicBezTo>
                <a:cubicBezTo>
                  <a:pt x="472470" y="66397"/>
                  <a:pt x="477823" y="61108"/>
                  <a:pt x="481620" y="56628"/>
                </a:cubicBezTo>
                <a:cubicBezTo>
                  <a:pt x="485479" y="52023"/>
                  <a:pt x="488156" y="47791"/>
                  <a:pt x="489650" y="43933"/>
                </a:cubicBezTo>
                <a:cubicBezTo>
                  <a:pt x="491268" y="40012"/>
                  <a:pt x="492077" y="36092"/>
                  <a:pt x="492077" y="32109"/>
                </a:cubicBezTo>
                <a:cubicBezTo>
                  <a:pt x="492077" y="25949"/>
                  <a:pt x="490210" y="21095"/>
                  <a:pt x="486537" y="17610"/>
                </a:cubicBezTo>
                <a:cubicBezTo>
                  <a:pt x="482865" y="14125"/>
                  <a:pt x="477761" y="12383"/>
                  <a:pt x="471287" y="12383"/>
                </a:cubicBezTo>
                <a:cubicBezTo>
                  <a:pt x="460953" y="12383"/>
                  <a:pt x="451305" y="17361"/>
                  <a:pt x="442341" y="27194"/>
                </a:cubicBezTo>
                <a:lnTo>
                  <a:pt x="442341" y="12134"/>
                </a:lnTo>
                <a:cubicBezTo>
                  <a:pt x="450558" y="4044"/>
                  <a:pt x="460393" y="0"/>
                  <a:pt x="471723" y="0"/>
                </a:cubicBezTo>
                <a:cubicBezTo>
                  <a:pt x="482492" y="0"/>
                  <a:pt x="490957" y="2800"/>
                  <a:pt x="497120" y="8401"/>
                </a:cubicBezTo>
                <a:cubicBezTo>
                  <a:pt x="503407" y="13877"/>
                  <a:pt x="506582" y="21344"/>
                  <a:pt x="506582" y="30803"/>
                </a:cubicBezTo>
                <a:cubicBezTo>
                  <a:pt x="506582" y="35657"/>
                  <a:pt x="505773" y="40324"/>
                  <a:pt x="504154" y="44804"/>
                </a:cubicBezTo>
                <a:cubicBezTo>
                  <a:pt x="502660" y="49222"/>
                  <a:pt x="499983" y="53827"/>
                  <a:pt x="496124" y="58681"/>
                </a:cubicBezTo>
                <a:cubicBezTo>
                  <a:pt x="492327" y="63473"/>
                  <a:pt x="487098" y="68887"/>
                  <a:pt x="480437" y="74860"/>
                </a:cubicBezTo>
                <a:cubicBezTo>
                  <a:pt x="473714" y="80835"/>
                  <a:pt x="465249" y="87804"/>
                  <a:pt x="455040" y="95769"/>
                </a:cubicBezTo>
                <a:lnTo>
                  <a:pt x="507764" y="95769"/>
                </a:lnTo>
                <a:lnTo>
                  <a:pt x="507764" y="108588"/>
                </a:lnTo>
                <a:close/>
                <a:moveTo>
                  <a:pt x="539076" y="58992"/>
                </a:moveTo>
                <a:lnTo>
                  <a:pt x="539076" y="46298"/>
                </a:lnTo>
                <a:lnTo>
                  <a:pt x="553455" y="46298"/>
                </a:lnTo>
                <a:cubicBezTo>
                  <a:pt x="558995" y="46298"/>
                  <a:pt x="563540" y="44804"/>
                  <a:pt x="567025" y="41817"/>
                </a:cubicBezTo>
                <a:cubicBezTo>
                  <a:pt x="570636" y="38768"/>
                  <a:pt x="572379" y="34412"/>
                  <a:pt x="572379" y="28812"/>
                </a:cubicBezTo>
                <a:cubicBezTo>
                  <a:pt x="572379" y="23771"/>
                  <a:pt x="570760" y="19788"/>
                  <a:pt x="567461" y="16864"/>
                </a:cubicBezTo>
                <a:cubicBezTo>
                  <a:pt x="564162" y="13877"/>
                  <a:pt x="559431" y="12383"/>
                  <a:pt x="553269" y="12383"/>
                </a:cubicBezTo>
                <a:cubicBezTo>
                  <a:pt x="548102" y="12383"/>
                  <a:pt x="543247" y="13379"/>
                  <a:pt x="538640" y="15246"/>
                </a:cubicBezTo>
                <a:cubicBezTo>
                  <a:pt x="534158" y="17113"/>
                  <a:pt x="529489" y="20162"/>
                  <a:pt x="524572" y="24331"/>
                </a:cubicBezTo>
                <a:lnTo>
                  <a:pt x="524572" y="9707"/>
                </a:lnTo>
                <a:cubicBezTo>
                  <a:pt x="532539" y="3235"/>
                  <a:pt x="542188" y="0"/>
                  <a:pt x="553455" y="0"/>
                </a:cubicBezTo>
                <a:cubicBezTo>
                  <a:pt x="563664" y="0"/>
                  <a:pt x="571694" y="2613"/>
                  <a:pt x="577484" y="7779"/>
                </a:cubicBezTo>
                <a:cubicBezTo>
                  <a:pt x="583335" y="12943"/>
                  <a:pt x="586323" y="19726"/>
                  <a:pt x="586323" y="28065"/>
                </a:cubicBezTo>
                <a:cubicBezTo>
                  <a:pt x="586323" y="34848"/>
                  <a:pt x="584393" y="40262"/>
                  <a:pt x="580596" y="44244"/>
                </a:cubicBezTo>
                <a:cubicBezTo>
                  <a:pt x="576923" y="48227"/>
                  <a:pt x="572503" y="50840"/>
                  <a:pt x="567337" y="52147"/>
                </a:cubicBezTo>
                <a:cubicBezTo>
                  <a:pt x="571507" y="52707"/>
                  <a:pt x="575367" y="54201"/>
                  <a:pt x="578853" y="56441"/>
                </a:cubicBezTo>
                <a:cubicBezTo>
                  <a:pt x="582401" y="58681"/>
                  <a:pt x="585327" y="61543"/>
                  <a:pt x="587506" y="65153"/>
                </a:cubicBezTo>
                <a:cubicBezTo>
                  <a:pt x="589684" y="68700"/>
                  <a:pt x="590804" y="72869"/>
                  <a:pt x="590804" y="77661"/>
                </a:cubicBezTo>
                <a:cubicBezTo>
                  <a:pt x="590804" y="84257"/>
                  <a:pt x="589124" y="89982"/>
                  <a:pt x="585825" y="94836"/>
                </a:cubicBezTo>
                <a:cubicBezTo>
                  <a:pt x="582588" y="99752"/>
                  <a:pt x="578044" y="103486"/>
                  <a:pt x="572254" y="106224"/>
                </a:cubicBezTo>
                <a:cubicBezTo>
                  <a:pt x="566590" y="108775"/>
                  <a:pt x="559929" y="110082"/>
                  <a:pt x="552397" y="110082"/>
                </a:cubicBezTo>
                <a:cubicBezTo>
                  <a:pt x="539263" y="110082"/>
                  <a:pt x="529054" y="107033"/>
                  <a:pt x="521895" y="100997"/>
                </a:cubicBezTo>
                <a:lnTo>
                  <a:pt x="521895" y="86062"/>
                </a:lnTo>
                <a:cubicBezTo>
                  <a:pt x="525692" y="89733"/>
                  <a:pt x="530298" y="92596"/>
                  <a:pt x="535652" y="94711"/>
                </a:cubicBezTo>
                <a:cubicBezTo>
                  <a:pt x="541005" y="96765"/>
                  <a:pt x="546670" y="97823"/>
                  <a:pt x="552522" y="97823"/>
                </a:cubicBezTo>
                <a:cubicBezTo>
                  <a:pt x="559929" y="97823"/>
                  <a:pt x="565656" y="96080"/>
                  <a:pt x="569889" y="92596"/>
                </a:cubicBezTo>
                <a:cubicBezTo>
                  <a:pt x="574122" y="89048"/>
                  <a:pt x="576301" y="84132"/>
                  <a:pt x="576301" y="77972"/>
                </a:cubicBezTo>
                <a:cubicBezTo>
                  <a:pt x="576301" y="71998"/>
                  <a:pt x="574371" y="67393"/>
                  <a:pt x="570449" y="64095"/>
                </a:cubicBezTo>
                <a:cubicBezTo>
                  <a:pt x="566652" y="60673"/>
                  <a:pt x="560801" y="58992"/>
                  <a:pt x="552833" y="58992"/>
                </a:cubicBezTo>
                <a:lnTo>
                  <a:pt x="539076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1" name="Полилиния 1050">
            <a:extLst>
              <a:ext uri="{FF2B5EF4-FFF2-40B4-BE49-F238E27FC236}">
                <a16:creationId xmlns:a16="http://schemas.microsoft.com/office/drawing/2014/main" id="{29B19721-FF7A-B77C-D59A-EAF8E898BB93}"/>
              </a:ext>
            </a:extLst>
          </p:cNvPr>
          <p:cNvSpPr/>
          <p:nvPr userDrawn="1"/>
        </p:nvSpPr>
        <p:spPr>
          <a:xfrm>
            <a:off x="19989822" y="7418752"/>
            <a:ext cx="1398954" cy="726227"/>
          </a:xfrm>
          <a:custGeom>
            <a:avLst/>
            <a:gdLst>
              <a:gd name="connsiteX0" fmla="*/ 1063 w 1198727"/>
              <a:gd name="connsiteY0" fmla="*/ 1522 h 622284"/>
              <a:gd name="connsiteX1" fmla="*/ 1199791 w 1198727"/>
              <a:gd name="connsiteY1" fmla="*/ 1522 h 622284"/>
              <a:gd name="connsiteX2" fmla="*/ 1199791 w 1198727"/>
              <a:gd name="connsiteY2" fmla="*/ 623806 h 622284"/>
              <a:gd name="connsiteX3" fmla="*/ 1063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522"/>
                </a:moveTo>
                <a:lnTo>
                  <a:pt x="1199791" y="1522"/>
                </a:lnTo>
                <a:lnTo>
                  <a:pt x="1199791" y="623806"/>
                </a:lnTo>
                <a:lnTo>
                  <a:pt x="1063" y="623806"/>
                </a:lnTo>
                <a:close/>
              </a:path>
            </a:pathLst>
          </a:custGeom>
          <a:solidFill>
            <a:srgbClr val="FF82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2" name="Полилиния 1051">
            <a:extLst>
              <a:ext uri="{FF2B5EF4-FFF2-40B4-BE49-F238E27FC236}">
                <a16:creationId xmlns:a16="http://schemas.microsoft.com/office/drawing/2014/main" id="{9D83258E-50AC-087B-6500-708B87C89665}"/>
              </a:ext>
            </a:extLst>
          </p:cNvPr>
          <p:cNvSpPr/>
          <p:nvPr userDrawn="1"/>
        </p:nvSpPr>
        <p:spPr>
          <a:xfrm>
            <a:off x="20113031" y="7720500"/>
            <a:ext cx="714114" cy="128468"/>
          </a:xfrm>
          <a:custGeom>
            <a:avLst/>
            <a:gdLst>
              <a:gd name="connsiteX0" fmla="*/ 22098 w 611906"/>
              <a:gd name="connsiteY0" fmla="*/ 108588 h 110081"/>
              <a:gd name="connsiteX1" fmla="*/ 10147 w 611906"/>
              <a:gd name="connsiteY1" fmla="*/ 108588 h 110081"/>
              <a:gd name="connsiteX2" fmla="*/ 16434 w 611906"/>
              <a:gd name="connsiteY2" fmla="*/ 77661 h 110081"/>
              <a:gd name="connsiteX3" fmla="*/ 0 w 611906"/>
              <a:gd name="connsiteY3" fmla="*/ 77661 h 110081"/>
              <a:gd name="connsiteX4" fmla="*/ 0 w 611906"/>
              <a:gd name="connsiteY4" fmla="*/ 67206 h 110081"/>
              <a:gd name="connsiteX5" fmla="*/ 18675 w 611906"/>
              <a:gd name="connsiteY5" fmla="*/ 67206 h 110081"/>
              <a:gd name="connsiteX6" fmla="*/ 24215 w 611906"/>
              <a:gd name="connsiteY6" fmla="*/ 40012 h 110081"/>
              <a:gd name="connsiteX7" fmla="*/ 4046 w 611906"/>
              <a:gd name="connsiteY7" fmla="*/ 40012 h 110081"/>
              <a:gd name="connsiteX8" fmla="*/ 4046 w 611906"/>
              <a:gd name="connsiteY8" fmla="*/ 29559 h 110081"/>
              <a:gd name="connsiteX9" fmla="*/ 26269 w 611906"/>
              <a:gd name="connsiteY9" fmla="*/ 29559 h 110081"/>
              <a:gd name="connsiteX10" fmla="*/ 32120 w 611906"/>
              <a:gd name="connsiteY10" fmla="*/ 1493 h 110081"/>
              <a:gd name="connsiteX11" fmla="*/ 44072 w 611906"/>
              <a:gd name="connsiteY11" fmla="*/ 1493 h 110081"/>
              <a:gd name="connsiteX12" fmla="*/ 38221 w 611906"/>
              <a:gd name="connsiteY12" fmla="*/ 29559 h 110081"/>
              <a:gd name="connsiteX13" fmla="*/ 60630 w 611906"/>
              <a:gd name="connsiteY13" fmla="*/ 29559 h 110081"/>
              <a:gd name="connsiteX14" fmla="*/ 66481 w 611906"/>
              <a:gd name="connsiteY14" fmla="*/ 1493 h 110081"/>
              <a:gd name="connsiteX15" fmla="*/ 78434 w 611906"/>
              <a:gd name="connsiteY15" fmla="*/ 1493 h 110081"/>
              <a:gd name="connsiteX16" fmla="*/ 72582 w 611906"/>
              <a:gd name="connsiteY16" fmla="*/ 29559 h 110081"/>
              <a:gd name="connsiteX17" fmla="*/ 89327 w 611906"/>
              <a:gd name="connsiteY17" fmla="*/ 29559 h 110081"/>
              <a:gd name="connsiteX18" fmla="*/ 89327 w 611906"/>
              <a:gd name="connsiteY18" fmla="*/ 40012 h 110081"/>
              <a:gd name="connsiteX19" fmla="*/ 70528 w 611906"/>
              <a:gd name="connsiteY19" fmla="*/ 40012 h 110081"/>
              <a:gd name="connsiteX20" fmla="*/ 64988 w 611906"/>
              <a:gd name="connsiteY20" fmla="*/ 67206 h 110081"/>
              <a:gd name="connsiteX21" fmla="*/ 85281 w 611906"/>
              <a:gd name="connsiteY21" fmla="*/ 67206 h 110081"/>
              <a:gd name="connsiteX22" fmla="*/ 85281 w 611906"/>
              <a:gd name="connsiteY22" fmla="*/ 77661 h 110081"/>
              <a:gd name="connsiteX23" fmla="*/ 62747 w 611906"/>
              <a:gd name="connsiteY23" fmla="*/ 77661 h 110081"/>
              <a:gd name="connsiteX24" fmla="*/ 56459 w 611906"/>
              <a:gd name="connsiteY24" fmla="*/ 108588 h 110081"/>
              <a:gd name="connsiteX25" fmla="*/ 44508 w 611906"/>
              <a:gd name="connsiteY25" fmla="*/ 108588 h 110081"/>
              <a:gd name="connsiteX26" fmla="*/ 50795 w 611906"/>
              <a:gd name="connsiteY26" fmla="*/ 77661 h 110081"/>
              <a:gd name="connsiteX27" fmla="*/ 28385 w 611906"/>
              <a:gd name="connsiteY27" fmla="*/ 77661 h 110081"/>
              <a:gd name="connsiteX28" fmla="*/ 22098 w 611906"/>
              <a:gd name="connsiteY28" fmla="*/ 108588 h 110081"/>
              <a:gd name="connsiteX29" fmla="*/ 30626 w 611906"/>
              <a:gd name="connsiteY29" fmla="*/ 67206 h 110081"/>
              <a:gd name="connsiteX30" fmla="*/ 53036 w 611906"/>
              <a:gd name="connsiteY30" fmla="*/ 67206 h 110081"/>
              <a:gd name="connsiteX31" fmla="*/ 58576 w 611906"/>
              <a:gd name="connsiteY31" fmla="*/ 40012 h 110081"/>
              <a:gd name="connsiteX32" fmla="*/ 36166 w 611906"/>
              <a:gd name="connsiteY32" fmla="*/ 40012 h 110081"/>
              <a:gd name="connsiteX33" fmla="*/ 30626 w 611906"/>
              <a:gd name="connsiteY33" fmla="*/ 67206 h 110081"/>
              <a:gd name="connsiteX34" fmla="*/ 107815 w 611906"/>
              <a:gd name="connsiteY34" fmla="*/ 1493 h 110081"/>
              <a:gd name="connsiteX35" fmla="*/ 173239 w 611906"/>
              <a:gd name="connsiteY35" fmla="*/ 1493 h 110081"/>
              <a:gd name="connsiteX36" fmla="*/ 173239 w 611906"/>
              <a:gd name="connsiteY36" fmla="*/ 14374 h 110081"/>
              <a:gd name="connsiteX37" fmla="*/ 121883 w 611906"/>
              <a:gd name="connsiteY37" fmla="*/ 14374 h 110081"/>
              <a:gd name="connsiteX38" fmla="*/ 121883 w 611906"/>
              <a:gd name="connsiteY38" fmla="*/ 49907 h 110081"/>
              <a:gd name="connsiteX39" fmla="*/ 165520 w 611906"/>
              <a:gd name="connsiteY39" fmla="*/ 49907 h 110081"/>
              <a:gd name="connsiteX40" fmla="*/ 165520 w 611906"/>
              <a:gd name="connsiteY40" fmla="*/ 62601 h 110081"/>
              <a:gd name="connsiteX41" fmla="*/ 121883 w 611906"/>
              <a:gd name="connsiteY41" fmla="*/ 62601 h 110081"/>
              <a:gd name="connsiteX42" fmla="*/ 121883 w 611906"/>
              <a:gd name="connsiteY42" fmla="*/ 108588 h 110081"/>
              <a:gd name="connsiteX43" fmla="*/ 107815 w 611906"/>
              <a:gd name="connsiteY43" fmla="*/ 108588 h 110081"/>
              <a:gd name="connsiteX44" fmla="*/ 107815 w 611906"/>
              <a:gd name="connsiteY44" fmla="*/ 1493 h 110081"/>
              <a:gd name="connsiteX45" fmla="*/ 192723 w 611906"/>
              <a:gd name="connsiteY45" fmla="*/ 1493 h 110081"/>
              <a:gd name="connsiteX46" fmla="*/ 258146 w 611906"/>
              <a:gd name="connsiteY46" fmla="*/ 1493 h 110081"/>
              <a:gd name="connsiteX47" fmla="*/ 258146 w 611906"/>
              <a:gd name="connsiteY47" fmla="*/ 14374 h 110081"/>
              <a:gd name="connsiteX48" fmla="*/ 206791 w 611906"/>
              <a:gd name="connsiteY48" fmla="*/ 14374 h 110081"/>
              <a:gd name="connsiteX49" fmla="*/ 206791 w 611906"/>
              <a:gd name="connsiteY49" fmla="*/ 49907 h 110081"/>
              <a:gd name="connsiteX50" fmla="*/ 250427 w 611906"/>
              <a:gd name="connsiteY50" fmla="*/ 49907 h 110081"/>
              <a:gd name="connsiteX51" fmla="*/ 250427 w 611906"/>
              <a:gd name="connsiteY51" fmla="*/ 62601 h 110081"/>
              <a:gd name="connsiteX52" fmla="*/ 206791 w 611906"/>
              <a:gd name="connsiteY52" fmla="*/ 62601 h 110081"/>
              <a:gd name="connsiteX53" fmla="*/ 206791 w 611906"/>
              <a:gd name="connsiteY53" fmla="*/ 108588 h 110081"/>
              <a:gd name="connsiteX54" fmla="*/ 192723 w 611906"/>
              <a:gd name="connsiteY54" fmla="*/ 108588 h 110081"/>
              <a:gd name="connsiteX55" fmla="*/ 192723 w 611906"/>
              <a:gd name="connsiteY55" fmla="*/ 1493 h 110081"/>
              <a:gd name="connsiteX56" fmla="*/ 306638 w 611906"/>
              <a:gd name="connsiteY56" fmla="*/ 110082 h 110081"/>
              <a:gd name="connsiteX57" fmla="*/ 287964 w 611906"/>
              <a:gd name="connsiteY57" fmla="*/ 106473 h 110081"/>
              <a:gd name="connsiteX58" fmla="*/ 275265 w 611906"/>
              <a:gd name="connsiteY58" fmla="*/ 96205 h 110081"/>
              <a:gd name="connsiteX59" fmla="*/ 270658 w 611906"/>
              <a:gd name="connsiteY59" fmla="*/ 79777 h 110081"/>
              <a:gd name="connsiteX60" fmla="*/ 276012 w 611906"/>
              <a:gd name="connsiteY60" fmla="*/ 62291 h 110081"/>
              <a:gd name="connsiteX61" fmla="*/ 290827 w 611906"/>
              <a:gd name="connsiteY61" fmla="*/ 51711 h 110081"/>
              <a:gd name="connsiteX62" fmla="*/ 278875 w 611906"/>
              <a:gd name="connsiteY62" fmla="*/ 42564 h 110081"/>
              <a:gd name="connsiteX63" fmla="*/ 274518 w 611906"/>
              <a:gd name="connsiteY63" fmla="*/ 27504 h 110081"/>
              <a:gd name="connsiteX64" fmla="*/ 278689 w 611906"/>
              <a:gd name="connsiteY64" fmla="*/ 12570 h 110081"/>
              <a:gd name="connsiteX65" fmla="*/ 290205 w 611906"/>
              <a:gd name="connsiteY65" fmla="*/ 3298 h 110081"/>
              <a:gd name="connsiteX66" fmla="*/ 306638 w 611906"/>
              <a:gd name="connsiteY66" fmla="*/ 186 h 110081"/>
              <a:gd name="connsiteX67" fmla="*/ 322761 w 611906"/>
              <a:gd name="connsiteY67" fmla="*/ 3298 h 110081"/>
              <a:gd name="connsiteX68" fmla="*/ 334152 w 611906"/>
              <a:gd name="connsiteY68" fmla="*/ 12259 h 110081"/>
              <a:gd name="connsiteX69" fmla="*/ 338448 w 611906"/>
              <a:gd name="connsiteY69" fmla="*/ 27194 h 110081"/>
              <a:gd name="connsiteX70" fmla="*/ 333966 w 611906"/>
              <a:gd name="connsiteY70" fmla="*/ 42439 h 110081"/>
              <a:gd name="connsiteX71" fmla="*/ 322201 w 611906"/>
              <a:gd name="connsiteY71" fmla="*/ 51711 h 110081"/>
              <a:gd name="connsiteX72" fmla="*/ 336517 w 611906"/>
              <a:gd name="connsiteY72" fmla="*/ 61855 h 110081"/>
              <a:gd name="connsiteX73" fmla="*/ 342058 w 611906"/>
              <a:gd name="connsiteY73" fmla="*/ 79341 h 110081"/>
              <a:gd name="connsiteX74" fmla="*/ 337389 w 611906"/>
              <a:gd name="connsiteY74" fmla="*/ 95893 h 110081"/>
              <a:gd name="connsiteX75" fmla="*/ 324690 w 611906"/>
              <a:gd name="connsiteY75" fmla="*/ 106473 h 110081"/>
              <a:gd name="connsiteX76" fmla="*/ 306638 w 611906"/>
              <a:gd name="connsiteY76" fmla="*/ 110082 h 110081"/>
              <a:gd name="connsiteX77" fmla="*/ 306638 w 611906"/>
              <a:gd name="connsiteY77" fmla="*/ 46298 h 110081"/>
              <a:gd name="connsiteX78" fmla="*/ 319648 w 611906"/>
              <a:gd name="connsiteY78" fmla="*/ 41817 h 110081"/>
              <a:gd name="connsiteX79" fmla="*/ 324877 w 611906"/>
              <a:gd name="connsiteY79" fmla="*/ 29122 h 110081"/>
              <a:gd name="connsiteX80" fmla="*/ 319648 w 611906"/>
              <a:gd name="connsiteY80" fmla="*/ 16615 h 110081"/>
              <a:gd name="connsiteX81" fmla="*/ 306638 w 611906"/>
              <a:gd name="connsiteY81" fmla="*/ 11947 h 110081"/>
              <a:gd name="connsiteX82" fmla="*/ 293317 w 611906"/>
              <a:gd name="connsiteY82" fmla="*/ 16615 h 110081"/>
              <a:gd name="connsiteX83" fmla="*/ 288088 w 611906"/>
              <a:gd name="connsiteY83" fmla="*/ 29122 h 110081"/>
              <a:gd name="connsiteX84" fmla="*/ 293317 w 611906"/>
              <a:gd name="connsiteY84" fmla="*/ 41817 h 110081"/>
              <a:gd name="connsiteX85" fmla="*/ 306638 w 611906"/>
              <a:gd name="connsiteY85" fmla="*/ 46298 h 110081"/>
              <a:gd name="connsiteX86" fmla="*/ 306638 w 611906"/>
              <a:gd name="connsiteY86" fmla="*/ 98258 h 110081"/>
              <a:gd name="connsiteX87" fmla="*/ 322014 w 611906"/>
              <a:gd name="connsiteY87" fmla="*/ 92907 h 110081"/>
              <a:gd name="connsiteX88" fmla="*/ 328301 w 611906"/>
              <a:gd name="connsiteY88" fmla="*/ 77536 h 110081"/>
              <a:gd name="connsiteX89" fmla="*/ 322014 w 611906"/>
              <a:gd name="connsiteY89" fmla="*/ 62291 h 110081"/>
              <a:gd name="connsiteX90" fmla="*/ 306638 w 611906"/>
              <a:gd name="connsiteY90" fmla="*/ 56752 h 110081"/>
              <a:gd name="connsiteX91" fmla="*/ 290640 w 611906"/>
              <a:gd name="connsiteY91" fmla="*/ 62291 h 110081"/>
              <a:gd name="connsiteX92" fmla="*/ 284353 w 611906"/>
              <a:gd name="connsiteY92" fmla="*/ 77536 h 110081"/>
              <a:gd name="connsiteX93" fmla="*/ 290640 w 611906"/>
              <a:gd name="connsiteY93" fmla="*/ 92907 h 110081"/>
              <a:gd name="connsiteX94" fmla="*/ 306638 w 611906"/>
              <a:gd name="connsiteY94" fmla="*/ 98258 h 110081"/>
              <a:gd name="connsiteX95" fmla="*/ 422857 w 611906"/>
              <a:gd name="connsiteY95" fmla="*/ 108588 h 110081"/>
              <a:gd name="connsiteX96" fmla="*/ 354570 w 611906"/>
              <a:gd name="connsiteY96" fmla="*/ 108588 h 110081"/>
              <a:gd name="connsiteX97" fmla="*/ 354570 w 611906"/>
              <a:gd name="connsiteY97" fmla="*/ 94400 h 110081"/>
              <a:gd name="connsiteX98" fmla="*/ 380714 w 611906"/>
              <a:gd name="connsiteY98" fmla="*/ 72433 h 110081"/>
              <a:gd name="connsiteX99" fmla="*/ 396712 w 611906"/>
              <a:gd name="connsiteY99" fmla="*/ 56628 h 110081"/>
              <a:gd name="connsiteX100" fmla="*/ 404743 w 611906"/>
              <a:gd name="connsiteY100" fmla="*/ 43933 h 110081"/>
              <a:gd name="connsiteX101" fmla="*/ 407170 w 611906"/>
              <a:gd name="connsiteY101" fmla="*/ 32109 h 110081"/>
              <a:gd name="connsiteX102" fmla="*/ 401630 w 611906"/>
              <a:gd name="connsiteY102" fmla="*/ 17610 h 110081"/>
              <a:gd name="connsiteX103" fmla="*/ 386379 w 611906"/>
              <a:gd name="connsiteY103" fmla="*/ 12383 h 110081"/>
              <a:gd name="connsiteX104" fmla="*/ 357371 w 611906"/>
              <a:gd name="connsiteY104" fmla="*/ 27194 h 110081"/>
              <a:gd name="connsiteX105" fmla="*/ 357371 w 611906"/>
              <a:gd name="connsiteY105" fmla="*/ 12134 h 110081"/>
              <a:gd name="connsiteX106" fmla="*/ 386815 w 611906"/>
              <a:gd name="connsiteY106" fmla="*/ 0 h 110081"/>
              <a:gd name="connsiteX107" fmla="*/ 412212 w 611906"/>
              <a:gd name="connsiteY107" fmla="*/ 8401 h 110081"/>
              <a:gd name="connsiteX108" fmla="*/ 421612 w 611906"/>
              <a:gd name="connsiteY108" fmla="*/ 30803 h 110081"/>
              <a:gd name="connsiteX109" fmla="*/ 419247 w 611906"/>
              <a:gd name="connsiteY109" fmla="*/ 44804 h 110081"/>
              <a:gd name="connsiteX110" fmla="*/ 411154 w 611906"/>
              <a:gd name="connsiteY110" fmla="*/ 58681 h 110081"/>
              <a:gd name="connsiteX111" fmla="*/ 395468 w 611906"/>
              <a:gd name="connsiteY111" fmla="*/ 74860 h 110081"/>
              <a:gd name="connsiteX112" fmla="*/ 370070 w 611906"/>
              <a:gd name="connsiteY112" fmla="*/ 95769 h 110081"/>
              <a:gd name="connsiteX113" fmla="*/ 422857 w 611906"/>
              <a:gd name="connsiteY113" fmla="*/ 95769 h 110081"/>
              <a:gd name="connsiteX114" fmla="*/ 422857 w 611906"/>
              <a:gd name="connsiteY114" fmla="*/ 108588 h 110081"/>
              <a:gd name="connsiteX115" fmla="*/ 465809 w 611906"/>
              <a:gd name="connsiteY115" fmla="*/ 110082 h 110081"/>
              <a:gd name="connsiteX116" fmla="*/ 437299 w 611906"/>
              <a:gd name="connsiteY116" fmla="*/ 102490 h 110081"/>
              <a:gd name="connsiteX117" fmla="*/ 437299 w 611906"/>
              <a:gd name="connsiteY117" fmla="*/ 87804 h 110081"/>
              <a:gd name="connsiteX118" fmla="*/ 450433 w 611906"/>
              <a:gd name="connsiteY118" fmla="*/ 95458 h 110081"/>
              <a:gd name="connsiteX119" fmla="*/ 465809 w 611906"/>
              <a:gd name="connsiteY119" fmla="*/ 97823 h 110081"/>
              <a:gd name="connsiteX120" fmla="*/ 482865 w 611906"/>
              <a:gd name="connsiteY120" fmla="*/ 91102 h 110081"/>
              <a:gd name="connsiteX121" fmla="*/ 488965 w 611906"/>
              <a:gd name="connsiteY121" fmla="*/ 73491 h 110081"/>
              <a:gd name="connsiteX122" fmla="*/ 482989 w 611906"/>
              <a:gd name="connsiteY122" fmla="*/ 56441 h 110081"/>
              <a:gd name="connsiteX123" fmla="*/ 467925 w 611906"/>
              <a:gd name="connsiteY123" fmla="*/ 51089 h 110081"/>
              <a:gd name="connsiteX124" fmla="*/ 457343 w 611906"/>
              <a:gd name="connsiteY124" fmla="*/ 53329 h 110081"/>
              <a:gd name="connsiteX125" fmla="*/ 451180 w 611906"/>
              <a:gd name="connsiteY125" fmla="*/ 57810 h 110081"/>
              <a:gd name="connsiteX126" fmla="*/ 440287 w 611906"/>
              <a:gd name="connsiteY126" fmla="*/ 57810 h 110081"/>
              <a:gd name="connsiteX127" fmla="*/ 440287 w 611906"/>
              <a:gd name="connsiteY127" fmla="*/ 1493 h 110081"/>
              <a:gd name="connsiteX128" fmla="*/ 498240 w 611906"/>
              <a:gd name="connsiteY128" fmla="*/ 1493 h 110081"/>
              <a:gd name="connsiteX129" fmla="*/ 498240 w 611906"/>
              <a:gd name="connsiteY129" fmla="*/ 14374 h 110081"/>
              <a:gd name="connsiteX130" fmla="*/ 452550 w 611906"/>
              <a:gd name="connsiteY130" fmla="*/ 14374 h 110081"/>
              <a:gd name="connsiteX131" fmla="*/ 452550 w 611906"/>
              <a:gd name="connsiteY131" fmla="*/ 44991 h 110081"/>
              <a:gd name="connsiteX132" fmla="*/ 459833 w 611906"/>
              <a:gd name="connsiteY132" fmla="*/ 41071 h 110081"/>
              <a:gd name="connsiteX133" fmla="*/ 470167 w 611906"/>
              <a:gd name="connsiteY133" fmla="*/ 39266 h 110081"/>
              <a:gd name="connsiteX134" fmla="*/ 486911 w 611906"/>
              <a:gd name="connsiteY134" fmla="*/ 43186 h 110081"/>
              <a:gd name="connsiteX135" fmla="*/ 498676 w 611906"/>
              <a:gd name="connsiteY135" fmla="*/ 54512 h 110081"/>
              <a:gd name="connsiteX136" fmla="*/ 503158 w 611906"/>
              <a:gd name="connsiteY136" fmla="*/ 73181 h 110081"/>
              <a:gd name="connsiteX137" fmla="*/ 498552 w 611906"/>
              <a:gd name="connsiteY137" fmla="*/ 92596 h 110081"/>
              <a:gd name="connsiteX138" fmla="*/ 485729 w 611906"/>
              <a:gd name="connsiteY138" fmla="*/ 105601 h 110081"/>
              <a:gd name="connsiteX139" fmla="*/ 465809 w 611906"/>
              <a:gd name="connsiteY139" fmla="*/ 110082 h 110081"/>
              <a:gd name="connsiteX140" fmla="*/ 611907 w 611906"/>
              <a:gd name="connsiteY140" fmla="*/ 108588 h 110081"/>
              <a:gd name="connsiteX141" fmla="*/ 596968 w 611906"/>
              <a:gd name="connsiteY141" fmla="*/ 108588 h 110081"/>
              <a:gd name="connsiteX142" fmla="*/ 585949 w 611906"/>
              <a:gd name="connsiteY142" fmla="*/ 77972 h 110081"/>
              <a:gd name="connsiteX143" fmla="*/ 538578 w 611906"/>
              <a:gd name="connsiteY143" fmla="*/ 77972 h 110081"/>
              <a:gd name="connsiteX144" fmla="*/ 527684 w 611906"/>
              <a:gd name="connsiteY144" fmla="*/ 108588 h 110081"/>
              <a:gd name="connsiteX145" fmla="*/ 514488 w 611906"/>
              <a:gd name="connsiteY145" fmla="*/ 108588 h 110081"/>
              <a:gd name="connsiteX146" fmla="*/ 552584 w 611906"/>
              <a:gd name="connsiteY146" fmla="*/ 1493 h 110081"/>
              <a:gd name="connsiteX147" fmla="*/ 573500 w 611906"/>
              <a:gd name="connsiteY147" fmla="*/ 1493 h 110081"/>
              <a:gd name="connsiteX148" fmla="*/ 611907 w 611906"/>
              <a:gd name="connsiteY148" fmla="*/ 108588 h 110081"/>
              <a:gd name="connsiteX149" fmla="*/ 543184 w 611906"/>
              <a:gd name="connsiteY149" fmla="*/ 65278 h 110081"/>
              <a:gd name="connsiteX150" fmla="*/ 581467 w 611906"/>
              <a:gd name="connsiteY150" fmla="*/ 65278 h 110081"/>
              <a:gd name="connsiteX151" fmla="*/ 562295 w 611906"/>
              <a:gd name="connsiteY151" fmla="*/ 11947 h 110081"/>
              <a:gd name="connsiteX152" fmla="*/ 543184 w 611906"/>
              <a:gd name="connsiteY152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611906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06638" y="110082"/>
                </a:moveTo>
                <a:cubicBezTo>
                  <a:pt x="299667" y="110082"/>
                  <a:pt x="293442" y="108900"/>
                  <a:pt x="287964" y="106473"/>
                </a:cubicBezTo>
                <a:cubicBezTo>
                  <a:pt x="282610" y="104108"/>
                  <a:pt x="278377" y="100685"/>
                  <a:pt x="275265" y="96205"/>
                </a:cubicBezTo>
                <a:cubicBezTo>
                  <a:pt x="272152" y="91600"/>
                  <a:pt x="270658" y="86124"/>
                  <a:pt x="270658" y="79777"/>
                </a:cubicBezTo>
                <a:cubicBezTo>
                  <a:pt x="270658" y="72869"/>
                  <a:pt x="272401" y="67082"/>
                  <a:pt x="276012" y="62291"/>
                </a:cubicBezTo>
                <a:cubicBezTo>
                  <a:pt x="279684" y="57437"/>
                  <a:pt x="284602" y="53889"/>
                  <a:pt x="290827" y="51711"/>
                </a:cubicBezTo>
                <a:cubicBezTo>
                  <a:pt x="285847" y="49720"/>
                  <a:pt x="281863" y="46671"/>
                  <a:pt x="278875" y="42564"/>
                </a:cubicBezTo>
                <a:cubicBezTo>
                  <a:pt x="275949" y="38519"/>
                  <a:pt x="274518" y="33479"/>
                  <a:pt x="274518" y="27504"/>
                </a:cubicBezTo>
                <a:cubicBezTo>
                  <a:pt x="274518" y="21593"/>
                  <a:pt x="275887" y="16615"/>
                  <a:pt x="278689" y="12570"/>
                </a:cubicBezTo>
                <a:cubicBezTo>
                  <a:pt x="281490" y="8463"/>
                  <a:pt x="285349" y="5414"/>
                  <a:pt x="290205" y="3298"/>
                </a:cubicBezTo>
                <a:cubicBezTo>
                  <a:pt x="295060" y="1182"/>
                  <a:pt x="300538" y="186"/>
                  <a:pt x="306638" y="186"/>
                </a:cubicBezTo>
                <a:cubicBezTo>
                  <a:pt x="312614" y="186"/>
                  <a:pt x="317967" y="1182"/>
                  <a:pt x="322761" y="3298"/>
                </a:cubicBezTo>
                <a:cubicBezTo>
                  <a:pt x="327554" y="5289"/>
                  <a:pt x="331351" y="8276"/>
                  <a:pt x="334152" y="12259"/>
                </a:cubicBezTo>
                <a:cubicBezTo>
                  <a:pt x="337016" y="16242"/>
                  <a:pt x="338448" y="21219"/>
                  <a:pt x="338448" y="27194"/>
                </a:cubicBezTo>
                <a:cubicBezTo>
                  <a:pt x="338448" y="33292"/>
                  <a:pt x="336954" y="38332"/>
                  <a:pt x="333966" y="42439"/>
                </a:cubicBezTo>
                <a:cubicBezTo>
                  <a:pt x="330977" y="46484"/>
                  <a:pt x="327055" y="49596"/>
                  <a:pt x="322201" y="51711"/>
                </a:cubicBezTo>
                <a:cubicBezTo>
                  <a:pt x="328176" y="53765"/>
                  <a:pt x="332907" y="57188"/>
                  <a:pt x="336517" y="61855"/>
                </a:cubicBezTo>
                <a:cubicBezTo>
                  <a:pt x="340191" y="66522"/>
                  <a:pt x="342058" y="72372"/>
                  <a:pt x="342058" y="79341"/>
                </a:cubicBezTo>
                <a:cubicBezTo>
                  <a:pt x="342058" y="85688"/>
                  <a:pt x="340501" y="91226"/>
                  <a:pt x="337389" y="95893"/>
                </a:cubicBezTo>
                <a:cubicBezTo>
                  <a:pt x="334339" y="100498"/>
                  <a:pt x="330106" y="103983"/>
                  <a:pt x="324690" y="106473"/>
                </a:cubicBezTo>
                <a:cubicBezTo>
                  <a:pt x="319461" y="108900"/>
                  <a:pt x="313423" y="110082"/>
                  <a:pt x="306638" y="110082"/>
                </a:cubicBezTo>
                <a:close/>
                <a:moveTo>
                  <a:pt x="306638" y="46298"/>
                </a:moveTo>
                <a:cubicBezTo>
                  <a:pt x="311929" y="46298"/>
                  <a:pt x="316224" y="44804"/>
                  <a:pt x="319648" y="41817"/>
                </a:cubicBezTo>
                <a:cubicBezTo>
                  <a:pt x="323134" y="38768"/>
                  <a:pt x="324877" y="34536"/>
                  <a:pt x="324877" y="29122"/>
                </a:cubicBezTo>
                <a:cubicBezTo>
                  <a:pt x="324877" y="23771"/>
                  <a:pt x="323134" y="19601"/>
                  <a:pt x="319648" y="16615"/>
                </a:cubicBezTo>
                <a:cubicBezTo>
                  <a:pt x="316224" y="13503"/>
                  <a:pt x="311929" y="11947"/>
                  <a:pt x="306638" y="11947"/>
                </a:cubicBezTo>
                <a:cubicBezTo>
                  <a:pt x="301347" y="11947"/>
                  <a:pt x="296927" y="13503"/>
                  <a:pt x="293317" y="16615"/>
                </a:cubicBezTo>
                <a:cubicBezTo>
                  <a:pt x="289831" y="19601"/>
                  <a:pt x="288088" y="23771"/>
                  <a:pt x="288088" y="29122"/>
                </a:cubicBezTo>
                <a:cubicBezTo>
                  <a:pt x="288088" y="34536"/>
                  <a:pt x="289831" y="38768"/>
                  <a:pt x="293317" y="41817"/>
                </a:cubicBezTo>
                <a:cubicBezTo>
                  <a:pt x="296927" y="44804"/>
                  <a:pt x="301347" y="46298"/>
                  <a:pt x="306638" y="46298"/>
                </a:cubicBezTo>
                <a:close/>
                <a:moveTo>
                  <a:pt x="306638" y="98258"/>
                </a:moveTo>
                <a:cubicBezTo>
                  <a:pt x="312801" y="98258"/>
                  <a:pt x="317967" y="96516"/>
                  <a:pt x="322014" y="92907"/>
                </a:cubicBezTo>
                <a:cubicBezTo>
                  <a:pt x="326185" y="89235"/>
                  <a:pt x="328301" y="84071"/>
                  <a:pt x="328301" y="77536"/>
                </a:cubicBezTo>
                <a:cubicBezTo>
                  <a:pt x="328301" y="70940"/>
                  <a:pt x="326185" y="65900"/>
                  <a:pt x="322014" y="62291"/>
                </a:cubicBezTo>
                <a:cubicBezTo>
                  <a:pt x="317967" y="58619"/>
                  <a:pt x="312801" y="56752"/>
                  <a:pt x="306638" y="56752"/>
                </a:cubicBezTo>
                <a:cubicBezTo>
                  <a:pt x="300289" y="56752"/>
                  <a:pt x="294936" y="58619"/>
                  <a:pt x="290640" y="62291"/>
                </a:cubicBezTo>
                <a:cubicBezTo>
                  <a:pt x="286470" y="65900"/>
                  <a:pt x="284353" y="70940"/>
                  <a:pt x="284353" y="77536"/>
                </a:cubicBezTo>
                <a:cubicBezTo>
                  <a:pt x="284353" y="84071"/>
                  <a:pt x="286470" y="89235"/>
                  <a:pt x="290640" y="92907"/>
                </a:cubicBezTo>
                <a:cubicBezTo>
                  <a:pt x="294936" y="96516"/>
                  <a:pt x="300289" y="98258"/>
                  <a:pt x="306638" y="98258"/>
                </a:cubicBezTo>
                <a:close/>
                <a:moveTo>
                  <a:pt x="422857" y="108588"/>
                </a:moveTo>
                <a:lnTo>
                  <a:pt x="354570" y="108588"/>
                </a:lnTo>
                <a:lnTo>
                  <a:pt x="354570" y="94400"/>
                </a:lnTo>
                <a:cubicBezTo>
                  <a:pt x="365214" y="85812"/>
                  <a:pt x="373929" y="78532"/>
                  <a:pt x="380714" y="72433"/>
                </a:cubicBezTo>
                <a:cubicBezTo>
                  <a:pt x="387562" y="66397"/>
                  <a:pt x="392915" y="61108"/>
                  <a:pt x="396712" y="56628"/>
                </a:cubicBezTo>
                <a:cubicBezTo>
                  <a:pt x="400572" y="52023"/>
                  <a:pt x="403249" y="47791"/>
                  <a:pt x="404743" y="43933"/>
                </a:cubicBezTo>
                <a:cubicBezTo>
                  <a:pt x="406361" y="40012"/>
                  <a:pt x="407170" y="36092"/>
                  <a:pt x="407170" y="32109"/>
                </a:cubicBezTo>
                <a:cubicBezTo>
                  <a:pt x="407170" y="25949"/>
                  <a:pt x="405303" y="21095"/>
                  <a:pt x="401630" y="17610"/>
                </a:cubicBezTo>
                <a:cubicBezTo>
                  <a:pt x="397957" y="14125"/>
                  <a:pt x="392853" y="12383"/>
                  <a:pt x="386379" y="12383"/>
                </a:cubicBezTo>
                <a:cubicBezTo>
                  <a:pt x="376045" y="12383"/>
                  <a:pt x="366335" y="17361"/>
                  <a:pt x="357371" y="27194"/>
                </a:cubicBezTo>
                <a:lnTo>
                  <a:pt x="357371" y="12134"/>
                </a:lnTo>
                <a:cubicBezTo>
                  <a:pt x="365650" y="4044"/>
                  <a:pt x="375485" y="0"/>
                  <a:pt x="386815" y="0"/>
                </a:cubicBezTo>
                <a:cubicBezTo>
                  <a:pt x="397584" y="0"/>
                  <a:pt x="406050" y="2800"/>
                  <a:pt x="412212" y="8401"/>
                </a:cubicBezTo>
                <a:cubicBezTo>
                  <a:pt x="418500" y="13877"/>
                  <a:pt x="421612" y="21344"/>
                  <a:pt x="421612" y="30803"/>
                </a:cubicBezTo>
                <a:cubicBezTo>
                  <a:pt x="421612" y="35657"/>
                  <a:pt x="420865" y="40324"/>
                  <a:pt x="419247" y="44804"/>
                </a:cubicBezTo>
                <a:cubicBezTo>
                  <a:pt x="417753" y="49222"/>
                  <a:pt x="415076" y="53827"/>
                  <a:pt x="411154" y="58681"/>
                </a:cubicBezTo>
                <a:cubicBezTo>
                  <a:pt x="407419" y="63473"/>
                  <a:pt x="402190" y="68887"/>
                  <a:pt x="395468" y="74860"/>
                </a:cubicBezTo>
                <a:cubicBezTo>
                  <a:pt x="388807" y="80835"/>
                  <a:pt x="380341" y="87804"/>
                  <a:pt x="370070" y="95769"/>
                </a:cubicBezTo>
                <a:lnTo>
                  <a:pt x="422857" y="95769"/>
                </a:lnTo>
                <a:lnTo>
                  <a:pt x="422857" y="108588"/>
                </a:lnTo>
                <a:close/>
                <a:moveTo>
                  <a:pt x="465809" y="110082"/>
                </a:moveTo>
                <a:cubicBezTo>
                  <a:pt x="453857" y="110082"/>
                  <a:pt x="444395" y="107530"/>
                  <a:pt x="437299" y="102490"/>
                </a:cubicBezTo>
                <a:lnTo>
                  <a:pt x="437299" y="87804"/>
                </a:lnTo>
                <a:cubicBezTo>
                  <a:pt x="441469" y="91226"/>
                  <a:pt x="445889" y="93778"/>
                  <a:pt x="450433" y="95458"/>
                </a:cubicBezTo>
                <a:cubicBezTo>
                  <a:pt x="455040" y="97014"/>
                  <a:pt x="460144" y="97823"/>
                  <a:pt x="465809" y="97823"/>
                </a:cubicBezTo>
                <a:cubicBezTo>
                  <a:pt x="473217" y="97823"/>
                  <a:pt x="478881" y="95583"/>
                  <a:pt x="482865" y="91102"/>
                </a:cubicBezTo>
                <a:cubicBezTo>
                  <a:pt x="486973" y="86621"/>
                  <a:pt x="488965" y="80772"/>
                  <a:pt x="488965" y="73491"/>
                </a:cubicBezTo>
                <a:cubicBezTo>
                  <a:pt x="488965" y="65713"/>
                  <a:pt x="486973" y="60050"/>
                  <a:pt x="482989" y="56441"/>
                </a:cubicBezTo>
                <a:cubicBezTo>
                  <a:pt x="479005" y="52894"/>
                  <a:pt x="474026" y="51089"/>
                  <a:pt x="467925" y="51089"/>
                </a:cubicBezTo>
                <a:cubicBezTo>
                  <a:pt x="463568" y="51089"/>
                  <a:pt x="460020" y="51836"/>
                  <a:pt x="457343" y="53329"/>
                </a:cubicBezTo>
                <a:cubicBezTo>
                  <a:pt x="454604" y="54698"/>
                  <a:pt x="452612" y="56192"/>
                  <a:pt x="451180" y="57810"/>
                </a:cubicBezTo>
                <a:lnTo>
                  <a:pt x="440287" y="57810"/>
                </a:lnTo>
                <a:lnTo>
                  <a:pt x="440287" y="1493"/>
                </a:lnTo>
                <a:lnTo>
                  <a:pt x="498240" y="1493"/>
                </a:lnTo>
                <a:lnTo>
                  <a:pt x="498240" y="14374"/>
                </a:lnTo>
                <a:lnTo>
                  <a:pt x="452550" y="14374"/>
                </a:lnTo>
                <a:lnTo>
                  <a:pt x="452550" y="44991"/>
                </a:lnTo>
                <a:cubicBezTo>
                  <a:pt x="454542" y="43498"/>
                  <a:pt x="456969" y="42190"/>
                  <a:pt x="459833" y="41071"/>
                </a:cubicBezTo>
                <a:cubicBezTo>
                  <a:pt x="462758" y="39888"/>
                  <a:pt x="466182" y="39266"/>
                  <a:pt x="470167" y="39266"/>
                </a:cubicBezTo>
                <a:cubicBezTo>
                  <a:pt x="476329" y="39266"/>
                  <a:pt x="481931" y="40572"/>
                  <a:pt x="486911" y="43186"/>
                </a:cubicBezTo>
                <a:cubicBezTo>
                  <a:pt x="491891" y="45675"/>
                  <a:pt x="495813" y="49471"/>
                  <a:pt x="498676" y="54512"/>
                </a:cubicBezTo>
                <a:cubicBezTo>
                  <a:pt x="501664" y="59490"/>
                  <a:pt x="503158" y="65713"/>
                  <a:pt x="503158" y="73181"/>
                </a:cubicBezTo>
                <a:cubicBezTo>
                  <a:pt x="503158" y="80586"/>
                  <a:pt x="501664" y="87058"/>
                  <a:pt x="498552" y="92596"/>
                </a:cubicBezTo>
                <a:cubicBezTo>
                  <a:pt x="495564" y="98196"/>
                  <a:pt x="491268" y="102490"/>
                  <a:pt x="485729" y="105601"/>
                </a:cubicBezTo>
                <a:cubicBezTo>
                  <a:pt x="480126" y="108588"/>
                  <a:pt x="473527" y="110082"/>
                  <a:pt x="465809" y="110082"/>
                </a:cubicBezTo>
                <a:close/>
                <a:moveTo>
                  <a:pt x="611907" y="108588"/>
                </a:moveTo>
                <a:lnTo>
                  <a:pt x="596968" y="108588"/>
                </a:lnTo>
                <a:lnTo>
                  <a:pt x="585949" y="77972"/>
                </a:lnTo>
                <a:lnTo>
                  <a:pt x="538578" y="77972"/>
                </a:lnTo>
                <a:lnTo>
                  <a:pt x="527684" y="108588"/>
                </a:lnTo>
                <a:lnTo>
                  <a:pt x="514488" y="108588"/>
                </a:lnTo>
                <a:lnTo>
                  <a:pt x="552584" y="1493"/>
                </a:lnTo>
                <a:lnTo>
                  <a:pt x="573500" y="1493"/>
                </a:lnTo>
                <a:lnTo>
                  <a:pt x="611907" y="108588"/>
                </a:lnTo>
                <a:close/>
                <a:moveTo>
                  <a:pt x="543184" y="65278"/>
                </a:moveTo>
                <a:lnTo>
                  <a:pt x="581467" y="65278"/>
                </a:lnTo>
                <a:lnTo>
                  <a:pt x="562295" y="11947"/>
                </a:lnTo>
                <a:lnTo>
                  <a:pt x="543184" y="6527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3" name="Полилиния 1052">
            <a:extLst>
              <a:ext uri="{FF2B5EF4-FFF2-40B4-BE49-F238E27FC236}">
                <a16:creationId xmlns:a16="http://schemas.microsoft.com/office/drawing/2014/main" id="{0BCF2249-D728-B0AF-369B-BA31E7D4D5B6}"/>
              </a:ext>
            </a:extLst>
          </p:cNvPr>
          <p:cNvSpPr/>
          <p:nvPr userDrawn="1"/>
        </p:nvSpPr>
        <p:spPr>
          <a:xfrm>
            <a:off x="19989822" y="8144980"/>
            <a:ext cx="1398954" cy="726227"/>
          </a:xfrm>
          <a:custGeom>
            <a:avLst/>
            <a:gdLst>
              <a:gd name="connsiteX0" fmla="*/ 1063 w 1198727"/>
              <a:gd name="connsiteY0" fmla="*/ 1622 h 622284"/>
              <a:gd name="connsiteX1" fmla="*/ 1199791 w 1198727"/>
              <a:gd name="connsiteY1" fmla="*/ 1622 h 622284"/>
              <a:gd name="connsiteX2" fmla="*/ 1199791 w 1198727"/>
              <a:gd name="connsiteY2" fmla="*/ 623906 h 622284"/>
              <a:gd name="connsiteX3" fmla="*/ 1063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622"/>
                </a:moveTo>
                <a:lnTo>
                  <a:pt x="1199791" y="1622"/>
                </a:lnTo>
                <a:lnTo>
                  <a:pt x="1199791" y="623906"/>
                </a:lnTo>
                <a:lnTo>
                  <a:pt x="1063" y="623906"/>
                </a:lnTo>
                <a:close/>
              </a:path>
            </a:pathLst>
          </a:custGeom>
          <a:solidFill>
            <a:srgbClr val="FFA0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4" name="Полилиния 1053">
            <a:extLst>
              <a:ext uri="{FF2B5EF4-FFF2-40B4-BE49-F238E27FC236}">
                <a16:creationId xmlns:a16="http://schemas.microsoft.com/office/drawing/2014/main" id="{446A7AE2-E99E-B135-23DB-933F4007F73D}"/>
              </a:ext>
            </a:extLst>
          </p:cNvPr>
          <p:cNvSpPr/>
          <p:nvPr userDrawn="1"/>
        </p:nvSpPr>
        <p:spPr>
          <a:xfrm>
            <a:off x="20113031" y="8446726"/>
            <a:ext cx="701329" cy="128468"/>
          </a:xfrm>
          <a:custGeom>
            <a:avLst/>
            <a:gdLst>
              <a:gd name="connsiteX0" fmla="*/ 22098 w 600950"/>
              <a:gd name="connsiteY0" fmla="*/ 108588 h 110081"/>
              <a:gd name="connsiteX1" fmla="*/ 10147 w 600950"/>
              <a:gd name="connsiteY1" fmla="*/ 108588 h 110081"/>
              <a:gd name="connsiteX2" fmla="*/ 16434 w 600950"/>
              <a:gd name="connsiteY2" fmla="*/ 77661 h 110081"/>
              <a:gd name="connsiteX3" fmla="*/ 0 w 600950"/>
              <a:gd name="connsiteY3" fmla="*/ 77661 h 110081"/>
              <a:gd name="connsiteX4" fmla="*/ 0 w 600950"/>
              <a:gd name="connsiteY4" fmla="*/ 67206 h 110081"/>
              <a:gd name="connsiteX5" fmla="*/ 18675 w 600950"/>
              <a:gd name="connsiteY5" fmla="*/ 67206 h 110081"/>
              <a:gd name="connsiteX6" fmla="*/ 24215 w 600950"/>
              <a:gd name="connsiteY6" fmla="*/ 40012 h 110081"/>
              <a:gd name="connsiteX7" fmla="*/ 4046 w 600950"/>
              <a:gd name="connsiteY7" fmla="*/ 40012 h 110081"/>
              <a:gd name="connsiteX8" fmla="*/ 4046 w 600950"/>
              <a:gd name="connsiteY8" fmla="*/ 29559 h 110081"/>
              <a:gd name="connsiteX9" fmla="*/ 26269 w 600950"/>
              <a:gd name="connsiteY9" fmla="*/ 29559 h 110081"/>
              <a:gd name="connsiteX10" fmla="*/ 32120 w 600950"/>
              <a:gd name="connsiteY10" fmla="*/ 1493 h 110081"/>
              <a:gd name="connsiteX11" fmla="*/ 44072 w 600950"/>
              <a:gd name="connsiteY11" fmla="*/ 1493 h 110081"/>
              <a:gd name="connsiteX12" fmla="*/ 38221 w 600950"/>
              <a:gd name="connsiteY12" fmla="*/ 29559 h 110081"/>
              <a:gd name="connsiteX13" fmla="*/ 60630 w 600950"/>
              <a:gd name="connsiteY13" fmla="*/ 29559 h 110081"/>
              <a:gd name="connsiteX14" fmla="*/ 66481 w 600950"/>
              <a:gd name="connsiteY14" fmla="*/ 1493 h 110081"/>
              <a:gd name="connsiteX15" fmla="*/ 78434 w 600950"/>
              <a:gd name="connsiteY15" fmla="*/ 1493 h 110081"/>
              <a:gd name="connsiteX16" fmla="*/ 72582 w 600950"/>
              <a:gd name="connsiteY16" fmla="*/ 29559 h 110081"/>
              <a:gd name="connsiteX17" fmla="*/ 89327 w 600950"/>
              <a:gd name="connsiteY17" fmla="*/ 29559 h 110081"/>
              <a:gd name="connsiteX18" fmla="*/ 89327 w 600950"/>
              <a:gd name="connsiteY18" fmla="*/ 40012 h 110081"/>
              <a:gd name="connsiteX19" fmla="*/ 70528 w 600950"/>
              <a:gd name="connsiteY19" fmla="*/ 40012 h 110081"/>
              <a:gd name="connsiteX20" fmla="*/ 64988 w 600950"/>
              <a:gd name="connsiteY20" fmla="*/ 67206 h 110081"/>
              <a:gd name="connsiteX21" fmla="*/ 85281 w 600950"/>
              <a:gd name="connsiteY21" fmla="*/ 67206 h 110081"/>
              <a:gd name="connsiteX22" fmla="*/ 85281 w 600950"/>
              <a:gd name="connsiteY22" fmla="*/ 77661 h 110081"/>
              <a:gd name="connsiteX23" fmla="*/ 62747 w 600950"/>
              <a:gd name="connsiteY23" fmla="*/ 77661 h 110081"/>
              <a:gd name="connsiteX24" fmla="*/ 56459 w 600950"/>
              <a:gd name="connsiteY24" fmla="*/ 108588 h 110081"/>
              <a:gd name="connsiteX25" fmla="*/ 44508 w 600950"/>
              <a:gd name="connsiteY25" fmla="*/ 108588 h 110081"/>
              <a:gd name="connsiteX26" fmla="*/ 50795 w 600950"/>
              <a:gd name="connsiteY26" fmla="*/ 77661 h 110081"/>
              <a:gd name="connsiteX27" fmla="*/ 28385 w 600950"/>
              <a:gd name="connsiteY27" fmla="*/ 77661 h 110081"/>
              <a:gd name="connsiteX28" fmla="*/ 22098 w 600950"/>
              <a:gd name="connsiteY28" fmla="*/ 108588 h 110081"/>
              <a:gd name="connsiteX29" fmla="*/ 30626 w 600950"/>
              <a:gd name="connsiteY29" fmla="*/ 67206 h 110081"/>
              <a:gd name="connsiteX30" fmla="*/ 53036 w 600950"/>
              <a:gd name="connsiteY30" fmla="*/ 67206 h 110081"/>
              <a:gd name="connsiteX31" fmla="*/ 58576 w 600950"/>
              <a:gd name="connsiteY31" fmla="*/ 40012 h 110081"/>
              <a:gd name="connsiteX32" fmla="*/ 36166 w 600950"/>
              <a:gd name="connsiteY32" fmla="*/ 40012 h 110081"/>
              <a:gd name="connsiteX33" fmla="*/ 30626 w 600950"/>
              <a:gd name="connsiteY33" fmla="*/ 67206 h 110081"/>
              <a:gd name="connsiteX34" fmla="*/ 107815 w 600950"/>
              <a:gd name="connsiteY34" fmla="*/ 1493 h 110081"/>
              <a:gd name="connsiteX35" fmla="*/ 173239 w 600950"/>
              <a:gd name="connsiteY35" fmla="*/ 1493 h 110081"/>
              <a:gd name="connsiteX36" fmla="*/ 173239 w 600950"/>
              <a:gd name="connsiteY36" fmla="*/ 14374 h 110081"/>
              <a:gd name="connsiteX37" fmla="*/ 121883 w 600950"/>
              <a:gd name="connsiteY37" fmla="*/ 14374 h 110081"/>
              <a:gd name="connsiteX38" fmla="*/ 121883 w 600950"/>
              <a:gd name="connsiteY38" fmla="*/ 49907 h 110081"/>
              <a:gd name="connsiteX39" fmla="*/ 165520 w 600950"/>
              <a:gd name="connsiteY39" fmla="*/ 49907 h 110081"/>
              <a:gd name="connsiteX40" fmla="*/ 165520 w 600950"/>
              <a:gd name="connsiteY40" fmla="*/ 62601 h 110081"/>
              <a:gd name="connsiteX41" fmla="*/ 121883 w 600950"/>
              <a:gd name="connsiteY41" fmla="*/ 62601 h 110081"/>
              <a:gd name="connsiteX42" fmla="*/ 121883 w 600950"/>
              <a:gd name="connsiteY42" fmla="*/ 108588 h 110081"/>
              <a:gd name="connsiteX43" fmla="*/ 107815 w 600950"/>
              <a:gd name="connsiteY43" fmla="*/ 108588 h 110081"/>
              <a:gd name="connsiteX44" fmla="*/ 107815 w 600950"/>
              <a:gd name="connsiteY44" fmla="*/ 1493 h 110081"/>
              <a:gd name="connsiteX45" fmla="*/ 192723 w 600950"/>
              <a:gd name="connsiteY45" fmla="*/ 1493 h 110081"/>
              <a:gd name="connsiteX46" fmla="*/ 258146 w 600950"/>
              <a:gd name="connsiteY46" fmla="*/ 1493 h 110081"/>
              <a:gd name="connsiteX47" fmla="*/ 258146 w 600950"/>
              <a:gd name="connsiteY47" fmla="*/ 14374 h 110081"/>
              <a:gd name="connsiteX48" fmla="*/ 206791 w 600950"/>
              <a:gd name="connsiteY48" fmla="*/ 14374 h 110081"/>
              <a:gd name="connsiteX49" fmla="*/ 206791 w 600950"/>
              <a:gd name="connsiteY49" fmla="*/ 49907 h 110081"/>
              <a:gd name="connsiteX50" fmla="*/ 250427 w 600950"/>
              <a:gd name="connsiteY50" fmla="*/ 49907 h 110081"/>
              <a:gd name="connsiteX51" fmla="*/ 250427 w 600950"/>
              <a:gd name="connsiteY51" fmla="*/ 62601 h 110081"/>
              <a:gd name="connsiteX52" fmla="*/ 206791 w 600950"/>
              <a:gd name="connsiteY52" fmla="*/ 62601 h 110081"/>
              <a:gd name="connsiteX53" fmla="*/ 206791 w 600950"/>
              <a:gd name="connsiteY53" fmla="*/ 108588 h 110081"/>
              <a:gd name="connsiteX54" fmla="*/ 192723 w 600950"/>
              <a:gd name="connsiteY54" fmla="*/ 108588 h 110081"/>
              <a:gd name="connsiteX55" fmla="*/ 192723 w 600950"/>
              <a:gd name="connsiteY55" fmla="*/ 1493 h 110081"/>
              <a:gd name="connsiteX56" fmla="*/ 358056 w 600950"/>
              <a:gd name="connsiteY56" fmla="*/ 108588 h 110081"/>
              <a:gd name="connsiteX57" fmla="*/ 343116 w 600950"/>
              <a:gd name="connsiteY57" fmla="*/ 108588 h 110081"/>
              <a:gd name="connsiteX58" fmla="*/ 332036 w 600950"/>
              <a:gd name="connsiteY58" fmla="*/ 77972 h 110081"/>
              <a:gd name="connsiteX59" fmla="*/ 284727 w 600950"/>
              <a:gd name="connsiteY59" fmla="*/ 77972 h 110081"/>
              <a:gd name="connsiteX60" fmla="*/ 273771 w 600950"/>
              <a:gd name="connsiteY60" fmla="*/ 108588 h 110081"/>
              <a:gd name="connsiteX61" fmla="*/ 260636 w 600950"/>
              <a:gd name="connsiteY61" fmla="*/ 108588 h 110081"/>
              <a:gd name="connsiteX62" fmla="*/ 298733 w 600950"/>
              <a:gd name="connsiteY62" fmla="*/ 1493 h 110081"/>
              <a:gd name="connsiteX63" fmla="*/ 319648 w 600950"/>
              <a:gd name="connsiteY63" fmla="*/ 1493 h 110081"/>
              <a:gd name="connsiteX64" fmla="*/ 358056 w 600950"/>
              <a:gd name="connsiteY64" fmla="*/ 108588 h 110081"/>
              <a:gd name="connsiteX65" fmla="*/ 289333 w 600950"/>
              <a:gd name="connsiteY65" fmla="*/ 65278 h 110081"/>
              <a:gd name="connsiteX66" fmla="*/ 327554 w 600950"/>
              <a:gd name="connsiteY66" fmla="*/ 65278 h 110081"/>
              <a:gd name="connsiteX67" fmla="*/ 308443 w 600950"/>
              <a:gd name="connsiteY67" fmla="*/ 11947 h 110081"/>
              <a:gd name="connsiteX68" fmla="*/ 289333 w 600950"/>
              <a:gd name="connsiteY68" fmla="*/ 65278 h 110081"/>
              <a:gd name="connsiteX69" fmla="*/ 402501 w 600950"/>
              <a:gd name="connsiteY69" fmla="*/ 110082 h 110081"/>
              <a:gd name="connsiteX70" fmla="*/ 384263 w 600950"/>
              <a:gd name="connsiteY70" fmla="*/ 104233 h 110081"/>
              <a:gd name="connsiteX71" fmla="*/ 371564 w 600950"/>
              <a:gd name="connsiteY71" fmla="*/ 86311 h 110081"/>
              <a:gd name="connsiteX72" fmla="*/ 367082 w 600950"/>
              <a:gd name="connsiteY72" fmla="*/ 54947 h 110081"/>
              <a:gd name="connsiteX73" fmla="*/ 371564 w 600950"/>
              <a:gd name="connsiteY73" fmla="*/ 23584 h 110081"/>
              <a:gd name="connsiteX74" fmla="*/ 384263 w 600950"/>
              <a:gd name="connsiteY74" fmla="*/ 5849 h 110081"/>
              <a:gd name="connsiteX75" fmla="*/ 402501 w 600950"/>
              <a:gd name="connsiteY75" fmla="*/ 186 h 110081"/>
              <a:gd name="connsiteX76" fmla="*/ 420554 w 600950"/>
              <a:gd name="connsiteY76" fmla="*/ 5849 h 110081"/>
              <a:gd name="connsiteX77" fmla="*/ 432941 w 600950"/>
              <a:gd name="connsiteY77" fmla="*/ 23584 h 110081"/>
              <a:gd name="connsiteX78" fmla="*/ 437423 w 600950"/>
              <a:gd name="connsiteY78" fmla="*/ 54698 h 110081"/>
              <a:gd name="connsiteX79" fmla="*/ 432941 w 600950"/>
              <a:gd name="connsiteY79" fmla="*/ 86062 h 110081"/>
              <a:gd name="connsiteX80" fmla="*/ 420554 w 600950"/>
              <a:gd name="connsiteY80" fmla="*/ 104233 h 110081"/>
              <a:gd name="connsiteX81" fmla="*/ 402501 w 600950"/>
              <a:gd name="connsiteY81" fmla="*/ 110082 h 110081"/>
              <a:gd name="connsiteX82" fmla="*/ 402315 w 600950"/>
              <a:gd name="connsiteY82" fmla="*/ 98258 h 110081"/>
              <a:gd name="connsiteX83" fmla="*/ 413706 w 600950"/>
              <a:gd name="connsiteY83" fmla="*/ 94275 h 110081"/>
              <a:gd name="connsiteX84" fmla="*/ 420865 w 600950"/>
              <a:gd name="connsiteY84" fmla="*/ 80648 h 110081"/>
              <a:gd name="connsiteX85" fmla="*/ 423417 w 600950"/>
              <a:gd name="connsiteY85" fmla="*/ 55134 h 110081"/>
              <a:gd name="connsiteX86" fmla="*/ 420990 w 600950"/>
              <a:gd name="connsiteY86" fmla="*/ 29745 h 110081"/>
              <a:gd name="connsiteX87" fmla="*/ 413831 w 600950"/>
              <a:gd name="connsiteY87" fmla="*/ 16117 h 110081"/>
              <a:gd name="connsiteX88" fmla="*/ 402501 w 600950"/>
              <a:gd name="connsiteY88" fmla="*/ 11947 h 110081"/>
              <a:gd name="connsiteX89" fmla="*/ 390985 w 600950"/>
              <a:gd name="connsiteY89" fmla="*/ 16117 h 110081"/>
              <a:gd name="connsiteX90" fmla="*/ 383640 w 600950"/>
              <a:gd name="connsiteY90" fmla="*/ 29745 h 110081"/>
              <a:gd name="connsiteX91" fmla="*/ 381150 w 600950"/>
              <a:gd name="connsiteY91" fmla="*/ 55134 h 110081"/>
              <a:gd name="connsiteX92" fmla="*/ 383516 w 600950"/>
              <a:gd name="connsiteY92" fmla="*/ 80648 h 110081"/>
              <a:gd name="connsiteX93" fmla="*/ 390861 w 600950"/>
              <a:gd name="connsiteY93" fmla="*/ 94275 h 110081"/>
              <a:gd name="connsiteX94" fmla="*/ 402315 w 600950"/>
              <a:gd name="connsiteY94" fmla="*/ 98258 h 110081"/>
              <a:gd name="connsiteX95" fmla="*/ 484795 w 600950"/>
              <a:gd name="connsiteY95" fmla="*/ 110082 h 110081"/>
              <a:gd name="connsiteX96" fmla="*/ 466120 w 600950"/>
              <a:gd name="connsiteY96" fmla="*/ 106473 h 110081"/>
              <a:gd name="connsiteX97" fmla="*/ 453421 w 600950"/>
              <a:gd name="connsiteY97" fmla="*/ 96205 h 110081"/>
              <a:gd name="connsiteX98" fmla="*/ 448752 w 600950"/>
              <a:gd name="connsiteY98" fmla="*/ 79777 h 110081"/>
              <a:gd name="connsiteX99" fmla="*/ 454168 w 600950"/>
              <a:gd name="connsiteY99" fmla="*/ 62291 h 110081"/>
              <a:gd name="connsiteX100" fmla="*/ 468921 w 600950"/>
              <a:gd name="connsiteY100" fmla="*/ 51711 h 110081"/>
              <a:gd name="connsiteX101" fmla="*/ 456969 w 600950"/>
              <a:gd name="connsiteY101" fmla="*/ 42564 h 110081"/>
              <a:gd name="connsiteX102" fmla="*/ 452674 w 600950"/>
              <a:gd name="connsiteY102" fmla="*/ 27504 h 110081"/>
              <a:gd name="connsiteX103" fmla="*/ 456845 w 600950"/>
              <a:gd name="connsiteY103" fmla="*/ 12570 h 110081"/>
              <a:gd name="connsiteX104" fmla="*/ 468361 w 600950"/>
              <a:gd name="connsiteY104" fmla="*/ 3298 h 110081"/>
              <a:gd name="connsiteX105" fmla="*/ 484795 w 600950"/>
              <a:gd name="connsiteY105" fmla="*/ 186 h 110081"/>
              <a:gd name="connsiteX106" fmla="*/ 500917 w 600950"/>
              <a:gd name="connsiteY106" fmla="*/ 3298 h 110081"/>
              <a:gd name="connsiteX107" fmla="*/ 512246 w 600950"/>
              <a:gd name="connsiteY107" fmla="*/ 12259 h 110081"/>
              <a:gd name="connsiteX108" fmla="*/ 516604 w 600950"/>
              <a:gd name="connsiteY108" fmla="*/ 27194 h 110081"/>
              <a:gd name="connsiteX109" fmla="*/ 512122 w 600950"/>
              <a:gd name="connsiteY109" fmla="*/ 42439 h 110081"/>
              <a:gd name="connsiteX110" fmla="*/ 500295 w 600950"/>
              <a:gd name="connsiteY110" fmla="*/ 51711 h 110081"/>
              <a:gd name="connsiteX111" fmla="*/ 514674 w 600950"/>
              <a:gd name="connsiteY111" fmla="*/ 61855 h 110081"/>
              <a:gd name="connsiteX112" fmla="*/ 520152 w 600950"/>
              <a:gd name="connsiteY112" fmla="*/ 79341 h 110081"/>
              <a:gd name="connsiteX113" fmla="*/ 515545 w 600950"/>
              <a:gd name="connsiteY113" fmla="*/ 95893 h 110081"/>
              <a:gd name="connsiteX114" fmla="*/ 502847 w 600950"/>
              <a:gd name="connsiteY114" fmla="*/ 106473 h 110081"/>
              <a:gd name="connsiteX115" fmla="*/ 484795 w 600950"/>
              <a:gd name="connsiteY115" fmla="*/ 110082 h 110081"/>
              <a:gd name="connsiteX116" fmla="*/ 484795 w 600950"/>
              <a:gd name="connsiteY116" fmla="*/ 46298 h 110081"/>
              <a:gd name="connsiteX117" fmla="*/ 497742 w 600950"/>
              <a:gd name="connsiteY117" fmla="*/ 41817 h 110081"/>
              <a:gd name="connsiteX118" fmla="*/ 502971 w 600950"/>
              <a:gd name="connsiteY118" fmla="*/ 29122 h 110081"/>
              <a:gd name="connsiteX119" fmla="*/ 497742 w 600950"/>
              <a:gd name="connsiteY119" fmla="*/ 16615 h 110081"/>
              <a:gd name="connsiteX120" fmla="*/ 484795 w 600950"/>
              <a:gd name="connsiteY120" fmla="*/ 11947 h 110081"/>
              <a:gd name="connsiteX121" fmla="*/ 471473 w 600950"/>
              <a:gd name="connsiteY121" fmla="*/ 16615 h 110081"/>
              <a:gd name="connsiteX122" fmla="*/ 466245 w 600950"/>
              <a:gd name="connsiteY122" fmla="*/ 29122 h 110081"/>
              <a:gd name="connsiteX123" fmla="*/ 471473 w 600950"/>
              <a:gd name="connsiteY123" fmla="*/ 41817 h 110081"/>
              <a:gd name="connsiteX124" fmla="*/ 484795 w 600950"/>
              <a:gd name="connsiteY124" fmla="*/ 46298 h 110081"/>
              <a:gd name="connsiteX125" fmla="*/ 484795 w 600950"/>
              <a:gd name="connsiteY125" fmla="*/ 98258 h 110081"/>
              <a:gd name="connsiteX126" fmla="*/ 500170 w 600950"/>
              <a:gd name="connsiteY126" fmla="*/ 92907 h 110081"/>
              <a:gd name="connsiteX127" fmla="*/ 506457 w 600950"/>
              <a:gd name="connsiteY127" fmla="*/ 77536 h 110081"/>
              <a:gd name="connsiteX128" fmla="*/ 500170 w 600950"/>
              <a:gd name="connsiteY128" fmla="*/ 62291 h 110081"/>
              <a:gd name="connsiteX129" fmla="*/ 484795 w 600950"/>
              <a:gd name="connsiteY129" fmla="*/ 56752 h 110081"/>
              <a:gd name="connsiteX130" fmla="*/ 468796 w 600950"/>
              <a:gd name="connsiteY130" fmla="*/ 62291 h 110081"/>
              <a:gd name="connsiteX131" fmla="*/ 462509 w 600950"/>
              <a:gd name="connsiteY131" fmla="*/ 77536 h 110081"/>
              <a:gd name="connsiteX132" fmla="*/ 468796 w 600950"/>
              <a:gd name="connsiteY132" fmla="*/ 92907 h 110081"/>
              <a:gd name="connsiteX133" fmla="*/ 484795 w 600950"/>
              <a:gd name="connsiteY133" fmla="*/ 98258 h 110081"/>
              <a:gd name="connsiteX134" fmla="*/ 600951 w 600950"/>
              <a:gd name="connsiteY134" fmla="*/ 108588 h 110081"/>
              <a:gd name="connsiteX135" fmla="*/ 532726 w 600950"/>
              <a:gd name="connsiteY135" fmla="*/ 108588 h 110081"/>
              <a:gd name="connsiteX136" fmla="*/ 532726 w 600950"/>
              <a:gd name="connsiteY136" fmla="*/ 94400 h 110081"/>
              <a:gd name="connsiteX137" fmla="*/ 558871 w 600950"/>
              <a:gd name="connsiteY137" fmla="*/ 72433 h 110081"/>
              <a:gd name="connsiteX138" fmla="*/ 574807 w 600950"/>
              <a:gd name="connsiteY138" fmla="*/ 56628 h 110081"/>
              <a:gd name="connsiteX139" fmla="*/ 582899 w 600950"/>
              <a:gd name="connsiteY139" fmla="*/ 43933 h 110081"/>
              <a:gd name="connsiteX140" fmla="*/ 585265 w 600950"/>
              <a:gd name="connsiteY140" fmla="*/ 32109 h 110081"/>
              <a:gd name="connsiteX141" fmla="*/ 579787 w 600950"/>
              <a:gd name="connsiteY141" fmla="*/ 17610 h 110081"/>
              <a:gd name="connsiteX142" fmla="*/ 564535 w 600950"/>
              <a:gd name="connsiteY142" fmla="*/ 12383 h 110081"/>
              <a:gd name="connsiteX143" fmla="*/ 535528 w 600950"/>
              <a:gd name="connsiteY143" fmla="*/ 27194 h 110081"/>
              <a:gd name="connsiteX144" fmla="*/ 535528 w 600950"/>
              <a:gd name="connsiteY144" fmla="*/ 12134 h 110081"/>
              <a:gd name="connsiteX145" fmla="*/ 564972 w 600950"/>
              <a:gd name="connsiteY145" fmla="*/ 0 h 110081"/>
              <a:gd name="connsiteX146" fmla="*/ 590369 w 600950"/>
              <a:gd name="connsiteY146" fmla="*/ 8401 h 110081"/>
              <a:gd name="connsiteX147" fmla="*/ 599768 w 600950"/>
              <a:gd name="connsiteY147" fmla="*/ 30803 h 110081"/>
              <a:gd name="connsiteX148" fmla="*/ 597403 w 600950"/>
              <a:gd name="connsiteY148" fmla="*/ 44804 h 110081"/>
              <a:gd name="connsiteX149" fmla="*/ 589310 w 600950"/>
              <a:gd name="connsiteY149" fmla="*/ 58681 h 110081"/>
              <a:gd name="connsiteX150" fmla="*/ 573624 w 600950"/>
              <a:gd name="connsiteY150" fmla="*/ 74860 h 110081"/>
              <a:gd name="connsiteX151" fmla="*/ 548226 w 600950"/>
              <a:gd name="connsiteY151" fmla="*/ 95769 h 110081"/>
              <a:gd name="connsiteX152" fmla="*/ 600951 w 600950"/>
              <a:gd name="connsiteY152" fmla="*/ 95769 h 110081"/>
              <a:gd name="connsiteX153" fmla="*/ 600951 w 600950"/>
              <a:gd name="connsiteY153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00950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58056" y="108588"/>
                </a:moveTo>
                <a:lnTo>
                  <a:pt x="343116" y="108588"/>
                </a:lnTo>
                <a:lnTo>
                  <a:pt x="332036" y="77972"/>
                </a:lnTo>
                <a:lnTo>
                  <a:pt x="284727" y="77972"/>
                </a:lnTo>
                <a:lnTo>
                  <a:pt x="273771" y="108588"/>
                </a:lnTo>
                <a:lnTo>
                  <a:pt x="260636" y="108588"/>
                </a:lnTo>
                <a:lnTo>
                  <a:pt x="298733" y="1493"/>
                </a:lnTo>
                <a:lnTo>
                  <a:pt x="319648" y="1493"/>
                </a:lnTo>
                <a:lnTo>
                  <a:pt x="358056" y="108588"/>
                </a:lnTo>
                <a:close/>
                <a:moveTo>
                  <a:pt x="289333" y="65278"/>
                </a:moveTo>
                <a:lnTo>
                  <a:pt x="327554" y="65278"/>
                </a:lnTo>
                <a:lnTo>
                  <a:pt x="308443" y="11947"/>
                </a:lnTo>
                <a:lnTo>
                  <a:pt x="289333" y="65278"/>
                </a:lnTo>
                <a:close/>
                <a:moveTo>
                  <a:pt x="402501" y="110082"/>
                </a:moveTo>
                <a:cubicBezTo>
                  <a:pt x="395716" y="110082"/>
                  <a:pt x="389616" y="108153"/>
                  <a:pt x="384263" y="104233"/>
                </a:cubicBezTo>
                <a:cubicBezTo>
                  <a:pt x="378909" y="100374"/>
                  <a:pt x="374676" y="94400"/>
                  <a:pt x="371564" y="86311"/>
                </a:cubicBezTo>
                <a:cubicBezTo>
                  <a:pt x="368576" y="78159"/>
                  <a:pt x="367082" y="67705"/>
                  <a:pt x="367082" y="54947"/>
                </a:cubicBezTo>
                <a:cubicBezTo>
                  <a:pt x="367082" y="42128"/>
                  <a:pt x="368576" y="31674"/>
                  <a:pt x="371564" y="23584"/>
                </a:cubicBezTo>
                <a:cubicBezTo>
                  <a:pt x="374676" y="15557"/>
                  <a:pt x="378909" y="9645"/>
                  <a:pt x="384263" y="5849"/>
                </a:cubicBezTo>
                <a:cubicBezTo>
                  <a:pt x="389616" y="2053"/>
                  <a:pt x="395716" y="186"/>
                  <a:pt x="402501" y="186"/>
                </a:cubicBezTo>
                <a:cubicBezTo>
                  <a:pt x="409287" y="186"/>
                  <a:pt x="415263" y="2053"/>
                  <a:pt x="420554" y="5849"/>
                </a:cubicBezTo>
                <a:cubicBezTo>
                  <a:pt x="425845" y="9645"/>
                  <a:pt x="429953" y="15557"/>
                  <a:pt x="432941" y="23584"/>
                </a:cubicBezTo>
                <a:cubicBezTo>
                  <a:pt x="435930" y="31549"/>
                  <a:pt x="437423" y="41942"/>
                  <a:pt x="437423" y="54698"/>
                </a:cubicBezTo>
                <a:cubicBezTo>
                  <a:pt x="437423" y="67331"/>
                  <a:pt x="435930" y="77786"/>
                  <a:pt x="432941" y="86062"/>
                </a:cubicBezTo>
                <a:cubicBezTo>
                  <a:pt x="429953" y="94213"/>
                  <a:pt x="425845" y="100250"/>
                  <a:pt x="420554" y="104233"/>
                </a:cubicBezTo>
                <a:cubicBezTo>
                  <a:pt x="415263" y="108153"/>
                  <a:pt x="409287" y="110082"/>
                  <a:pt x="402501" y="110082"/>
                </a:cubicBezTo>
                <a:close/>
                <a:moveTo>
                  <a:pt x="402315" y="98258"/>
                </a:moveTo>
                <a:cubicBezTo>
                  <a:pt x="406797" y="98258"/>
                  <a:pt x="410594" y="96952"/>
                  <a:pt x="413706" y="94275"/>
                </a:cubicBezTo>
                <a:cubicBezTo>
                  <a:pt x="416881" y="91475"/>
                  <a:pt x="419247" y="86933"/>
                  <a:pt x="420865" y="80648"/>
                </a:cubicBezTo>
                <a:cubicBezTo>
                  <a:pt x="422546" y="74300"/>
                  <a:pt x="423417" y="65775"/>
                  <a:pt x="423417" y="55134"/>
                </a:cubicBezTo>
                <a:cubicBezTo>
                  <a:pt x="423417" y="44493"/>
                  <a:pt x="422608" y="36030"/>
                  <a:pt x="420990" y="29745"/>
                </a:cubicBezTo>
                <a:cubicBezTo>
                  <a:pt x="419433" y="23336"/>
                  <a:pt x="417006" y="18855"/>
                  <a:pt x="413831" y="16117"/>
                </a:cubicBezTo>
                <a:cubicBezTo>
                  <a:pt x="410781" y="13379"/>
                  <a:pt x="406984" y="11947"/>
                  <a:pt x="402501" y="11947"/>
                </a:cubicBezTo>
                <a:cubicBezTo>
                  <a:pt x="398019" y="11947"/>
                  <a:pt x="394160" y="13379"/>
                  <a:pt x="390985" y="16117"/>
                </a:cubicBezTo>
                <a:cubicBezTo>
                  <a:pt x="387811" y="18855"/>
                  <a:pt x="385383" y="23336"/>
                  <a:pt x="383640" y="29745"/>
                </a:cubicBezTo>
                <a:cubicBezTo>
                  <a:pt x="381959" y="36030"/>
                  <a:pt x="381150" y="44493"/>
                  <a:pt x="381150" y="55134"/>
                </a:cubicBezTo>
                <a:cubicBezTo>
                  <a:pt x="381150" y="65775"/>
                  <a:pt x="381897" y="74300"/>
                  <a:pt x="383516" y="80648"/>
                </a:cubicBezTo>
                <a:cubicBezTo>
                  <a:pt x="385197" y="86933"/>
                  <a:pt x="387624" y="91475"/>
                  <a:pt x="390861" y="94275"/>
                </a:cubicBezTo>
                <a:cubicBezTo>
                  <a:pt x="394035" y="96952"/>
                  <a:pt x="397832" y="98258"/>
                  <a:pt x="402315" y="98258"/>
                </a:cubicBezTo>
                <a:close/>
                <a:moveTo>
                  <a:pt x="484795" y="110082"/>
                </a:moveTo>
                <a:cubicBezTo>
                  <a:pt x="477823" y="110082"/>
                  <a:pt x="471598" y="108900"/>
                  <a:pt x="466120" y="106473"/>
                </a:cubicBezTo>
                <a:cubicBezTo>
                  <a:pt x="460705" y="104108"/>
                  <a:pt x="456471" y="100685"/>
                  <a:pt x="453421" y="96205"/>
                </a:cubicBezTo>
                <a:cubicBezTo>
                  <a:pt x="450309" y="91600"/>
                  <a:pt x="448752" y="86124"/>
                  <a:pt x="448752" y="79777"/>
                </a:cubicBezTo>
                <a:cubicBezTo>
                  <a:pt x="448752" y="72869"/>
                  <a:pt x="450558" y="67082"/>
                  <a:pt x="454168" y="62291"/>
                </a:cubicBezTo>
                <a:cubicBezTo>
                  <a:pt x="457841" y="57437"/>
                  <a:pt x="462758" y="53889"/>
                  <a:pt x="468921" y="51711"/>
                </a:cubicBezTo>
                <a:cubicBezTo>
                  <a:pt x="463942" y="49720"/>
                  <a:pt x="459958" y="46671"/>
                  <a:pt x="456969" y="42564"/>
                </a:cubicBezTo>
                <a:cubicBezTo>
                  <a:pt x="454106" y="38519"/>
                  <a:pt x="452674" y="33479"/>
                  <a:pt x="452674" y="27504"/>
                </a:cubicBezTo>
                <a:cubicBezTo>
                  <a:pt x="452674" y="21593"/>
                  <a:pt x="454043" y="16615"/>
                  <a:pt x="456845" y="12570"/>
                </a:cubicBezTo>
                <a:cubicBezTo>
                  <a:pt x="459646" y="8463"/>
                  <a:pt x="463443" y="5414"/>
                  <a:pt x="468361" y="3298"/>
                </a:cubicBezTo>
                <a:cubicBezTo>
                  <a:pt x="473217" y="1182"/>
                  <a:pt x="478695" y="186"/>
                  <a:pt x="484795" y="186"/>
                </a:cubicBezTo>
                <a:cubicBezTo>
                  <a:pt x="490771" y="186"/>
                  <a:pt x="496124" y="1182"/>
                  <a:pt x="500917" y="3298"/>
                </a:cubicBezTo>
                <a:cubicBezTo>
                  <a:pt x="505710" y="5289"/>
                  <a:pt x="509445" y="8276"/>
                  <a:pt x="512246" y="12259"/>
                </a:cubicBezTo>
                <a:cubicBezTo>
                  <a:pt x="515172" y="16242"/>
                  <a:pt x="516604" y="21219"/>
                  <a:pt x="516604" y="27194"/>
                </a:cubicBezTo>
                <a:cubicBezTo>
                  <a:pt x="516604" y="33292"/>
                  <a:pt x="515110" y="38332"/>
                  <a:pt x="512122" y="42439"/>
                </a:cubicBezTo>
                <a:cubicBezTo>
                  <a:pt x="509134" y="46484"/>
                  <a:pt x="505212" y="49596"/>
                  <a:pt x="500295" y="51711"/>
                </a:cubicBezTo>
                <a:cubicBezTo>
                  <a:pt x="506270" y="53765"/>
                  <a:pt x="511064" y="57188"/>
                  <a:pt x="514674" y="61855"/>
                </a:cubicBezTo>
                <a:cubicBezTo>
                  <a:pt x="518347" y="66522"/>
                  <a:pt x="520152" y="72372"/>
                  <a:pt x="520152" y="79341"/>
                </a:cubicBezTo>
                <a:cubicBezTo>
                  <a:pt x="520152" y="85688"/>
                  <a:pt x="518658" y="91226"/>
                  <a:pt x="515545" y="95893"/>
                </a:cubicBezTo>
                <a:cubicBezTo>
                  <a:pt x="512433" y="100498"/>
                  <a:pt x="508201" y="103983"/>
                  <a:pt x="502847" y="106473"/>
                </a:cubicBezTo>
                <a:cubicBezTo>
                  <a:pt x="497555" y="108900"/>
                  <a:pt x="491517" y="110082"/>
                  <a:pt x="484795" y="110082"/>
                </a:cubicBezTo>
                <a:close/>
                <a:moveTo>
                  <a:pt x="484795" y="46298"/>
                </a:moveTo>
                <a:cubicBezTo>
                  <a:pt x="490024" y="46298"/>
                  <a:pt x="494381" y="44804"/>
                  <a:pt x="497742" y="41817"/>
                </a:cubicBezTo>
                <a:cubicBezTo>
                  <a:pt x="501229" y="38768"/>
                  <a:pt x="502971" y="34536"/>
                  <a:pt x="502971" y="29122"/>
                </a:cubicBezTo>
                <a:cubicBezTo>
                  <a:pt x="502971" y="23771"/>
                  <a:pt x="501229" y="19601"/>
                  <a:pt x="497742" y="16615"/>
                </a:cubicBezTo>
                <a:cubicBezTo>
                  <a:pt x="494381" y="13503"/>
                  <a:pt x="490024" y="11947"/>
                  <a:pt x="484795" y="11947"/>
                </a:cubicBezTo>
                <a:cubicBezTo>
                  <a:pt x="479504" y="11947"/>
                  <a:pt x="475084" y="13503"/>
                  <a:pt x="471473" y="16615"/>
                </a:cubicBezTo>
                <a:cubicBezTo>
                  <a:pt x="467987" y="19601"/>
                  <a:pt x="466245" y="23771"/>
                  <a:pt x="466245" y="29122"/>
                </a:cubicBezTo>
                <a:cubicBezTo>
                  <a:pt x="466245" y="34536"/>
                  <a:pt x="467987" y="38768"/>
                  <a:pt x="471473" y="41817"/>
                </a:cubicBezTo>
                <a:cubicBezTo>
                  <a:pt x="475084" y="44804"/>
                  <a:pt x="479504" y="46298"/>
                  <a:pt x="484795" y="46298"/>
                </a:cubicBezTo>
                <a:close/>
                <a:moveTo>
                  <a:pt x="484795" y="98258"/>
                </a:moveTo>
                <a:cubicBezTo>
                  <a:pt x="490957" y="98258"/>
                  <a:pt x="496062" y="96516"/>
                  <a:pt x="500170" y="92907"/>
                </a:cubicBezTo>
                <a:cubicBezTo>
                  <a:pt x="504341" y="89235"/>
                  <a:pt x="506457" y="84071"/>
                  <a:pt x="506457" y="77536"/>
                </a:cubicBezTo>
                <a:cubicBezTo>
                  <a:pt x="506457" y="70940"/>
                  <a:pt x="504341" y="65900"/>
                  <a:pt x="500170" y="62291"/>
                </a:cubicBezTo>
                <a:cubicBezTo>
                  <a:pt x="496062" y="58619"/>
                  <a:pt x="490957" y="56752"/>
                  <a:pt x="484795" y="56752"/>
                </a:cubicBezTo>
                <a:cubicBezTo>
                  <a:pt x="478383" y="56752"/>
                  <a:pt x="473092" y="58619"/>
                  <a:pt x="468796" y="62291"/>
                </a:cubicBezTo>
                <a:cubicBezTo>
                  <a:pt x="464626" y="65900"/>
                  <a:pt x="462509" y="70940"/>
                  <a:pt x="462509" y="77536"/>
                </a:cubicBezTo>
                <a:cubicBezTo>
                  <a:pt x="462509" y="84071"/>
                  <a:pt x="464626" y="89235"/>
                  <a:pt x="468796" y="92907"/>
                </a:cubicBezTo>
                <a:cubicBezTo>
                  <a:pt x="473092" y="96516"/>
                  <a:pt x="478383" y="98258"/>
                  <a:pt x="484795" y="98258"/>
                </a:cubicBezTo>
                <a:close/>
                <a:moveTo>
                  <a:pt x="600951" y="108588"/>
                </a:moveTo>
                <a:lnTo>
                  <a:pt x="532726" y="108588"/>
                </a:lnTo>
                <a:lnTo>
                  <a:pt x="532726" y="94400"/>
                </a:lnTo>
                <a:cubicBezTo>
                  <a:pt x="543371" y="85812"/>
                  <a:pt x="552086" y="78532"/>
                  <a:pt x="558871" y="72433"/>
                </a:cubicBezTo>
                <a:cubicBezTo>
                  <a:pt x="565719" y="66397"/>
                  <a:pt x="571072" y="61108"/>
                  <a:pt x="574807" y="56628"/>
                </a:cubicBezTo>
                <a:cubicBezTo>
                  <a:pt x="578728" y="52023"/>
                  <a:pt x="581405" y="47791"/>
                  <a:pt x="582899" y="43933"/>
                </a:cubicBezTo>
                <a:cubicBezTo>
                  <a:pt x="584518" y="40012"/>
                  <a:pt x="585265" y="36092"/>
                  <a:pt x="585265" y="32109"/>
                </a:cubicBezTo>
                <a:cubicBezTo>
                  <a:pt x="585265" y="25949"/>
                  <a:pt x="583459" y="21095"/>
                  <a:pt x="579787" y="17610"/>
                </a:cubicBezTo>
                <a:cubicBezTo>
                  <a:pt x="576051" y="14125"/>
                  <a:pt x="571010" y="12383"/>
                  <a:pt x="564535" y="12383"/>
                </a:cubicBezTo>
                <a:cubicBezTo>
                  <a:pt x="554140" y="12383"/>
                  <a:pt x="544491" y="17361"/>
                  <a:pt x="535528" y="27194"/>
                </a:cubicBezTo>
                <a:lnTo>
                  <a:pt x="535528" y="12134"/>
                </a:lnTo>
                <a:cubicBezTo>
                  <a:pt x="543807" y="4044"/>
                  <a:pt x="553642" y="0"/>
                  <a:pt x="564972" y="0"/>
                </a:cubicBezTo>
                <a:cubicBezTo>
                  <a:pt x="575740" y="0"/>
                  <a:pt x="584206" y="2800"/>
                  <a:pt x="590369" y="8401"/>
                </a:cubicBezTo>
                <a:cubicBezTo>
                  <a:pt x="596656" y="13877"/>
                  <a:pt x="599768" y="21344"/>
                  <a:pt x="599768" y="30803"/>
                </a:cubicBezTo>
                <a:cubicBezTo>
                  <a:pt x="599768" y="35657"/>
                  <a:pt x="598959" y="40324"/>
                  <a:pt x="597403" y="44804"/>
                </a:cubicBezTo>
                <a:cubicBezTo>
                  <a:pt x="595909" y="49222"/>
                  <a:pt x="593232" y="53827"/>
                  <a:pt x="589310" y="58681"/>
                </a:cubicBezTo>
                <a:cubicBezTo>
                  <a:pt x="585513" y="63473"/>
                  <a:pt x="580285" y="68887"/>
                  <a:pt x="573624" y="74860"/>
                </a:cubicBezTo>
                <a:cubicBezTo>
                  <a:pt x="566963" y="80835"/>
                  <a:pt x="558497" y="87804"/>
                  <a:pt x="548226" y="95769"/>
                </a:cubicBezTo>
                <a:lnTo>
                  <a:pt x="600951" y="95769"/>
                </a:lnTo>
                <a:lnTo>
                  <a:pt x="600951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5" name="Полилиния 1054">
            <a:extLst>
              <a:ext uri="{FF2B5EF4-FFF2-40B4-BE49-F238E27FC236}">
                <a16:creationId xmlns:a16="http://schemas.microsoft.com/office/drawing/2014/main" id="{4C99AE17-9B02-91FA-7B9D-410D05E5DC7E}"/>
              </a:ext>
            </a:extLst>
          </p:cNvPr>
          <p:cNvSpPr/>
          <p:nvPr userDrawn="1"/>
        </p:nvSpPr>
        <p:spPr>
          <a:xfrm>
            <a:off x="19989822" y="8871205"/>
            <a:ext cx="1398954" cy="726227"/>
          </a:xfrm>
          <a:custGeom>
            <a:avLst/>
            <a:gdLst>
              <a:gd name="connsiteX0" fmla="*/ 1063 w 1198727"/>
              <a:gd name="connsiteY0" fmla="*/ 1722 h 622284"/>
              <a:gd name="connsiteX1" fmla="*/ 1199791 w 1198727"/>
              <a:gd name="connsiteY1" fmla="*/ 1722 h 622284"/>
              <a:gd name="connsiteX2" fmla="*/ 1199791 w 1198727"/>
              <a:gd name="connsiteY2" fmla="*/ 624006 h 622284"/>
              <a:gd name="connsiteX3" fmla="*/ 1063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722"/>
                </a:moveTo>
                <a:lnTo>
                  <a:pt x="1199791" y="1722"/>
                </a:lnTo>
                <a:lnTo>
                  <a:pt x="1199791" y="624006"/>
                </a:lnTo>
                <a:lnTo>
                  <a:pt x="1063" y="624006"/>
                </a:lnTo>
                <a:close/>
              </a:path>
            </a:pathLst>
          </a:custGeom>
          <a:solidFill>
            <a:srgbClr val="FFB9A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6" name="Полилиния 1055">
            <a:extLst>
              <a:ext uri="{FF2B5EF4-FFF2-40B4-BE49-F238E27FC236}">
                <a16:creationId xmlns:a16="http://schemas.microsoft.com/office/drawing/2014/main" id="{D3410FB0-E755-6C25-AF83-375E218B989B}"/>
              </a:ext>
            </a:extLst>
          </p:cNvPr>
          <p:cNvSpPr/>
          <p:nvPr userDrawn="1"/>
        </p:nvSpPr>
        <p:spPr>
          <a:xfrm>
            <a:off x="20113031" y="9172951"/>
            <a:ext cx="724430" cy="128468"/>
          </a:xfrm>
          <a:custGeom>
            <a:avLst/>
            <a:gdLst>
              <a:gd name="connsiteX0" fmla="*/ 22098 w 620746"/>
              <a:gd name="connsiteY0" fmla="*/ 108588 h 110081"/>
              <a:gd name="connsiteX1" fmla="*/ 10147 w 620746"/>
              <a:gd name="connsiteY1" fmla="*/ 108588 h 110081"/>
              <a:gd name="connsiteX2" fmla="*/ 16434 w 620746"/>
              <a:gd name="connsiteY2" fmla="*/ 77661 h 110081"/>
              <a:gd name="connsiteX3" fmla="*/ 0 w 620746"/>
              <a:gd name="connsiteY3" fmla="*/ 77661 h 110081"/>
              <a:gd name="connsiteX4" fmla="*/ 0 w 620746"/>
              <a:gd name="connsiteY4" fmla="*/ 67206 h 110081"/>
              <a:gd name="connsiteX5" fmla="*/ 18675 w 620746"/>
              <a:gd name="connsiteY5" fmla="*/ 67206 h 110081"/>
              <a:gd name="connsiteX6" fmla="*/ 24215 w 620746"/>
              <a:gd name="connsiteY6" fmla="*/ 40012 h 110081"/>
              <a:gd name="connsiteX7" fmla="*/ 4046 w 620746"/>
              <a:gd name="connsiteY7" fmla="*/ 40012 h 110081"/>
              <a:gd name="connsiteX8" fmla="*/ 4046 w 620746"/>
              <a:gd name="connsiteY8" fmla="*/ 29559 h 110081"/>
              <a:gd name="connsiteX9" fmla="*/ 26269 w 620746"/>
              <a:gd name="connsiteY9" fmla="*/ 29559 h 110081"/>
              <a:gd name="connsiteX10" fmla="*/ 32120 w 620746"/>
              <a:gd name="connsiteY10" fmla="*/ 1493 h 110081"/>
              <a:gd name="connsiteX11" fmla="*/ 44072 w 620746"/>
              <a:gd name="connsiteY11" fmla="*/ 1493 h 110081"/>
              <a:gd name="connsiteX12" fmla="*/ 38221 w 620746"/>
              <a:gd name="connsiteY12" fmla="*/ 29559 h 110081"/>
              <a:gd name="connsiteX13" fmla="*/ 60630 w 620746"/>
              <a:gd name="connsiteY13" fmla="*/ 29559 h 110081"/>
              <a:gd name="connsiteX14" fmla="*/ 66481 w 620746"/>
              <a:gd name="connsiteY14" fmla="*/ 1493 h 110081"/>
              <a:gd name="connsiteX15" fmla="*/ 78434 w 620746"/>
              <a:gd name="connsiteY15" fmla="*/ 1493 h 110081"/>
              <a:gd name="connsiteX16" fmla="*/ 72582 w 620746"/>
              <a:gd name="connsiteY16" fmla="*/ 29559 h 110081"/>
              <a:gd name="connsiteX17" fmla="*/ 89327 w 620746"/>
              <a:gd name="connsiteY17" fmla="*/ 29559 h 110081"/>
              <a:gd name="connsiteX18" fmla="*/ 89327 w 620746"/>
              <a:gd name="connsiteY18" fmla="*/ 40012 h 110081"/>
              <a:gd name="connsiteX19" fmla="*/ 70528 w 620746"/>
              <a:gd name="connsiteY19" fmla="*/ 40012 h 110081"/>
              <a:gd name="connsiteX20" fmla="*/ 64988 w 620746"/>
              <a:gd name="connsiteY20" fmla="*/ 67206 h 110081"/>
              <a:gd name="connsiteX21" fmla="*/ 85281 w 620746"/>
              <a:gd name="connsiteY21" fmla="*/ 67206 h 110081"/>
              <a:gd name="connsiteX22" fmla="*/ 85281 w 620746"/>
              <a:gd name="connsiteY22" fmla="*/ 77661 h 110081"/>
              <a:gd name="connsiteX23" fmla="*/ 62747 w 620746"/>
              <a:gd name="connsiteY23" fmla="*/ 77661 h 110081"/>
              <a:gd name="connsiteX24" fmla="*/ 56459 w 620746"/>
              <a:gd name="connsiteY24" fmla="*/ 108588 h 110081"/>
              <a:gd name="connsiteX25" fmla="*/ 44508 w 620746"/>
              <a:gd name="connsiteY25" fmla="*/ 108588 h 110081"/>
              <a:gd name="connsiteX26" fmla="*/ 50795 w 620746"/>
              <a:gd name="connsiteY26" fmla="*/ 77661 h 110081"/>
              <a:gd name="connsiteX27" fmla="*/ 28385 w 620746"/>
              <a:gd name="connsiteY27" fmla="*/ 77661 h 110081"/>
              <a:gd name="connsiteX28" fmla="*/ 22098 w 620746"/>
              <a:gd name="connsiteY28" fmla="*/ 108588 h 110081"/>
              <a:gd name="connsiteX29" fmla="*/ 30626 w 620746"/>
              <a:gd name="connsiteY29" fmla="*/ 67206 h 110081"/>
              <a:gd name="connsiteX30" fmla="*/ 53036 w 620746"/>
              <a:gd name="connsiteY30" fmla="*/ 67206 h 110081"/>
              <a:gd name="connsiteX31" fmla="*/ 58576 w 620746"/>
              <a:gd name="connsiteY31" fmla="*/ 40012 h 110081"/>
              <a:gd name="connsiteX32" fmla="*/ 36166 w 620746"/>
              <a:gd name="connsiteY32" fmla="*/ 40012 h 110081"/>
              <a:gd name="connsiteX33" fmla="*/ 30626 w 620746"/>
              <a:gd name="connsiteY33" fmla="*/ 67206 h 110081"/>
              <a:gd name="connsiteX34" fmla="*/ 107815 w 620746"/>
              <a:gd name="connsiteY34" fmla="*/ 1493 h 110081"/>
              <a:gd name="connsiteX35" fmla="*/ 173239 w 620746"/>
              <a:gd name="connsiteY35" fmla="*/ 1493 h 110081"/>
              <a:gd name="connsiteX36" fmla="*/ 173239 w 620746"/>
              <a:gd name="connsiteY36" fmla="*/ 14374 h 110081"/>
              <a:gd name="connsiteX37" fmla="*/ 121883 w 620746"/>
              <a:gd name="connsiteY37" fmla="*/ 14374 h 110081"/>
              <a:gd name="connsiteX38" fmla="*/ 121883 w 620746"/>
              <a:gd name="connsiteY38" fmla="*/ 49907 h 110081"/>
              <a:gd name="connsiteX39" fmla="*/ 165520 w 620746"/>
              <a:gd name="connsiteY39" fmla="*/ 49907 h 110081"/>
              <a:gd name="connsiteX40" fmla="*/ 165520 w 620746"/>
              <a:gd name="connsiteY40" fmla="*/ 62601 h 110081"/>
              <a:gd name="connsiteX41" fmla="*/ 121883 w 620746"/>
              <a:gd name="connsiteY41" fmla="*/ 62601 h 110081"/>
              <a:gd name="connsiteX42" fmla="*/ 121883 w 620746"/>
              <a:gd name="connsiteY42" fmla="*/ 108588 h 110081"/>
              <a:gd name="connsiteX43" fmla="*/ 107815 w 620746"/>
              <a:gd name="connsiteY43" fmla="*/ 108588 h 110081"/>
              <a:gd name="connsiteX44" fmla="*/ 107815 w 620746"/>
              <a:gd name="connsiteY44" fmla="*/ 1493 h 110081"/>
              <a:gd name="connsiteX45" fmla="*/ 192723 w 620746"/>
              <a:gd name="connsiteY45" fmla="*/ 1493 h 110081"/>
              <a:gd name="connsiteX46" fmla="*/ 258146 w 620746"/>
              <a:gd name="connsiteY46" fmla="*/ 1493 h 110081"/>
              <a:gd name="connsiteX47" fmla="*/ 258146 w 620746"/>
              <a:gd name="connsiteY47" fmla="*/ 14374 h 110081"/>
              <a:gd name="connsiteX48" fmla="*/ 206791 w 620746"/>
              <a:gd name="connsiteY48" fmla="*/ 14374 h 110081"/>
              <a:gd name="connsiteX49" fmla="*/ 206791 w 620746"/>
              <a:gd name="connsiteY49" fmla="*/ 49907 h 110081"/>
              <a:gd name="connsiteX50" fmla="*/ 250427 w 620746"/>
              <a:gd name="connsiteY50" fmla="*/ 49907 h 110081"/>
              <a:gd name="connsiteX51" fmla="*/ 250427 w 620746"/>
              <a:gd name="connsiteY51" fmla="*/ 62601 h 110081"/>
              <a:gd name="connsiteX52" fmla="*/ 206791 w 620746"/>
              <a:gd name="connsiteY52" fmla="*/ 62601 h 110081"/>
              <a:gd name="connsiteX53" fmla="*/ 206791 w 620746"/>
              <a:gd name="connsiteY53" fmla="*/ 108588 h 110081"/>
              <a:gd name="connsiteX54" fmla="*/ 192723 w 620746"/>
              <a:gd name="connsiteY54" fmla="*/ 108588 h 110081"/>
              <a:gd name="connsiteX55" fmla="*/ 192723 w 620746"/>
              <a:gd name="connsiteY55" fmla="*/ 1493 h 110081"/>
              <a:gd name="connsiteX56" fmla="*/ 277630 w 620746"/>
              <a:gd name="connsiteY56" fmla="*/ 1493 h 110081"/>
              <a:gd name="connsiteX57" fmla="*/ 313983 w 620746"/>
              <a:gd name="connsiteY57" fmla="*/ 1493 h 110081"/>
              <a:gd name="connsiteX58" fmla="*/ 340688 w 620746"/>
              <a:gd name="connsiteY58" fmla="*/ 7467 h 110081"/>
              <a:gd name="connsiteX59" fmla="*/ 349963 w 620746"/>
              <a:gd name="connsiteY59" fmla="*/ 27629 h 110081"/>
              <a:gd name="connsiteX60" fmla="*/ 344112 w 620746"/>
              <a:gd name="connsiteY60" fmla="*/ 45116 h 110081"/>
              <a:gd name="connsiteX61" fmla="*/ 328612 w 620746"/>
              <a:gd name="connsiteY61" fmla="*/ 53018 h 110081"/>
              <a:gd name="connsiteX62" fmla="*/ 347411 w 620746"/>
              <a:gd name="connsiteY62" fmla="*/ 60361 h 110081"/>
              <a:gd name="connsiteX63" fmla="*/ 353823 w 620746"/>
              <a:gd name="connsiteY63" fmla="*/ 77661 h 110081"/>
              <a:gd name="connsiteX64" fmla="*/ 348594 w 620746"/>
              <a:gd name="connsiteY64" fmla="*/ 95583 h 110081"/>
              <a:gd name="connsiteX65" fmla="*/ 334277 w 620746"/>
              <a:gd name="connsiteY65" fmla="*/ 105601 h 110081"/>
              <a:gd name="connsiteX66" fmla="*/ 313673 w 620746"/>
              <a:gd name="connsiteY66" fmla="*/ 108588 h 110081"/>
              <a:gd name="connsiteX67" fmla="*/ 277630 w 620746"/>
              <a:gd name="connsiteY67" fmla="*/ 108588 h 110081"/>
              <a:gd name="connsiteX68" fmla="*/ 277630 w 620746"/>
              <a:gd name="connsiteY68" fmla="*/ 1493 h 110081"/>
              <a:gd name="connsiteX69" fmla="*/ 312926 w 620746"/>
              <a:gd name="connsiteY69" fmla="*/ 47231 h 110081"/>
              <a:gd name="connsiteX70" fmla="*/ 329359 w 620746"/>
              <a:gd name="connsiteY70" fmla="*/ 42751 h 110081"/>
              <a:gd name="connsiteX71" fmla="*/ 335770 w 620746"/>
              <a:gd name="connsiteY71" fmla="*/ 28376 h 110081"/>
              <a:gd name="connsiteX72" fmla="*/ 330106 w 620746"/>
              <a:gd name="connsiteY72" fmla="*/ 17361 h 110081"/>
              <a:gd name="connsiteX73" fmla="*/ 313983 w 620746"/>
              <a:gd name="connsiteY73" fmla="*/ 14374 h 110081"/>
              <a:gd name="connsiteX74" fmla="*/ 291698 w 620746"/>
              <a:gd name="connsiteY74" fmla="*/ 14374 h 110081"/>
              <a:gd name="connsiteX75" fmla="*/ 291698 w 620746"/>
              <a:gd name="connsiteY75" fmla="*/ 47231 h 110081"/>
              <a:gd name="connsiteX76" fmla="*/ 312926 w 620746"/>
              <a:gd name="connsiteY76" fmla="*/ 47231 h 110081"/>
              <a:gd name="connsiteX77" fmla="*/ 313673 w 620746"/>
              <a:gd name="connsiteY77" fmla="*/ 95893 h 110081"/>
              <a:gd name="connsiteX78" fmla="*/ 332036 w 620746"/>
              <a:gd name="connsiteY78" fmla="*/ 92035 h 110081"/>
              <a:gd name="connsiteX79" fmla="*/ 339070 w 620746"/>
              <a:gd name="connsiteY79" fmla="*/ 77972 h 110081"/>
              <a:gd name="connsiteX80" fmla="*/ 332471 w 620746"/>
              <a:gd name="connsiteY80" fmla="*/ 63908 h 110081"/>
              <a:gd name="connsiteX81" fmla="*/ 311992 w 620746"/>
              <a:gd name="connsiteY81" fmla="*/ 59926 h 110081"/>
              <a:gd name="connsiteX82" fmla="*/ 291698 w 620746"/>
              <a:gd name="connsiteY82" fmla="*/ 59926 h 110081"/>
              <a:gd name="connsiteX83" fmla="*/ 291698 w 620746"/>
              <a:gd name="connsiteY83" fmla="*/ 95893 h 110081"/>
              <a:gd name="connsiteX84" fmla="*/ 313673 w 620746"/>
              <a:gd name="connsiteY84" fmla="*/ 95893 h 110081"/>
              <a:gd name="connsiteX85" fmla="*/ 366335 w 620746"/>
              <a:gd name="connsiteY85" fmla="*/ 35844 h 110081"/>
              <a:gd name="connsiteX86" fmla="*/ 370941 w 620746"/>
              <a:gd name="connsiteY86" fmla="*/ 17051 h 110081"/>
              <a:gd name="connsiteX87" fmla="*/ 383826 w 620746"/>
              <a:gd name="connsiteY87" fmla="*/ 4480 h 110081"/>
              <a:gd name="connsiteX88" fmla="*/ 401879 w 620746"/>
              <a:gd name="connsiteY88" fmla="*/ 0 h 110081"/>
              <a:gd name="connsiteX89" fmla="*/ 423541 w 620746"/>
              <a:gd name="connsiteY89" fmla="*/ 5849 h 110081"/>
              <a:gd name="connsiteX90" fmla="*/ 435618 w 620746"/>
              <a:gd name="connsiteY90" fmla="*/ 21842 h 110081"/>
              <a:gd name="connsiteX91" fmla="*/ 439353 w 620746"/>
              <a:gd name="connsiteY91" fmla="*/ 45426 h 110081"/>
              <a:gd name="connsiteX92" fmla="*/ 434746 w 620746"/>
              <a:gd name="connsiteY92" fmla="*/ 80088 h 110081"/>
              <a:gd name="connsiteX93" fmla="*/ 420429 w 620746"/>
              <a:gd name="connsiteY93" fmla="*/ 102303 h 110081"/>
              <a:gd name="connsiteX94" fmla="*/ 395903 w 620746"/>
              <a:gd name="connsiteY94" fmla="*/ 110082 h 110081"/>
              <a:gd name="connsiteX95" fmla="*/ 372871 w 620746"/>
              <a:gd name="connsiteY95" fmla="*/ 104543 h 110081"/>
              <a:gd name="connsiteX96" fmla="*/ 372871 w 620746"/>
              <a:gd name="connsiteY96" fmla="*/ 91413 h 110081"/>
              <a:gd name="connsiteX97" fmla="*/ 395903 w 620746"/>
              <a:gd name="connsiteY97" fmla="*/ 98010 h 110081"/>
              <a:gd name="connsiteX98" fmla="*/ 411465 w 620746"/>
              <a:gd name="connsiteY98" fmla="*/ 92907 h 110081"/>
              <a:gd name="connsiteX99" fmla="*/ 421176 w 620746"/>
              <a:gd name="connsiteY99" fmla="*/ 79154 h 110081"/>
              <a:gd name="connsiteX100" fmla="*/ 425471 w 620746"/>
              <a:gd name="connsiteY100" fmla="*/ 59739 h 110081"/>
              <a:gd name="connsiteX101" fmla="*/ 414453 w 620746"/>
              <a:gd name="connsiteY101" fmla="*/ 68389 h 110081"/>
              <a:gd name="connsiteX102" fmla="*/ 400510 w 620746"/>
              <a:gd name="connsiteY102" fmla="*/ 71127 h 110081"/>
              <a:gd name="connsiteX103" fmla="*/ 383204 w 620746"/>
              <a:gd name="connsiteY103" fmla="*/ 67082 h 110081"/>
              <a:gd name="connsiteX104" fmla="*/ 370817 w 620746"/>
              <a:gd name="connsiteY104" fmla="*/ 55134 h 110081"/>
              <a:gd name="connsiteX105" fmla="*/ 366335 w 620746"/>
              <a:gd name="connsiteY105" fmla="*/ 35844 h 110081"/>
              <a:gd name="connsiteX106" fmla="*/ 402315 w 620746"/>
              <a:gd name="connsiteY106" fmla="*/ 12134 h 110081"/>
              <a:gd name="connsiteX107" fmla="*/ 391546 w 620746"/>
              <a:gd name="connsiteY107" fmla="*/ 14810 h 110081"/>
              <a:gd name="connsiteX108" fmla="*/ 383516 w 620746"/>
              <a:gd name="connsiteY108" fmla="*/ 22589 h 110081"/>
              <a:gd name="connsiteX109" fmla="*/ 380528 w 620746"/>
              <a:gd name="connsiteY109" fmla="*/ 35532 h 110081"/>
              <a:gd name="connsiteX110" fmla="*/ 383516 w 620746"/>
              <a:gd name="connsiteY110" fmla="*/ 48725 h 110081"/>
              <a:gd name="connsiteX111" fmla="*/ 391110 w 620746"/>
              <a:gd name="connsiteY111" fmla="*/ 56752 h 110081"/>
              <a:gd name="connsiteX112" fmla="*/ 400821 w 620746"/>
              <a:gd name="connsiteY112" fmla="*/ 59428 h 110081"/>
              <a:gd name="connsiteX113" fmla="*/ 417255 w 620746"/>
              <a:gd name="connsiteY113" fmla="*/ 53329 h 110081"/>
              <a:gd name="connsiteX114" fmla="*/ 423978 w 620746"/>
              <a:gd name="connsiteY114" fmla="*/ 35283 h 110081"/>
              <a:gd name="connsiteX115" fmla="*/ 418188 w 620746"/>
              <a:gd name="connsiteY115" fmla="*/ 18544 h 110081"/>
              <a:gd name="connsiteX116" fmla="*/ 402315 w 620746"/>
              <a:gd name="connsiteY116" fmla="*/ 12134 h 110081"/>
              <a:gd name="connsiteX117" fmla="*/ 543931 w 620746"/>
              <a:gd name="connsiteY117" fmla="*/ 108588 h 110081"/>
              <a:gd name="connsiteX118" fmla="*/ 528991 w 620746"/>
              <a:gd name="connsiteY118" fmla="*/ 108588 h 110081"/>
              <a:gd name="connsiteX119" fmla="*/ 517911 w 620746"/>
              <a:gd name="connsiteY119" fmla="*/ 77972 h 110081"/>
              <a:gd name="connsiteX120" fmla="*/ 470602 w 620746"/>
              <a:gd name="connsiteY120" fmla="*/ 77972 h 110081"/>
              <a:gd name="connsiteX121" fmla="*/ 459646 w 620746"/>
              <a:gd name="connsiteY121" fmla="*/ 108588 h 110081"/>
              <a:gd name="connsiteX122" fmla="*/ 446512 w 620746"/>
              <a:gd name="connsiteY122" fmla="*/ 108588 h 110081"/>
              <a:gd name="connsiteX123" fmla="*/ 484608 w 620746"/>
              <a:gd name="connsiteY123" fmla="*/ 1493 h 110081"/>
              <a:gd name="connsiteX124" fmla="*/ 505523 w 620746"/>
              <a:gd name="connsiteY124" fmla="*/ 1493 h 110081"/>
              <a:gd name="connsiteX125" fmla="*/ 543931 w 620746"/>
              <a:gd name="connsiteY125" fmla="*/ 108588 h 110081"/>
              <a:gd name="connsiteX126" fmla="*/ 475208 w 620746"/>
              <a:gd name="connsiteY126" fmla="*/ 65278 h 110081"/>
              <a:gd name="connsiteX127" fmla="*/ 513429 w 620746"/>
              <a:gd name="connsiteY127" fmla="*/ 65278 h 110081"/>
              <a:gd name="connsiteX128" fmla="*/ 494318 w 620746"/>
              <a:gd name="connsiteY128" fmla="*/ 11947 h 110081"/>
              <a:gd name="connsiteX129" fmla="*/ 475208 w 620746"/>
              <a:gd name="connsiteY129" fmla="*/ 65278 h 110081"/>
              <a:gd name="connsiteX130" fmla="*/ 583397 w 620746"/>
              <a:gd name="connsiteY130" fmla="*/ 110082 h 110081"/>
              <a:gd name="connsiteX131" fmla="*/ 554887 w 620746"/>
              <a:gd name="connsiteY131" fmla="*/ 102490 h 110081"/>
              <a:gd name="connsiteX132" fmla="*/ 554887 w 620746"/>
              <a:gd name="connsiteY132" fmla="*/ 87804 h 110081"/>
              <a:gd name="connsiteX133" fmla="*/ 568022 w 620746"/>
              <a:gd name="connsiteY133" fmla="*/ 95458 h 110081"/>
              <a:gd name="connsiteX134" fmla="*/ 583397 w 620746"/>
              <a:gd name="connsiteY134" fmla="*/ 97823 h 110081"/>
              <a:gd name="connsiteX135" fmla="*/ 600453 w 620746"/>
              <a:gd name="connsiteY135" fmla="*/ 91102 h 110081"/>
              <a:gd name="connsiteX136" fmla="*/ 606553 w 620746"/>
              <a:gd name="connsiteY136" fmla="*/ 73491 h 110081"/>
              <a:gd name="connsiteX137" fmla="*/ 600578 w 620746"/>
              <a:gd name="connsiteY137" fmla="*/ 56441 h 110081"/>
              <a:gd name="connsiteX138" fmla="*/ 585513 w 620746"/>
              <a:gd name="connsiteY138" fmla="*/ 51089 h 110081"/>
              <a:gd name="connsiteX139" fmla="*/ 574931 w 620746"/>
              <a:gd name="connsiteY139" fmla="*/ 53329 h 110081"/>
              <a:gd name="connsiteX140" fmla="*/ 568769 w 620746"/>
              <a:gd name="connsiteY140" fmla="*/ 57810 h 110081"/>
              <a:gd name="connsiteX141" fmla="*/ 557875 w 620746"/>
              <a:gd name="connsiteY141" fmla="*/ 57810 h 110081"/>
              <a:gd name="connsiteX142" fmla="*/ 557875 w 620746"/>
              <a:gd name="connsiteY142" fmla="*/ 1493 h 110081"/>
              <a:gd name="connsiteX143" fmla="*/ 615828 w 620746"/>
              <a:gd name="connsiteY143" fmla="*/ 1493 h 110081"/>
              <a:gd name="connsiteX144" fmla="*/ 615828 w 620746"/>
              <a:gd name="connsiteY144" fmla="*/ 14374 h 110081"/>
              <a:gd name="connsiteX145" fmla="*/ 570138 w 620746"/>
              <a:gd name="connsiteY145" fmla="*/ 14374 h 110081"/>
              <a:gd name="connsiteX146" fmla="*/ 570138 w 620746"/>
              <a:gd name="connsiteY146" fmla="*/ 44991 h 110081"/>
              <a:gd name="connsiteX147" fmla="*/ 577421 w 620746"/>
              <a:gd name="connsiteY147" fmla="*/ 41071 h 110081"/>
              <a:gd name="connsiteX148" fmla="*/ 587754 w 620746"/>
              <a:gd name="connsiteY148" fmla="*/ 39266 h 110081"/>
              <a:gd name="connsiteX149" fmla="*/ 604499 w 620746"/>
              <a:gd name="connsiteY149" fmla="*/ 43186 h 110081"/>
              <a:gd name="connsiteX150" fmla="*/ 616265 w 620746"/>
              <a:gd name="connsiteY150" fmla="*/ 54512 h 110081"/>
              <a:gd name="connsiteX151" fmla="*/ 620746 w 620746"/>
              <a:gd name="connsiteY151" fmla="*/ 73181 h 110081"/>
              <a:gd name="connsiteX152" fmla="*/ 616140 w 620746"/>
              <a:gd name="connsiteY152" fmla="*/ 92596 h 110081"/>
              <a:gd name="connsiteX153" fmla="*/ 603316 w 620746"/>
              <a:gd name="connsiteY153" fmla="*/ 105601 h 110081"/>
              <a:gd name="connsiteX154" fmla="*/ 583397 w 620746"/>
              <a:gd name="connsiteY154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620746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13983" y="1493"/>
                </a:lnTo>
                <a:cubicBezTo>
                  <a:pt x="325686" y="1493"/>
                  <a:pt x="334650" y="3484"/>
                  <a:pt x="340688" y="7467"/>
                </a:cubicBezTo>
                <a:cubicBezTo>
                  <a:pt x="346851" y="11450"/>
                  <a:pt x="349963" y="18170"/>
                  <a:pt x="349963" y="27629"/>
                </a:cubicBezTo>
                <a:cubicBezTo>
                  <a:pt x="349963" y="35283"/>
                  <a:pt x="348033" y="41133"/>
                  <a:pt x="344112" y="45116"/>
                </a:cubicBezTo>
                <a:cubicBezTo>
                  <a:pt x="340252" y="48974"/>
                  <a:pt x="335086" y="51649"/>
                  <a:pt x="328612" y="53018"/>
                </a:cubicBezTo>
                <a:cubicBezTo>
                  <a:pt x="336891" y="54014"/>
                  <a:pt x="343116" y="56441"/>
                  <a:pt x="347411" y="60361"/>
                </a:cubicBezTo>
                <a:cubicBezTo>
                  <a:pt x="351707" y="64157"/>
                  <a:pt x="353823" y="69882"/>
                  <a:pt x="353823" y="77661"/>
                </a:cubicBezTo>
                <a:cubicBezTo>
                  <a:pt x="353823" y="85066"/>
                  <a:pt x="352080" y="91040"/>
                  <a:pt x="348594" y="95583"/>
                </a:cubicBezTo>
                <a:cubicBezTo>
                  <a:pt x="345108" y="100188"/>
                  <a:pt x="340377" y="103486"/>
                  <a:pt x="334277" y="105601"/>
                </a:cubicBezTo>
                <a:cubicBezTo>
                  <a:pt x="328176" y="107592"/>
                  <a:pt x="321329" y="108588"/>
                  <a:pt x="313673" y="108588"/>
                </a:cubicBez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12926" y="47231"/>
                </a:moveTo>
                <a:cubicBezTo>
                  <a:pt x="319711" y="47231"/>
                  <a:pt x="325188" y="45738"/>
                  <a:pt x="329359" y="42751"/>
                </a:cubicBezTo>
                <a:cubicBezTo>
                  <a:pt x="333654" y="39639"/>
                  <a:pt x="335770" y="34848"/>
                  <a:pt x="335770" y="28376"/>
                </a:cubicBezTo>
                <a:cubicBezTo>
                  <a:pt x="335770" y="22900"/>
                  <a:pt x="333903" y="19228"/>
                  <a:pt x="330106" y="17361"/>
                </a:cubicBezTo>
                <a:cubicBezTo>
                  <a:pt x="326309" y="15370"/>
                  <a:pt x="320955" y="14374"/>
                  <a:pt x="313983" y="14374"/>
                </a:cubicBezTo>
                <a:lnTo>
                  <a:pt x="291698" y="14374"/>
                </a:lnTo>
                <a:lnTo>
                  <a:pt x="291698" y="47231"/>
                </a:lnTo>
                <a:lnTo>
                  <a:pt x="312926" y="47231"/>
                </a:lnTo>
                <a:close/>
                <a:moveTo>
                  <a:pt x="313673" y="95893"/>
                </a:moveTo>
                <a:cubicBezTo>
                  <a:pt x="321204" y="95893"/>
                  <a:pt x="327367" y="94587"/>
                  <a:pt x="332036" y="92035"/>
                </a:cubicBezTo>
                <a:cubicBezTo>
                  <a:pt x="336704" y="89422"/>
                  <a:pt x="339070" y="84755"/>
                  <a:pt x="339070" y="77972"/>
                </a:cubicBezTo>
                <a:cubicBezTo>
                  <a:pt x="339070" y="71189"/>
                  <a:pt x="336891" y="66522"/>
                  <a:pt x="332471" y="63908"/>
                </a:cubicBezTo>
                <a:cubicBezTo>
                  <a:pt x="328176" y="61233"/>
                  <a:pt x="321391" y="59926"/>
                  <a:pt x="311992" y="59926"/>
                </a:cubicBezTo>
                <a:lnTo>
                  <a:pt x="291698" y="59926"/>
                </a:lnTo>
                <a:lnTo>
                  <a:pt x="291698" y="95893"/>
                </a:lnTo>
                <a:lnTo>
                  <a:pt x="313673" y="95893"/>
                </a:lnTo>
                <a:close/>
                <a:moveTo>
                  <a:pt x="366335" y="35844"/>
                </a:moveTo>
                <a:cubicBezTo>
                  <a:pt x="366335" y="28687"/>
                  <a:pt x="367891" y="22402"/>
                  <a:pt x="370941" y="17051"/>
                </a:cubicBezTo>
                <a:cubicBezTo>
                  <a:pt x="374116" y="11637"/>
                  <a:pt x="378411" y="7467"/>
                  <a:pt x="383826" y="4480"/>
                </a:cubicBezTo>
                <a:cubicBezTo>
                  <a:pt x="389181" y="1493"/>
                  <a:pt x="395219" y="0"/>
                  <a:pt x="401879" y="0"/>
                </a:cubicBezTo>
                <a:cubicBezTo>
                  <a:pt x="410843" y="0"/>
                  <a:pt x="418063" y="1929"/>
                  <a:pt x="423541" y="5849"/>
                </a:cubicBezTo>
                <a:cubicBezTo>
                  <a:pt x="429144" y="9645"/>
                  <a:pt x="433128" y="14934"/>
                  <a:pt x="435618" y="21842"/>
                </a:cubicBezTo>
                <a:cubicBezTo>
                  <a:pt x="438108" y="28563"/>
                  <a:pt x="439353" y="36466"/>
                  <a:pt x="439353" y="45426"/>
                </a:cubicBezTo>
                <a:cubicBezTo>
                  <a:pt x="439353" y="58868"/>
                  <a:pt x="437859" y="70380"/>
                  <a:pt x="434746" y="80088"/>
                </a:cubicBezTo>
                <a:cubicBezTo>
                  <a:pt x="431634" y="89733"/>
                  <a:pt x="426903" y="97138"/>
                  <a:pt x="420429" y="102303"/>
                </a:cubicBezTo>
                <a:cubicBezTo>
                  <a:pt x="414018" y="107468"/>
                  <a:pt x="405863" y="110082"/>
                  <a:pt x="395903" y="110082"/>
                </a:cubicBezTo>
                <a:cubicBezTo>
                  <a:pt x="386939" y="110082"/>
                  <a:pt x="379282" y="108215"/>
                  <a:pt x="372871" y="104543"/>
                </a:cubicBezTo>
                <a:lnTo>
                  <a:pt x="372871" y="91413"/>
                </a:lnTo>
                <a:cubicBezTo>
                  <a:pt x="379656" y="95769"/>
                  <a:pt x="387313" y="98010"/>
                  <a:pt x="395903" y="98010"/>
                </a:cubicBezTo>
                <a:cubicBezTo>
                  <a:pt x="402066" y="98010"/>
                  <a:pt x="407232" y="96267"/>
                  <a:pt x="411465" y="92907"/>
                </a:cubicBezTo>
                <a:cubicBezTo>
                  <a:pt x="415636" y="89546"/>
                  <a:pt x="418873" y="84941"/>
                  <a:pt x="421176" y="79154"/>
                </a:cubicBezTo>
                <a:cubicBezTo>
                  <a:pt x="423541" y="73367"/>
                  <a:pt x="424974" y="66896"/>
                  <a:pt x="425471" y="59739"/>
                </a:cubicBezTo>
                <a:cubicBezTo>
                  <a:pt x="422421" y="63660"/>
                  <a:pt x="418687" y="66522"/>
                  <a:pt x="414453" y="68389"/>
                </a:cubicBezTo>
                <a:cubicBezTo>
                  <a:pt x="410158" y="70193"/>
                  <a:pt x="405490" y="71127"/>
                  <a:pt x="400510" y="71127"/>
                </a:cubicBezTo>
                <a:cubicBezTo>
                  <a:pt x="394160" y="71127"/>
                  <a:pt x="388371" y="69758"/>
                  <a:pt x="383204" y="67082"/>
                </a:cubicBezTo>
                <a:cubicBezTo>
                  <a:pt x="378038" y="64406"/>
                  <a:pt x="373867" y="60424"/>
                  <a:pt x="370817" y="55134"/>
                </a:cubicBezTo>
                <a:cubicBezTo>
                  <a:pt x="367829" y="49845"/>
                  <a:pt x="366335" y="43435"/>
                  <a:pt x="366335" y="35844"/>
                </a:cubicBezTo>
                <a:close/>
                <a:moveTo>
                  <a:pt x="402315" y="12134"/>
                </a:moveTo>
                <a:cubicBezTo>
                  <a:pt x="398518" y="12134"/>
                  <a:pt x="394969" y="13006"/>
                  <a:pt x="391546" y="14810"/>
                </a:cubicBezTo>
                <a:cubicBezTo>
                  <a:pt x="388309" y="16490"/>
                  <a:pt x="385570" y="19104"/>
                  <a:pt x="383516" y="22589"/>
                </a:cubicBezTo>
                <a:cubicBezTo>
                  <a:pt x="381523" y="25949"/>
                  <a:pt x="380528" y="30305"/>
                  <a:pt x="380528" y="35532"/>
                </a:cubicBezTo>
                <a:cubicBezTo>
                  <a:pt x="380528" y="40759"/>
                  <a:pt x="381523" y="45116"/>
                  <a:pt x="383516" y="48725"/>
                </a:cubicBezTo>
                <a:cubicBezTo>
                  <a:pt x="385507" y="52271"/>
                  <a:pt x="388060" y="54947"/>
                  <a:pt x="391110" y="56752"/>
                </a:cubicBezTo>
                <a:cubicBezTo>
                  <a:pt x="394222" y="58556"/>
                  <a:pt x="397459" y="59428"/>
                  <a:pt x="400821" y="59428"/>
                </a:cubicBezTo>
                <a:cubicBezTo>
                  <a:pt x="407419" y="59428"/>
                  <a:pt x="412897" y="57437"/>
                  <a:pt x="417255" y="53329"/>
                </a:cubicBezTo>
                <a:cubicBezTo>
                  <a:pt x="421737" y="49160"/>
                  <a:pt x="423978" y="43124"/>
                  <a:pt x="423978" y="35283"/>
                </a:cubicBezTo>
                <a:cubicBezTo>
                  <a:pt x="423978" y="28313"/>
                  <a:pt x="422047" y="22713"/>
                  <a:pt x="418188" y="18544"/>
                </a:cubicBezTo>
                <a:cubicBezTo>
                  <a:pt x="414266" y="14250"/>
                  <a:pt x="408975" y="12134"/>
                  <a:pt x="402315" y="12134"/>
                </a:cubicBezTo>
                <a:close/>
                <a:moveTo>
                  <a:pt x="543931" y="108588"/>
                </a:moveTo>
                <a:lnTo>
                  <a:pt x="528991" y="108588"/>
                </a:lnTo>
                <a:lnTo>
                  <a:pt x="517911" y="77972"/>
                </a:lnTo>
                <a:lnTo>
                  <a:pt x="470602" y="77972"/>
                </a:lnTo>
                <a:lnTo>
                  <a:pt x="459646" y="108588"/>
                </a:lnTo>
                <a:lnTo>
                  <a:pt x="446512" y="108588"/>
                </a:lnTo>
                <a:lnTo>
                  <a:pt x="484608" y="1493"/>
                </a:lnTo>
                <a:lnTo>
                  <a:pt x="505523" y="1493"/>
                </a:lnTo>
                <a:lnTo>
                  <a:pt x="543931" y="108588"/>
                </a:lnTo>
                <a:close/>
                <a:moveTo>
                  <a:pt x="475208" y="65278"/>
                </a:moveTo>
                <a:lnTo>
                  <a:pt x="513429" y="65278"/>
                </a:lnTo>
                <a:lnTo>
                  <a:pt x="494318" y="11947"/>
                </a:lnTo>
                <a:lnTo>
                  <a:pt x="475208" y="65278"/>
                </a:lnTo>
                <a:close/>
                <a:moveTo>
                  <a:pt x="583397" y="110082"/>
                </a:moveTo>
                <a:cubicBezTo>
                  <a:pt x="571445" y="110082"/>
                  <a:pt x="561984" y="107530"/>
                  <a:pt x="554887" y="102490"/>
                </a:cubicBezTo>
                <a:lnTo>
                  <a:pt x="554887" y="87804"/>
                </a:lnTo>
                <a:cubicBezTo>
                  <a:pt x="559057" y="91226"/>
                  <a:pt x="563478" y="93778"/>
                  <a:pt x="568022" y="95458"/>
                </a:cubicBezTo>
                <a:cubicBezTo>
                  <a:pt x="572628" y="97014"/>
                  <a:pt x="577732" y="97823"/>
                  <a:pt x="583397" y="97823"/>
                </a:cubicBezTo>
                <a:cubicBezTo>
                  <a:pt x="590804" y="97823"/>
                  <a:pt x="596469" y="95583"/>
                  <a:pt x="600453" y="91102"/>
                </a:cubicBezTo>
                <a:cubicBezTo>
                  <a:pt x="604562" y="86621"/>
                  <a:pt x="606553" y="80772"/>
                  <a:pt x="606553" y="73491"/>
                </a:cubicBezTo>
                <a:cubicBezTo>
                  <a:pt x="606553" y="65713"/>
                  <a:pt x="604562" y="60050"/>
                  <a:pt x="600578" y="56441"/>
                </a:cubicBezTo>
                <a:cubicBezTo>
                  <a:pt x="596594" y="52894"/>
                  <a:pt x="591614" y="51089"/>
                  <a:pt x="585513" y="51089"/>
                </a:cubicBezTo>
                <a:cubicBezTo>
                  <a:pt x="581156" y="51089"/>
                  <a:pt x="577608" y="51836"/>
                  <a:pt x="574931" y="53329"/>
                </a:cubicBezTo>
                <a:cubicBezTo>
                  <a:pt x="572192" y="54698"/>
                  <a:pt x="570200" y="56192"/>
                  <a:pt x="568769" y="57810"/>
                </a:cubicBezTo>
                <a:lnTo>
                  <a:pt x="557875" y="57810"/>
                </a:lnTo>
                <a:lnTo>
                  <a:pt x="557875" y="1493"/>
                </a:lnTo>
                <a:lnTo>
                  <a:pt x="615828" y="1493"/>
                </a:lnTo>
                <a:lnTo>
                  <a:pt x="615828" y="14374"/>
                </a:lnTo>
                <a:lnTo>
                  <a:pt x="570138" y="14374"/>
                </a:lnTo>
                <a:lnTo>
                  <a:pt x="570138" y="44991"/>
                </a:lnTo>
                <a:cubicBezTo>
                  <a:pt x="572130" y="43498"/>
                  <a:pt x="574557" y="42190"/>
                  <a:pt x="577421" y="41071"/>
                </a:cubicBezTo>
                <a:cubicBezTo>
                  <a:pt x="580347" y="39888"/>
                  <a:pt x="583771" y="39266"/>
                  <a:pt x="587754" y="39266"/>
                </a:cubicBezTo>
                <a:cubicBezTo>
                  <a:pt x="593917" y="39266"/>
                  <a:pt x="599519" y="40572"/>
                  <a:pt x="604499" y="43186"/>
                </a:cubicBezTo>
                <a:cubicBezTo>
                  <a:pt x="609479" y="45675"/>
                  <a:pt x="613401" y="49471"/>
                  <a:pt x="616265" y="54512"/>
                </a:cubicBezTo>
                <a:cubicBezTo>
                  <a:pt x="619252" y="59490"/>
                  <a:pt x="620746" y="65713"/>
                  <a:pt x="620746" y="73181"/>
                </a:cubicBezTo>
                <a:cubicBezTo>
                  <a:pt x="620746" y="80586"/>
                  <a:pt x="619252" y="87058"/>
                  <a:pt x="616140" y="92596"/>
                </a:cubicBezTo>
                <a:cubicBezTo>
                  <a:pt x="613152" y="98196"/>
                  <a:pt x="608857" y="102490"/>
                  <a:pt x="603316" y="105601"/>
                </a:cubicBezTo>
                <a:cubicBezTo>
                  <a:pt x="597715" y="108588"/>
                  <a:pt x="591116" y="110082"/>
                  <a:pt x="583397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7" name="Полилиния 1056">
            <a:extLst>
              <a:ext uri="{FF2B5EF4-FFF2-40B4-BE49-F238E27FC236}">
                <a16:creationId xmlns:a16="http://schemas.microsoft.com/office/drawing/2014/main" id="{69428207-B665-F3AA-882A-7A42FDDC1AF6}"/>
              </a:ext>
            </a:extLst>
          </p:cNvPr>
          <p:cNvSpPr/>
          <p:nvPr userDrawn="1"/>
        </p:nvSpPr>
        <p:spPr>
          <a:xfrm>
            <a:off x="19989822" y="9597431"/>
            <a:ext cx="1398954" cy="726227"/>
          </a:xfrm>
          <a:custGeom>
            <a:avLst/>
            <a:gdLst>
              <a:gd name="connsiteX0" fmla="*/ 1063 w 1198727"/>
              <a:gd name="connsiteY0" fmla="*/ 1822 h 622284"/>
              <a:gd name="connsiteX1" fmla="*/ 1199791 w 1198727"/>
              <a:gd name="connsiteY1" fmla="*/ 1822 h 622284"/>
              <a:gd name="connsiteX2" fmla="*/ 1199791 w 1198727"/>
              <a:gd name="connsiteY2" fmla="*/ 624106 h 622284"/>
              <a:gd name="connsiteX3" fmla="*/ 1063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822"/>
                </a:moveTo>
                <a:lnTo>
                  <a:pt x="1199791" y="1822"/>
                </a:lnTo>
                <a:lnTo>
                  <a:pt x="1199791" y="624106"/>
                </a:lnTo>
                <a:lnTo>
                  <a:pt x="1063" y="624106"/>
                </a:lnTo>
                <a:close/>
              </a:path>
            </a:pathLst>
          </a:custGeom>
          <a:solidFill>
            <a:srgbClr val="FFD7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8" name="Полилиния 1057">
            <a:extLst>
              <a:ext uri="{FF2B5EF4-FFF2-40B4-BE49-F238E27FC236}">
                <a16:creationId xmlns:a16="http://schemas.microsoft.com/office/drawing/2014/main" id="{EAF970C7-2E2A-774E-CD00-B8E226D69321}"/>
              </a:ext>
            </a:extLst>
          </p:cNvPr>
          <p:cNvSpPr/>
          <p:nvPr userDrawn="1"/>
        </p:nvSpPr>
        <p:spPr>
          <a:xfrm>
            <a:off x="20113031" y="9899395"/>
            <a:ext cx="735110" cy="128252"/>
          </a:xfrm>
          <a:custGeom>
            <a:avLst/>
            <a:gdLst>
              <a:gd name="connsiteX0" fmla="*/ 22098 w 629896"/>
              <a:gd name="connsiteY0" fmla="*/ 108402 h 109895"/>
              <a:gd name="connsiteX1" fmla="*/ 10147 w 629896"/>
              <a:gd name="connsiteY1" fmla="*/ 108402 h 109895"/>
              <a:gd name="connsiteX2" fmla="*/ 16434 w 629896"/>
              <a:gd name="connsiteY2" fmla="*/ 77475 h 109895"/>
              <a:gd name="connsiteX3" fmla="*/ 0 w 629896"/>
              <a:gd name="connsiteY3" fmla="*/ 77475 h 109895"/>
              <a:gd name="connsiteX4" fmla="*/ 0 w 629896"/>
              <a:gd name="connsiteY4" fmla="*/ 67020 h 109895"/>
              <a:gd name="connsiteX5" fmla="*/ 18675 w 629896"/>
              <a:gd name="connsiteY5" fmla="*/ 67020 h 109895"/>
              <a:gd name="connsiteX6" fmla="*/ 24215 w 629896"/>
              <a:gd name="connsiteY6" fmla="*/ 39826 h 109895"/>
              <a:gd name="connsiteX7" fmla="*/ 4046 w 629896"/>
              <a:gd name="connsiteY7" fmla="*/ 39826 h 109895"/>
              <a:gd name="connsiteX8" fmla="*/ 4046 w 629896"/>
              <a:gd name="connsiteY8" fmla="*/ 29372 h 109895"/>
              <a:gd name="connsiteX9" fmla="*/ 26269 w 629896"/>
              <a:gd name="connsiteY9" fmla="*/ 29372 h 109895"/>
              <a:gd name="connsiteX10" fmla="*/ 32120 w 629896"/>
              <a:gd name="connsiteY10" fmla="*/ 1307 h 109895"/>
              <a:gd name="connsiteX11" fmla="*/ 44072 w 629896"/>
              <a:gd name="connsiteY11" fmla="*/ 1307 h 109895"/>
              <a:gd name="connsiteX12" fmla="*/ 38221 w 629896"/>
              <a:gd name="connsiteY12" fmla="*/ 29372 h 109895"/>
              <a:gd name="connsiteX13" fmla="*/ 60630 w 629896"/>
              <a:gd name="connsiteY13" fmla="*/ 29372 h 109895"/>
              <a:gd name="connsiteX14" fmla="*/ 66481 w 629896"/>
              <a:gd name="connsiteY14" fmla="*/ 1307 h 109895"/>
              <a:gd name="connsiteX15" fmla="*/ 78434 w 629896"/>
              <a:gd name="connsiteY15" fmla="*/ 1307 h 109895"/>
              <a:gd name="connsiteX16" fmla="*/ 72582 w 629896"/>
              <a:gd name="connsiteY16" fmla="*/ 29372 h 109895"/>
              <a:gd name="connsiteX17" fmla="*/ 89327 w 629896"/>
              <a:gd name="connsiteY17" fmla="*/ 29372 h 109895"/>
              <a:gd name="connsiteX18" fmla="*/ 89327 w 629896"/>
              <a:gd name="connsiteY18" fmla="*/ 39826 h 109895"/>
              <a:gd name="connsiteX19" fmla="*/ 70528 w 629896"/>
              <a:gd name="connsiteY19" fmla="*/ 39826 h 109895"/>
              <a:gd name="connsiteX20" fmla="*/ 64988 w 629896"/>
              <a:gd name="connsiteY20" fmla="*/ 67020 h 109895"/>
              <a:gd name="connsiteX21" fmla="*/ 85281 w 629896"/>
              <a:gd name="connsiteY21" fmla="*/ 67020 h 109895"/>
              <a:gd name="connsiteX22" fmla="*/ 85281 w 629896"/>
              <a:gd name="connsiteY22" fmla="*/ 77475 h 109895"/>
              <a:gd name="connsiteX23" fmla="*/ 62747 w 629896"/>
              <a:gd name="connsiteY23" fmla="*/ 77475 h 109895"/>
              <a:gd name="connsiteX24" fmla="*/ 56459 w 629896"/>
              <a:gd name="connsiteY24" fmla="*/ 108402 h 109895"/>
              <a:gd name="connsiteX25" fmla="*/ 44508 w 629896"/>
              <a:gd name="connsiteY25" fmla="*/ 108402 h 109895"/>
              <a:gd name="connsiteX26" fmla="*/ 50795 w 629896"/>
              <a:gd name="connsiteY26" fmla="*/ 77475 h 109895"/>
              <a:gd name="connsiteX27" fmla="*/ 28385 w 629896"/>
              <a:gd name="connsiteY27" fmla="*/ 77475 h 109895"/>
              <a:gd name="connsiteX28" fmla="*/ 22098 w 629896"/>
              <a:gd name="connsiteY28" fmla="*/ 108402 h 109895"/>
              <a:gd name="connsiteX29" fmla="*/ 30626 w 629896"/>
              <a:gd name="connsiteY29" fmla="*/ 67020 h 109895"/>
              <a:gd name="connsiteX30" fmla="*/ 53036 w 629896"/>
              <a:gd name="connsiteY30" fmla="*/ 67020 h 109895"/>
              <a:gd name="connsiteX31" fmla="*/ 58576 w 629896"/>
              <a:gd name="connsiteY31" fmla="*/ 39826 h 109895"/>
              <a:gd name="connsiteX32" fmla="*/ 36166 w 629896"/>
              <a:gd name="connsiteY32" fmla="*/ 39826 h 109895"/>
              <a:gd name="connsiteX33" fmla="*/ 30626 w 629896"/>
              <a:gd name="connsiteY33" fmla="*/ 67020 h 109895"/>
              <a:gd name="connsiteX34" fmla="*/ 107815 w 629896"/>
              <a:gd name="connsiteY34" fmla="*/ 1307 h 109895"/>
              <a:gd name="connsiteX35" fmla="*/ 173239 w 629896"/>
              <a:gd name="connsiteY35" fmla="*/ 1307 h 109895"/>
              <a:gd name="connsiteX36" fmla="*/ 173239 w 629896"/>
              <a:gd name="connsiteY36" fmla="*/ 14188 h 109895"/>
              <a:gd name="connsiteX37" fmla="*/ 121883 w 629896"/>
              <a:gd name="connsiteY37" fmla="*/ 14188 h 109895"/>
              <a:gd name="connsiteX38" fmla="*/ 121883 w 629896"/>
              <a:gd name="connsiteY38" fmla="*/ 49720 h 109895"/>
              <a:gd name="connsiteX39" fmla="*/ 165520 w 629896"/>
              <a:gd name="connsiteY39" fmla="*/ 49720 h 109895"/>
              <a:gd name="connsiteX40" fmla="*/ 165520 w 629896"/>
              <a:gd name="connsiteY40" fmla="*/ 62415 h 109895"/>
              <a:gd name="connsiteX41" fmla="*/ 121883 w 629896"/>
              <a:gd name="connsiteY41" fmla="*/ 62415 h 109895"/>
              <a:gd name="connsiteX42" fmla="*/ 121883 w 629896"/>
              <a:gd name="connsiteY42" fmla="*/ 108402 h 109895"/>
              <a:gd name="connsiteX43" fmla="*/ 107815 w 629896"/>
              <a:gd name="connsiteY43" fmla="*/ 108402 h 109895"/>
              <a:gd name="connsiteX44" fmla="*/ 107815 w 629896"/>
              <a:gd name="connsiteY44" fmla="*/ 1307 h 109895"/>
              <a:gd name="connsiteX45" fmla="*/ 192723 w 629896"/>
              <a:gd name="connsiteY45" fmla="*/ 1307 h 109895"/>
              <a:gd name="connsiteX46" fmla="*/ 258146 w 629896"/>
              <a:gd name="connsiteY46" fmla="*/ 1307 h 109895"/>
              <a:gd name="connsiteX47" fmla="*/ 258146 w 629896"/>
              <a:gd name="connsiteY47" fmla="*/ 14188 h 109895"/>
              <a:gd name="connsiteX48" fmla="*/ 206791 w 629896"/>
              <a:gd name="connsiteY48" fmla="*/ 14188 h 109895"/>
              <a:gd name="connsiteX49" fmla="*/ 206791 w 629896"/>
              <a:gd name="connsiteY49" fmla="*/ 49720 h 109895"/>
              <a:gd name="connsiteX50" fmla="*/ 250427 w 629896"/>
              <a:gd name="connsiteY50" fmla="*/ 49720 h 109895"/>
              <a:gd name="connsiteX51" fmla="*/ 250427 w 629896"/>
              <a:gd name="connsiteY51" fmla="*/ 62415 h 109895"/>
              <a:gd name="connsiteX52" fmla="*/ 206791 w 629896"/>
              <a:gd name="connsiteY52" fmla="*/ 62415 h 109895"/>
              <a:gd name="connsiteX53" fmla="*/ 206791 w 629896"/>
              <a:gd name="connsiteY53" fmla="*/ 108402 h 109895"/>
              <a:gd name="connsiteX54" fmla="*/ 192723 w 629896"/>
              <a:gd name="connsiteY54" fmla="*/ 108402 h 109895"/>
              <a:gd name="connsiteX55" fmla="*/ 192723 w 629896"/>
              <a:gd name="connsiteY55" fmla="*/ 1307 h 109895"/>
              <a:gd name="connsiteX56" fmla="*/ 277630 w 629896"/>
              <a:gd name="connsiteY56" fmla="*/ 1307 h 109895"/>
              <a:gd name="connsiteX57" fmla="*/ 313673 w 629896"/>
              <a:gd name="connsiteY57" fmla="*/ 1307 h 109895"/>
              <a:gd name="connsiteX58" fmla="*/ 333654 w 629896"/>
              <a:gd name="connsiteY58" fmla="*/ 3858 h 109895"/>
              <a:gd name="connsiteX59" fmla="*/ 349839 w 629896"/>
              <a:gd name="connsiteY59" fmla="*/ 12197 h 109895"/>
              <a:gd name="connsiteX60" fmla="*/ 360545 w 629896"/>
              <a:gd name="connsiteY60" fmla="*/ 27443 h 109895"/>
              <a:gd name="connsiteX61" fmla="*/ 364467 w 629896"/>
              <a:gd name="connsiteY61" fmla="*/ 51215 h 109895"/>
              <a:gd name="connsiteX62" fmla="*/ 357558 w 629896"/>
              <a:gd name="connsiteY62" fmla="*/ 82889 h 109895"/>
              <a:gd name="connsiteX63" fmla="*/ 339070 w 629896"/>
              <a:gd name="connsiteY63" fmla="*/ 101992 h 109895"/>
              <a:gd name="connsiteX64" fmla="*/ 311992 w 629896"/>
              <a:gd name="connsiteY64" fmla="*/ 108402 h 109895"/>
              <a:gd name="connsiteX65" fmla="*/ 277630 w 629896"/>
              <a:gd name="connsiteY65" fmla="*/ 108402 h 109895"/>
              <a:gd name="connsiteX66" fmla="*/ 277630 w 629896"/>
              <a:gd name="connsiteY66" fmla="*/ 1307 h 109895"/>
              <a:gd name="connsiteX67" fmla="*/ 311992 w 629896"/>
              <a:gd name="connsiteY67" fmla="*/ 95707 h 109895"/>
              <a:gd name="connsiteX68" fmla="*/ 331413 w 629896"/>
              <a:gd name="connsiteY68" fmla="*/ 91227 h 109895"/>
              <a:gd name="connsiteX69" fmla="*/ 344423 w 629896"/>
              <a:gd name="connsiteY69" fmla="*/ 77039 h 109895"/>
              <a:gd name="connsiteX70" fmla="*/ 349216 w 629896"/>
              <a:gd name="connsiteY70" fmla="*/ 52272 h 109895"/>
              <a:gd name="connsiteX71" fmla="*/ 344610 w 629896"/>
              <a:gd name="connsiteY71" fmla="*/ 28936 h 109895"/>
              <a:gd name="connsiteX72" fmla="*/ 331911 w 629896"/>
              <a:gd name="connsiteY72" fmla="*/ 17424 h 109895"/>
              <a:gd name="connsiteX73" fmla="*/ 313673 w 629896"/>
              <a:gd name="connsiteY73" fmla="*/ 14188 h 109895"/>
              <a:gd name="connsiteX74" fmla="*/ 291698 w 629896"/>
              <a:gd name="connsiteY74" fmla="*/ 14188 h 109895"/>
              <a:gd name="connsiteX75" fmla="*/ 291698 w 629896"/>
              <a:gd name="connsiteY75" fmla="*/ 95707 h 109895"/>
              <a:gd name="connsiteX76" fmla="*/ 311992 w 629896"/>
              <a:gd name="connsiteY76" fmla="*/ 95707 h 109895"/>
              <a:gd name="connsiteX77" fmla="*/ 446200 w 629896"/>
              <a:gd name="connsiteY77" fmla="*/ 13442 h 109895"/>
              <a:gd name="connsiteX78" fmla="*/ 400759 w 629896"/>
              <a:gd name="connsiteY78" fmla="*/ 108402 h 109895"/>
              <a:gd name="connsiteX79" fmla="*/ 386130 w 629896"/>
              <a:gd name="connsiteY79" fmla="*/ 108402 h 109895"/>
              <a:gd name="connsiteX80" fmla="*/ 431821 w 629896"/>
              <a:gd name="connsiteY80" fmla="*/ 14188 h 109895"/>
              <a:gd name="connsiteX81" fmla="*/ 377291 w 629896"/>
              <a:gd name="connsiteY81" fmla="*/ 14188 h 109895"/>
              <a:gd name="connsiteX82" fmla="*/ 377291 w 629896"/>
              <a:gd name="connsiteY82" fmla="*/ 1307 h 109895"/>
              <a:gd name="connsiteX83" fmla="*/ 446200 w 629896"/>
              <a:gd name="connsiteY83" fmla="*/ 1307 h 109895"/>
              <a:gd name="connsiteX84" fmla="*/ 446200 w 629896"/>
              <a:gd name="connsiteY84" fmla="*/ 13442 h 109895"/>
              <a:gd name="connsiteX85" fmla="*/ 511748 w 629896"/>
              <a:gd name="connsiteY85" fmla="*/ 109896 h 109895"/>
              <a:gd name="connsiteX86" fmla="*/ 483923 w 629896"/>
              <a:gd name="connsiteY86" fmla="*/ 103300 h 109895"/>
              <a:gd name="connsiteX87" fmla="*/ 465559 w 629896"/>
              <a:gd name="connsiteY87" fmla="*/ 84507 h 109895"/>
              <a:gd name="connsiteX88" fmla="*/ 459024 w 629896"/>
              <a:gd name="connsiteY88" fmla="*/ 54948 h 109895"/>
              <a:gd name="connsiteX89" fmla="*/ 472594 w 629896"/>
              <a:gd name="connsiteY89" fmla="*/ 14624 h 109895"/>
              <a:gd name="connsiteX90" fmla="*/ 511437 w 629896"/>
              <a:gd name="connsiteY90" fmla="*/ 0 h 109895"/>
              <a:gd name="connsiteX91" fmla="*/ 529365 w 629896"/>
              <a:gd name="connsiteY91" fmla="*/ 2054 h 109895"/>
              <a:gd name="connsiteX92" fmla="*/ 543994 w 629896"/>
              <a:gd name="connsiteY92" fmla="*/ 7716 h 109895"/>
              <a:gd name="connsiteX93" fmla="*/ 543994 w 629896"/>
              <a:gd name="connsiteY93" fmla="*/ 21158 h 109895"/>
              <a:gd name="connsiteX94" fmla="*/ 528929 w 629896"/>
              <a:gd name="connsiteY94" fmla="*/ 14935 h 109895"/>
              <a:gd name="connsiteX95" fmla="*/ 511313 w 629896"/>
              <a:gd name="connsiteY95" fmla="*/ 12695 h 109895"/>
              <a:gd name="connsiteX96" fmla="*/ 483363 w 629896"/>
              <a:gd name="connsiteY96" fmla="*/ 23273 h 109895"/>
              <a:gd name="connsiteX97" fmla="*/ 474212 w 629896"/>
              <a:gd name="connsiteY97" fmla="*/ 54948 h 109895"/>
              <a:gd name="connsiteX98" fmla="*/ 484110 w 629896"/>
              <a:gd name="connsiteY98" fmla="*/ 86747 h 109895"/>
              <a:gd name="connsiteX99" fmla="*/ 512931 w 629896"/>
              <a:gd name="connsiteY99" fmla="*/ 97201 h 109895"/>
              <a:gd name="connsiteX100" fmla="*/ 543994 w 629896"/>
              <a:gd name="connsiteY100" fmla="*/ 87369 h 109895"/>
              <a:gd name="connsiteX101" fmla="*/ 543994 w 629896"/>
              <a:gd name="connsiteY101" fmla="*/ 100811 h 109895"/>
              <a:gd name="connsiteX102" fmla="*/ 530112 w 629896"/>
              <a:gd name="connsiteY102" fmla="*/ 107531 h 109895"/>
              <a:gd name="connsiteX103" fmla="*/ 511748 w 629896"/>
              <a:gd name="connsiteY103" fmla="*/ 109896 h 109895"/>
              <a:gd name="connsiteX104" fmla="*/ 594477 w 629896"/>
              <a:gd name="connsiteY104" fmla="*/ 109896 h 109895"/>
              <a:gd name="connsiteX105" fmla="*/ 575803 w 629896"/>
              <a:gd name="connsiteY105" fmla="*/ 106287 h 109895"/>
              <a:gd name="connsiteX106" fmla="*/ 563104 w 629896"/>
              <a:gd name="connsiteY106" fmla="*/ 96019 h 109895"/>
              <a:gd name="connsiteX107" fmla="*/ 558497 w 629896"/>
              <a:gd name="connsiteY107" fmla="*/ 79590 h 109895"/>
              <a:gd name="connsiteX108" fmla="*/ 563851 w 629896"/>
              <a:gd name="connsiteY108" fmla="*/ 62105 h 109895"/>
              <a:gd name="connsiteX109" fmla="*/ 578666 w 629896"/>
              <a:gd name="connsiteY109" fmla="*/ 51525 h 109895"/>
              <a:gd name="connsiteX110" fmla="*/ 566714 w 629896"/>
              <a:gd name="connsiteY110" fmla="*/ 42378 h 109895"/>
              <a:gd name="connsiteX111" fmla="*/ 562357 w 629896"/>
              <a:gd name="connsiteY111" fmla="*/ 27318 h 109895"/>
              <a:gd name="connsiteX112" fmla="*/ 566528 w 629896"/>
              <a:gd name="connsiteY112" fmla="*/ 12383 h 109895"/>
              <a:gd name="connsiteX113" fmla="*/ 578044 w 629896"/>
              <a:gd name="connsiteY113" fmla="*/ 3111 h 109895"/>
              <a:gd name="connsiteX114" fmla="*/ 594477 w 629896"/>
              <a:gd name="connsiteY114" fmla="*/ 0 h 109895"/>
              <a:gd name="connsiteX115" fmla="*/ 610600 w 629896"/>
              <a:gd name="connsiteY115" fmla="*/ 3111 h 109895"/>
              <a:gd name="connsiteX116" fmla="*/ 621991 w 629896"/>
              <a:gd name="connsiteY116" fmla="*/ 12073 h 109895"/>
              <a:gd name="connsiteX117" fmla="*/ 626287 w 629896"/>
              <a:gd name="connsiteY117" fmla="*/ 27008 h 109895"/>
              <a:gd name="connsiteX118" fmla="*/ 621805 w 629896"/>
              <a:gd name="connsiteY118" fmla="*/ 42253 h 109895"/>
              <a:gd name="connsiteX119" fmla="*/ 610040 w 629896"/>
              <a:gd name="connsiteY119" fmla="*/ 51525 h 109895"/>
              <a:gd name="connsiteX120" fmla="*/ 624357 w 629896"/>
              <a:gd name="connsiteY120" fmla="*/ 61669 h 109895"/>
              <a:gd name="connsiteX121" fmla="*/ 629897 w 629896"/>
              <a:gd name="connsiteY121" fmla="*/ 79155 h 109895"/>
              <a:gd name="connsiteX122" fmla="*/ 625290 w 629896"/>
              <a:gd name="connsiteY122" fmla="*/ 95707 h 109895"/>
              <a:gd name="connsiteX123" fmla="*/ 612591 w 629896"/>
              <a:gd name="connsiteY123" fmla="*/ 106287 h 109895"/>
              <a:gd name="connsiteX124" fmla="*/ 594477 w 629896"/>
              <a:gd name="connsiteY124" fmla="*/ 109896 h 109895"/>
              <a:gd name="connsiteX125" fmla="*/ 594477 w 629896"/>
              <a:gd name="connsiteY125" fmla="*/ 46111 h 109895"/>
              <a:gd name="connsiteX126" fmla="*/ 607487 w 629896"/>
              <a:gd name="connsiteY126" fmla="*/ 41631 h 109895"/>
              <a:gd name="connsiteX127" fmla="*/ 612716 w 629896"/>
              <a:gd name="connsiteY127" fmla="*/ 28936 h 109895"/>
              <a:gd name="connsiteX128" fmla="*/ 607487 w 629896"/>
              <a:gd name="connsiteY128" fmla="*/ 16428 h 109895"/>
              <a:gd name="connsiteX129" fmla="*/ 594477 w 629896"/>
              <a:gd name="connsiteY129" fmla="*/ 11761 h 109895"/>
              <a:gd name="connsiteX130" fmla="*/ 581218 w 629896"/>
              <a:gd name="connsiteY130" fmla="*/ 16428 h 109895"/>
              <a:gd name="connsiteX131" fmla="*/ 575990 w 629896"/>
              <a:gd name="connsiteY131" fmla="*/ 28936 h 109895"/>
              <a:gd name="connsiteX132" fmla="*/ 581218 w 629896"/>
              <a:gd name="connsiteY132" fmla="*/ 41631 h 109895"/>
              <a:gd name="connsiteX133" fmla="*/ 594477 w 629896"/>
              <a:gd name="connsiteY133" fmla="*/ 46111 h 109895"/>
              <a:gd name="connsiteX134" fmla="*/ 594477 w 629896"/>
              <a:gd name="connsiteY134" fmla="*/ 98072 h 109895"/>
              <a:gd name="connsiteX135" fmla="*/ 609853 w 629896"/>
              <a:gd name="connsiteY135" fmla="*/ 92721 h 109895"/>
              <a:gd name="connsiteX136" fmla="*/ 616140 w 629896"/>
              <a:gd name="connsiteY136" fmla="*/ 77350 h 109895"/>
              <a:gd name="connsiteX137" fmla="*/ 609853 w 629896"/>
              <a:gd name="connsiteY137" fmla="*/ 62105 h 109895"/>
              <a:gd name="connsiteX138" fmla="*/ 594477 w 629896"/>
              <a:gd name="connsiteY138" fmla="*/ 56566 h 109895"/>
              <a:gd name="connsiteX139" fmla="*/ 578479 w 629896"/>
              <a:gd name="connsiteY139" fmla="*/ 62105 h 109895"/>
              <a:gd name="connsiteX140" fmla="*/ 572254 w 629896"/>
              <a:gd name="connsiteY140" fmla="*/ 77350 h 109895"/>
              <a:gd name="connsiteX141" fmla="*/ 578479 w 629896"/>
              <a:gd name="connsiteY141" fmla="*/ 92721 h 109895"/>
              <a:gd name="connsiteX142" fmla="*/ 594477 w 629896"/>
              <a:gd name="connsiteY142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29896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07815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3" y="14188"/>
                </a:lnTo>
                <a:lnTo>
                  <a:pt x="121883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3" y="62415"/>
                </a:lnTo>
                <a:lnTo>
                  <a:pt x="121883" y="108402"/>
                </a:lnTo>
                <a:lnTo>
                  <a:pt x="107815" y="108402"/>
                </a:lnTo>
                <a:lnTo>
                  <a:pt x="107815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13673" y="1307"/>
                </a:lnTo>
                <a:cubicBezTo>
                  <a:pt x="320831" y="1307"/>
                  <a:pt x="327492" y="2179"/>
                  <a:pt x="333654" y="3858"/>
                </a:cubicBezTo>
                <a:cubicBezTo>
                  <a:pt x="339879" y="5538"/>
                  <a:pt x="345232" y="8339"/>
                  <a:pt x="349839" y="12197"/>
                </a:cubicBezTo>
                <a:cubicBezTo>
                  <a:pt x="354383" y="15993"/>
                  <a:pt x="357994" y="21096"/>
                  <a:pt x="360545" y="27443"/>
                </a:cubicBezTo>
                <a:cubicBezTo>
                  <a:pt x="363160" y="33853"/>
                  <a:pt x="364467" y="41756"/>
                  <a:pt x="364467" y="51215"/>
                </a:cubicBezTo>
                <a:cubicBezTo>
                  <a:pt x="364467" y="63722"/>
                  <a:pt x="362164" y="74301"/>
                  <a:pt x="357558" y="82889"/>
                </a:cubicBezTo>
                <a:cubicBezTo>
                  <a:pt x="353076" y="91352"/>
                  <a:pt x="346913" y="97699"/>
                  <a:pt x="339070" y="101992"/>
                </a:cubicBezTo>
                <a:cubicBezTo>
                  <a:pt x="331164" y="106287"/>
                  <a:pt x="322201" y="108402"/>
                  <a:pt x="311992" y="108402"/>
                </a:cubicBez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11992" y="95707"/>
                </a:moveTo>
                <a:cubicBezTo>
                  <a:pt x="319399" y="95707"/>
                  <a:pt x="325873" y="94214"/>
                  <a:pt x="331413" y="91227"/>
                </a:cubicBezTo>
                <a:cubicBezTo>
                  <a:pt x="337016" y="88116"/>
                  <a:pt x="341373" y="83386"/>
                  <a:pt x="344423" y="77039"/>
                </a:cubicBezTo>
                <a:cubicBezTo>
                  <a:pt x="347598" y="70568"/>
                  <a:pt x="349216" y="62291"/>
                  <a:pt x="349216" y="52272"/>
                </a:cubicBezTo>
                <a:cubicBezTo>
                  <a:pt x="349216" y="42191"/>
                  <a:pt x="347660" y="34413"/>
                  <a:pt x="344610" y="28936"/>
                </a:cubicBezTo>
                <a:cubicBezTo>
                  <a:pt x="341498" y="23460"/>
                  <a:pt x="337264" y="19664"/>
                  <a:pt x="331911" y="17424"/>
                </a:cubicBezTo>
                <a:cubicBezTo>
                  <a:pt x="326620" y="15246"/>
                  <a:pt x="320520" y="14188"/>
                  <a:pt x="313673" y="14188"/>
                </a:cubicBezTo>
                <a:lnTo>
                  <a:pt x="291698" y="14188"/>
                </a:lnTo>
                <a:lnTo>
                  <a:pt x="291698" y="95707"/>
                </a:lnTo>
                <a:lnTo>
                  <a:pt x="311992" y="95707"/>
                </a:lnTo>
                <a:close/>
                <a:moveTo>
                  <a:pt x="446200" y="13442"/>
                </a:moveTo>
                <a:lnTo>
                  <a:pt x="400759" y="108402"/>
                </a:lnTo>
                <a:lnTo>
                  <a:pt x="386130" y="108402"/>
                </a:lnTo>
                <a:lnTo>
                  <a:pt x="431821" y="14188"/>
                </a:lnTo>
                <a:lnTo>
                  <a:pt x="377291" y="14188"/>
                </a:lnTo>
                <a:lnTo>
                  <a:pt x="377291" y="1307"/>
                </a:lnTo>
                <a:lnTo>
                  <a:pt x="446200" y="1307"/>
                </a:lnTo>
                <a:lnTo>
                  <a:pt x="446200" y="13442"/>
                </a:lnTo>
                <a:close/>
                <a:moveTo>
                  <a:pt x="511748" y="109896"/>
                </a:moveTo>
                <a:cubicBezTo>
                  <a:pt x="501166" y="109896"/>
                  <a:pt x="491891" y="107718"/>
                  <a:pt x="483923" y="103300"/>
                </a:cubicBezTo>
                <a:cubicBezTo>
                  <a:pt x="476080" y="98943"/>
                  <a:pt x="469980" y="92658"/>
                  <a:pt x="465559" y="84507"/>
                </a:cubicBezTo>
                <a:cubicBezTo>
                  <a:pt x="461202" y="76230"/>
                  <a:pt x="459024" y="66398"/>
                  <a:pt x="459024" y="54948"/>
                </a:cubicBezTo>
                <a:cubicBezTo>
                  <a:pt x="459024" y="37711"/>
                  <a:pt x="463505" y="24269"/>
                  <a:pt x="472594" y="14624"/>
                </a:cubicBezTo>
                <a:cubicBezTo>
                  <a:pt x="481682" y="4854"/>
                  <a:pt x="494630" y="0"/>
                  <a:pt x="511437" y="0"/>
                </a:cubicBezTo>
                <a:cubicBezTo>
                  <a:pt x="517724" y="0"/>
                  <a:pt x="523700" y="684"/>
                  <a:pt x="529365" y="2054"/>
                </a:cubicBezTo>
                <a:cubicBezTo>
                  <a:pt x="535154" y="3361"/>
                  <a:pt x="540010" y="5228"/>
                  <a:pt x="543994" y="7716"/>
                </a:cubicBezTo>
                <a:lnTo>
                  <a:pt x="543994" y="21158"/>
                </a:lnTo>
                <a:cubicBezTo>
                  <a:pt x="539698" y="18482"/>
                  <a:pt x="534719" y="16428"/>
                  <a:pt x="528929" y="14935"/>
                </a:cubicBezTo>
                <a:cubicBezTo>
                  <a:pt x="523264" y="13442"/>
                  <a:pt x="517351" y="12695"/>
                  <a:pt x="511313" y="12695"/>
                </a:cubicBezTo>
                <a:cubicBezTo>
                  <a:pt x="498739" y="12695"/>
                  <a:pt x="489401" y="16180"/>
                  <a:pt x="483363" y="23273"/>
                </a:cubicBezTo>
                <a:cubicBezTo>
                  <a:pt x="477262" y="30368"/>
                  <a:pt x="474212" y="40885"/>
                  <a:pt x="474212" y="54948"/>
                </a:cubicBezTo>
                <a:cubicBezTo>
                  <a:pt x="474212" y="69074"/>
                  <a:pt x="477511" y="79653"/>
                  <a:pt x="484110" y="86747"/>
                </a:cubicBezTo>
                <a:cubicBezTo>
                  <a:pt x="490646" y="93716"/>
                  <a:pt x="500295" y="97201"/>
                  <a:pt x="512931" y="97201"/>
                </a:cubicBezTo>
                <a:cubicBezTo>
                  <a:pt x="524883" y="97201"/>
                  <a:pt x="535216" y="93903"/>
                  <a:pt x="543994" y="87369"/>
                </a:cubicBezTo>
                <a:lnTo>
                  <a:pt x="543994" y="100811"/>
                </a:lnTo>
                <a:cubicBezTo>
                  <a:pt x="540507" y="103548"/>
                  <a:pt x="535901" y="105788"/>
                  <a:pt x="530112" y="107531"/>
                </a:cubicBezTo>
                <a:cubicBezTo>
                  <a:pt x="524323" y="109087"/>
                  <a:pt x="518223" y="109896"/>
                  <a:pt x="511748" y="109896"/>
                </a:cubicBezTo>
                <a:close/>
                <a:moveTo>
                  <a:pt x="594477" y="109896"/>
                </a:moveTo>
                <a:cubicBezTo>
                  <a:pt x="587506" y="109896"/>
                  <a:pt x="581281" y="108714"/>
                  <a:pt x="575803" y="106287"/>
                </a:cubicBezTo>
                <a:cubicBezTo>
                  <a:pt x="570449" y="103922"/>
                  <a:pt x="566216" y="100499"/>
                  <a:pt x="563104" y="96019"/>
                </a:cubicBezTo>
                <a:cubicBezTo>
                  <a:pt x="560054" y="91414"/>
                  <a:pt x="558497" y="85938"/>
                  <a:pt x="558497" y="79590"/>
                </a:cubicBezTo>
                <a:cubicBezTo>
                  <a:pt x="558497" y="72683"/>
                  <a:pt x="560303" y="66896"/>
                  <a:pt x="563851" y="62105"/>
                </a:cubicBezTo>
                <a:cubicBezTo>
                  <a:pt x="567523" y="57251"/>
                  <a:pt x="572503" y="53703"/>
                  <a:pt x="578666" y="51525"/>
                </a:cubicBezTo>
                <a:cubicBezTo>
                  <a:pt x="573686" y="49534"/>
                  <a:pt x="569703" y="46485"/>
                  <a:pt x="566714" y="42378"/>
                </a:cubicBezTo>
                <a:cubicBezTo>
                  <a:pt x="563788" y="38333"/>
                  <a:pt x="562357" y="33293"/>
                  <a:pt x="562357" y="27318"/>
                </a:cubicBezTo>
                <a:cubicBezTo>
                  <a:pt x="562357" y="21407"/>
                  <a:pt x="563788" y="16428"/>
                  <a:pt x="566528" y="12383"/>
                </a:cubicBezTo>
                <a:cubicBezTo>
                  <a:pt x="569329" y="8277"/>
                  <a:pt x="573188" y="5228"/>
                  <a:pt x="578044" y="3111"/>
                </a:cubicBezTo>
                <a:cubicBezTo>
                  <a:pt x="582962" y="996"/>
                  <a:pt x="588440" y="0"/>
                  <a:pt x="594477" y="0"/>
                </a:cubicBezTo>
                <a:cubicBezTo>
                  <a:pt x="600453" y="0"/>
                  <a:pt x="605869" y="996"/>
                  <a:pt x="610600" y="3111"/>
                </a:cubicBezTo>
                <a:cubicBezTo>
                  <a:pt x="615393" y="5103"/>
                  <a:pt x="619190" y="8090"/>
                  <a:pt x="621991" y="12073"/>
                </a:cubicBezTo>
                <a:cubicBezTo>
                  <a:pt x="624855" y="16055"/>
                  <a:pt x="626287" y="21033"/>
                  <a:pt x="626287" y="27008"/>
                </a:cubicBezTo>
                <a:cubicBezTo>
                  <a:pt x="626287" y="33106"/>
                  <a:pt x="624793" y="38146"/>
                  <a:pt x="621805" y="42253"/>
                </a:cubicBezTo>
                <a:cubicBezTo>
                  <a:pt x="618816" y="46298"/>
                  <a:pt x="614895" y="49410"/>
                  <a:pt x="610040" y="51525"/>
                </a:cubicBezTo>
                <a:cubicBezTo>
                  <a:pt x="616015" y="53579"/>
                  <a:pt x="620809" y="57001"/>
                  <a:pt x="624357" y="61669"/>
                </a:cubicBezTo>
                <a:cubicBezTo>
                  <a:pt x="628030" y="66336"/>
                  <a:pt x="629897" y="72186"/>
                  <a:pt x="629897" y="79155"/>
                </a:cubicBezTo>
                <a:cubicBezTo>
                  <a:pt x="629897" y="85502"/>
                  <a:pt x="628341" y="91040"/>
                  <a:pt x="625290" y="95707"/>
                </a:cubicBezTo>
                <a:cubicBezTo>
                  <a:pt x="622178" y="100312"/>
                  <a:pt x="617945" y="103797"/>
                  <a:pt x="612591" y="106287"/>
                </a:cubicBezTo>
                <a:cubicBezTo>
                  <a:pt x="607300" y="108714"/>
                  <a:pt x="601262" y="109896"/>
                  <a:pt x="594477" y="109896"/>
                </a:cubicBezTo>
                <a:close/>
                <a:moveTo>
                  <a:pt x="594477" y="46111"/>
                </a:moveTo>
                <a:cubicBezTo>
                  <a:pt x="599768" y="46111"/>
                  <a:pt x="604126" y="44618"/>
                  <a:pt x="607487" y="41631"/>
                </a:cubicBezTo>
                <a:cubicBezTo>
                  <a:pt x="610974" y="38582"/>
                  <a:pt x="612716" y="34350"/>
                  <a:pt x="612716" y="28936"/>
                </a:cubicBezTo>
                <a:cubicBezTo>
                  <a:pt x="612716" y="23585"/>
                  <a:pt x="610974" y="19415"/>
                  <a:pt x="607487" y="16428"/>
                </a:cubicBezTo>
                <a:cubicBezTo>
                  <a:pt x="604126" y="13317"/>
                  <a:pt x="599768" y="11761"/>
                  <a:pt x="594477" y="11761"/>
                </a:cubicBezTo>
                <a:cubicBezTo>
                  <a:pt x="589186" y="11761"/>
                  <a:pt x="584766" y="13317"/>
                  <a:pt x="581218" y="16428"/>
                </a:cubicBezTo>
                <a:cubicBezTo>
                  <a:pt x="577732" y="19415"/>
                  <a:pt x="575990" y="23585"/>
                  <a:pt x="575990" y="28936"/>
                </a:cubicBezTo>
                <a:cubicBezTo>
                  <a:pt x="575990" y="34350"/>
                  <a:pt x="577732" y="38582"/>
                  <a:pt x="581218" y="41631"/>
                </a:cubicBezTo>
                <a:cubicBezTo>
                  <a:pt x="584766" y="44618"/>
                  <a:pt x="589186" y="46111"/>
                  <a:pt x="594477" y="46111"/>
                </a:cubicBezTo>
                <a:close/>
                <a:moveTo>
                  <a:pt x="594477" y="98072"/>
                </a:moveTo>
                <a:cubicBezTo>
                  <a:pt x="600640" y="98072"/>
                  <a:pt x="605806" y="96330"/>
                  <a:pt x="609853" y="92721"/>
                </a:cubicBezTo>
                <a:cubicBezTo>
                  <a:pt x="614086" y="89049"/>
                  <a:pt x="616140" y="83885"/>
                  <a:pt x="616140" y="77350"/>
                </a:cubicBezTo>
                <a:cubicBezTo>
                  <a:pt x="616140" y="70754"/>
                  <a:pt x="614086" y="65714"/>
                  <a:pt x="609853" y="62105"/>
                </a:cubicBezTo>
                <a:cubicBezTo>
                  <a:pt x="605806" y="58433"/>
                  <a:pt x="600640" y="56566"/>
                  <a:pt x="594477" y="56566"/>
                </a:cubicBezTo>
                <a:cubicBezTo>
                  <a:pt x="588128" y="56566"/>
                  <a:pt x="582775" y="58433"/>
                  <a:pt x="578479" y="62105"/>
                </a:cubicBezTo>
                <a:cubicBezTo>
                  <a:pt x="574309" y="65714"/>
                  <a:pt x="572254" y="70754"/>
                  <a:pt x="572254" y="77350"/>
                </a:cubicBezTo>
                <a:cubicBezTo>
                  <a:pt x="572254" y="83885"/>
                  <a:pt x="574309" y="89049"/>
                  <a:pt x="578479" y="92721"/>
                </a:cubicBezTo>
                <a:cubicBezTo>
                  <a:pt x="582775" y="96330"/>
                  <a:pt x="588128" y="98072"/>
                  <a:pt x="594477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9" name="Полилиния 1058">
            <a:extLst>
              <a:ext uri="{FF2B5EF4-FFF2-40B4-BE49-F238E27FC236}">
                <a16:creationId xmlns:a16="http://schemas.microsoft.com/office/drawing/2014/main" id="{48B37E1E-CC4F-3A7C-E42E-75650EFC70F9}"/>
              </a:ext>
            </a:extLst>
          </p:cNvPr>
          <p:cNvSpPr/>
          <p:nvPr userDrawn="1"/>
        </p:nvSpPr>
        <p:spPr>
          <a:xfrm>
            <a:off x="19989822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73" y="622284"/>
                  <a:pt x="1049331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BE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0" name="Полилиния 1059">
            <a:extLst>
              <a:ext uri="{FF2B5EF4-FFF2-40B4-BE49-F238E27FC236}">
                <a16:creationId xmlns:a16="http://schemas.microsoft.com/office/drawing/2014/main" id="{D4D01135-5B98-4B90-050E-3E982F6DA3E2}"/>
              </a:ext>
            </a:extLst>
          </p:cNvPr>
          <p:cNvSpPr/>
          <p:nvPr userDrawn="1"/>
        </p:nvSpPr>
        <p:spPr>
          <a:xfrm>
            <a:off x="20113031" y="10627147"/>
            <a:ext cx="695009" cy="124982"/>
          </a:xfrm>
          <a:custGeom>
            <a:avLst/>
            <a:gdLst>
              <a:gd name="connsiteX0" fmla="*/ 22098 w 595535"/>
              <a:gd name="connsiteY0" fmla="*/ 107095 h 107094"/>
              <a:gd name="connsiteX1" fmla="*/ 10147 w 595535"/>
              <a:gd name="connsiteY1" fmla="*/ 107095 h 107094"/>
              <a:gd name="connsiteX2" fmla="*/ 16434 w 595535"/>
              <a:gd name="connsiteY2" fmla="*/ 76168 h 107094"/>
              <a:gd name="connsiteX3" fmla="*/ 0 w 595535"/>
              <a:gd name="connsiteY3" fmla="*/ 76168 h 107094"/>
              <a:gd name="connsiteX4" fmla="*/ 0 w 595535"/>
              <a:gd name="connsiteY4" fmla="*/ 65713 h 107094"/>
              <a:gd name="connsiteX5" fmla="*/ 18675 w 595535"/>
              <a:gd name="connsiteY5" fmla="*/ 65713 h 107094"/>
              <a:gd name="connsiteX6" fmla="*/ 24215 w 595535"/>
              <a:gd name="connsiteY6" fmla="*/ 38519 h 107094"/>
              <a:gd name="connsiteX7" fmla="*/ 4046 w 595535"/>
              <a:gd name="connsiteY7" fmla="*/ 38519 h 107094"/>
              <a:gd name="connsiteX8" fmla="*/ 4046 w 595535"/>
              <a:gd name="connsiteY8" fmla="*/ 28065 h 107094"/>
              <a:gd name="connsiteX9" fmla="*/ 26269 w 595535"/>
              <a:gd name="connsiteY9" fmla="*/ 28065 h 107094"/>
              <a:gd name="connsiteX10" fmla="*/ 32120 w 595535"/>
              <a:gd name="connsiteY10" fmla="*/ 0 h 107094"/>
              <a:gd name="connsiteX11" fmla="*/ 44072 w 595535"/>
              <a:gd name="connsiteY11" fmla="*/ 0 h 107094"/>
              <a:gd name="connsiteX12" fmla="*/ 38221 w 595535"/>
              <a:gd name="connsiteY12" fmla="*/ 28065 h 107094"/>
              <a:gd name="connsiteX13" fmla="*/ 60630 w 595535"/>
              <a:gd name="connsiteY13" fmla="*/ 28065 h 107094"/>
              <a:gd name="connsiteX14" fmla="*/ 66481 w 595535"/>
              <a:gd name="connsiteY14" fmla="*/ 0 h 107094"/>
              <a:gd name="connsiteX15" fmla="*/ 78434 w 595535"/>
              <a:gd name="connsiteY15" fmla="*/ 0 h 107094"/>
              <a:gd name="connsiteX16" fmla="*/ 72582 w 595535"/>
              <a:gd name="connsiteY16" fmla="*/ 28065 h 107094"/>
              <a:gd name="connsiteX17" fmla="*/ 89327 w 595535"/>
              <a:gd name="connsiteY17" fmla="*/ 28065 h 107094"/>
              <a:gd name="connsiteX18" fmla="*/ 89327 w 595535"/>
              <a:gd name="connsiteY18" fmla="*/ 38519 h 107094"/>
              <a:gd name="connsiteX19" fmla="*/ 70528 w 595535"/>
              <a:gd name="connsiteY19" fmla="*/ 38519 h 107094"/>
              <a:gd name="connsiteX20" fmla="*/ 64988 w 595535"/>
              <a:gd name="connsiteY20" fmla="*/ 65713 h 107094"/>
              <a:gd name="connsiteX21" fmla="*/ 85281 w 595535"/>
              <a:gd name="connsiteY21" fmla="*/ 65713 h 107094"/>
              <a:gd name="connsiteX22" fmla="*/ 85281 w 595535"/>
              <a:gd name="connsiteY22" fmla="*/ 76168 h 107094"/>
              <a:gd name="connsiteX23" fmla="*/ 62747 w 595535"/>
              <a:gd name="connsiteY23" fmla="*/ 76168 h 107094"/>
              <a:gd name="connsiteX24" fmla="*/ 56459 w 595535"/>
              <a:gd name="connsiteY24" fmla="*/ 107095 h 107094"/>
              <a:gd name="connsiteX25" fmla="*/ 44508 w 595535"/>
              <a:gd name="connsiteY25" fmla="*/ 107095 h 107094"/>
              <a:gd name="connsiteX26" fmla="*/ 50795 w 595535"/>
              <a:gd name="connsiteY26" fmla="*/ 76168 h 107094"/>
              <a:gd name="connsiteX27" fmla="*/ 28385 w 595535"/>
              <a:gd name="connsiteY27" fmla="*/ 76168 h 107094"/>
              <a:gd name="connsiteX28" fmla="*/ 22098 w 595535"/>
              <a:gd name="connsiteY28" fmla="*/ 107095 h 107094"/>
              <a:gd name="connsiteX29" fmla="*/ 30626 w 595535"/>
              <a:gd name="connsiteY29" fmla="*/ 65713 h 107094"/>
              <a:gd name="connsiteX30" fmla="*/ 53036 w 595535"/>
              <a:gd name="connsiteY30" fmla="*/ 65713 h 107094"/>
              <a:gd name="connsiteX31" fmla="*/ 58576 w 595535"/>
              <a:gd name="connsiteY31" fmla="*/ 38519 h 107094"/>
              <a:gd name="connsiteX32" fmla="*/ 36166 w 595535"/>
              <a:gd name="connsiteY32" fmla="*/ 38519 h 107094"/>
              <a:gd name="connsiteX33" fmla="*/ 30626 w 595535"/>
              <a:gd name="connsiteY33" fmla="*/ 65713 h 107094"/>
              <a:gd name="connsiteX34" fmla="*/ 107815 w 595535"/>
              <a:gd name="connsiteY34" fmla="*/ 0 h 107094"/>
              <a:gd name="connsiteX35" fmla="*/ 173239 w 595535"/>
              <a:gd name="connsiteY35" fmla="*/ 0 h 107094"/>
              <a:gd name="connsiteX36" fmla="*/ 173239 w 595535"/>
              <a:gd name="connsiteY36" fmla="*/ 12881 h 107094"/>
              <a:gd name="connsiteX37" fmla="*/ 121883 w 595535"/>
              <a:gd name="connsiteY37" fmla="*/ 12881 h 107094"/>
              <a:gd name="connsiteX38" fmla="*/ 121883 w 595535"/>
              <a:gd name="connsiteY38" fmla="*/ 48413 h 107094"/>
              <a:gd name="connsiteX39" fmla="*/ 165520 w 595535"/>
              <a:gd name="connsiteY39" fmla="*/ 48413 h 107094"/>
              <a:gd name="connsiteX40" fmla="*/ 165520 w 595535"/>
              <a:gd name="connsiteY40" fmla="*/ 61108 h 107094"/>
              <a:gd name="connsiteX41" fmla="*/ 121883 w 595535"/>
              <a:gd name="connsiteY41" fmla="*/ 61108 h 107094"/>
              <a:gd name="connsiteX42" fmla="*/ 121883 w 595535"/>
              <a:gd name="connsiteY42" fmla="*/ 107095 h 107094"/>
              <a:gd name="connsiteX43" fmla="*/ 107815 w 595535"/>
              <a:gd name="connsiteY43" fmla="*/ 107095 h 107094"/>
              <a:gd name="connsiteX44" fmla="*/ 107815 w 595535"/>
              <a:gd name="connsiteY44" fmla="*/ 0 h 107094"/>
              <a:gd name="connsiteX45" fmla="*/ 192723 w 595535"/>
              <a:gd name="connsiteY45" fmla="*/ 0 h 107094"/>
              <a:gd name="connsiteX46" fmla="*/ 258146 w 595535"/>
              <a:gd name="connsiteY46" fmla="*/ 0 h 107094"/>
              <a:gd name="connsiteX47" fmla="*/ 258146 w 595535"/>
              <a:gd name="connsiteY47" fmla="*/ 12881 h 107094"/>
              <a:gd name="connsiteX48" fmla="*/ 206791 w 595535"/>
              <a:gd name="connsiteY48" fmla="*/ 12881 h 107094"/>
              <a:gd name="connsiteX49" fmla="*/ 206791 w 595535"/>
              <a:gd name="connsiteY49" fmla="*/ 48413 h 107094"/>
              <a:gd name="connsiteX50" fmla="*/ 250427 w 595535"/>
              <a:gd name="connsiteY50" fmla="*/ 48413 h 107094"/>
              <a:gd name="connsiteX51" fmla="*/ 250427 w 595535"/>
              <a:gd name="connsiteY51" fmla="*/ 61108 h 107094"/>
              <a:gd name="connsiteX52" fmla="*/ 206791 w 595535"/>
              <a:gd name="connsiteY52" fmla="*/ 61108 h 107094"/>
              <a:gd name="connsiteX53" fmla="*/ 206791 w 595535"/>
              <a:gd name="connsiteY53" fmla="*/ 107095 h 107094"/>
              <a:gd name="connsiteX54" fmla="*/ 192723 w 595535"/>
              <a:gd name="connsiteY54" fmla="*/ 107095 h 107094"/>
              <a:gd name="connsiteX55" fmla="*/ 192723 w 595535"/>
              <a:gd name="connsiteY55" fmla="*/ 0 h 107094"/>
              <a:gd name="connsiteX56" fmla="*/ 277630 w 595535"/>
              <a:gd name="connsiteY56" fmla="*/ 0 h 107094"/>
              <a:gd name="connsiteX57" fmla="*/ 343988 w 595535"/>
              <a:gd name="connsiteY57" fmla="*/ 0 h 107094"/>
              <a:gd name="connsiteX58" fmla="*/ 343988 w 595535"/>
              <a:gd name="connsiteY58" fmla="*/ 12881 h 107094"/>
              <a:gd name="connsiteX59" fmla="*/ 291698 w 595535"/>
              <a:gd name="connsiteY59" fmla="*/ 12881 h 107094"/>
              <a:gd name="connsiteX60" fmla="*/ 291698 w 595535"/>
              <a:gd name="connsiteY60" fmla="*/ 45240 h 107094"/>
              <a:gd name="connsiteX61" fmla="*/ 336082 w 595535"/>
              <a:gd name="connsiteY61" fmla="*/ 45240 h 107094"/>
              <a:gd name="connsiteX62" fmla="*/ 336082 w 595535"/>
              <a:gd name="connsiteY62" fmla="*/ 57934 h 107094"/>
              <a:gd name="connsiteX63" fmla="*/ 291698 w 595535"/>
              <a:gd name="connsiteY63" fmla="*/ 57934 h 107094"/>
              <a:gd name="connsiteX64" fmla="*/ 291698 w 595535"/>
              <a:gd name="connsiteY64" fmla="*/ 94400 h 107094"/>
              <a:gd name="connsiteX65" fmla="*/ 344735 w 595535"/>
              <a:gd name="connsiteY65" fmla="*/ 94400 h 107094"/>
              <a:gd name="connsiteX66" fmla="*/ 344735 w 595535"/>
              <a:gd name="connsiteY66" fmla="*/ 107095 h 107094"/>
              <a:gd name="connsiteX67" fmla="*/ 277630 w 595535"/>
              <a:gd name="connsiteY67" fmla="*/ 107095 h 107094"/>
              <a:gd name="connsiteX68" fmla="*/ 277630 w 595535"/>
              <a:gd name="connsiteY68" fmla="*/ 0 h 107094"/>
              <a:gd name="connsiteX69" fmla="*/ 366957 w 595535"/>
              <a:gd name="connsiteY69" fmla="*/ 0 h 107094"/>
              <a:gd name="connsiteX70" fmla="*/ 403249 w 595535"/>
              <a:gd name="connsiteY70" fmla="*/ 0 h 107094"/>
              <a:gd name="connsiteX71" fmla="*/ 429953 w 595535"/>
              <a:gd name="connsiteY71" fmla="*/ 5974 h 107094"/>
              <a:gd name="connsiteX72" fmla="*/ 439228 w 595535"/>
              <a:gd name="connsiteY72" fmla="*/ 26136 h 107094"/>
              <a:gd name="connsiteX73" fmla="*/ 433439 w 595535"/>
              <a:gd name="connsiteY73" fmla="*/ 43622 h 107094"/>
              <a:gd name="connsiteX74" fmla="*/ 417877 w 595535"/>
              <a:gd name="connsiteY74" fmla="*/ 51525 h 107094"/>
              <a:gd name="connsiteX75" fmla="*/ 436677 w 595535"/>
              <a:gd name="connsiteY75" fmla="*/ 58868 h 107094"/>
              <a:gd name="connsiteX76" fmla="*/ 443150 w 595535"/>
              <a:gd name="connsiteY76" fmla="*/ 76168 h 107094"/>
              <a:gd name="connsiteX77" fmla="*/ 437921 w 595535"/>
              <a:gd name="connsiteY77" fmla="*/ 94089 h 107094"/>
              <a:gd name="connsiteX78" fmla="*/ 423541 w 595535"/>
              <a:gd name="connsiteY78" fmla="*/ 104108 h 107094"/>
              <a:gd name="connsiteX79" fmla="*/ 402937 w 595535"/>
              <a:gd name="connsiteY79" fmla="*/ 107095 h 107094"/>
              <a:gd name="connsiteX80" fmla="*/ 366957 w 595535"/>
              <a:gd name="connsiteY80" fmla="*/ 107095 h 107094"/>
              <a:gd name="connsiteX81" fmla="*/ 366957 w 595535"/>
              <a:gd name="connsiteY81" fmla="*/ 0 h 107094"/>
              <a:gd name="connsiteX82" fmla="*/ 402190 w 595535"/>
              <a:gd name="connsiteY82" fmla="*/ 45738 h 107094"/>
              <a:gd name="connsiteX83" fmla="*/ 418624 w 595535"/>
              <a:gd name="connsiteY83" fmla="*/ 41257 h 107094"/>
              <a:gd name="connsiteX84" fmla="*/ 425036 w 595535"/>
              <a:gd name="connsiteY84" fmla="*/ 26882 h 107094"/>
              <a:gd name="connsiteX85" fmla="*/ 419371 w 595535"/>
              <a:gd name="connsiteY85" fmla="*/ 15868 h 107094"/>
              <a:gd name="connsiteX86" fmla="*/ 403249 w 595535"/>
              <a:gd name="connsiteY86" fmla="*/ 12881 h 107094"/>
              <a:gd name="connsiteX87" fmla="*/ 380963 w 595535"/>
              <a:gd name="connsiteY87" fmla="*/ 12881 h 107094"/>
              <a:gd name="connsiteX88" fmla="*/ 380963 w 595535"/>
              <a:gd name="connsiteY88" fmla="*/ 45738 h 107094"/>
              <a:gd name="connsiteX89" fmla="*/ 402190 w 595535"/>
              <a:gd name="connsiteY89" fmla="*/ 45738 h 107094"/>
              <a:gd name="connsiteX90" fmla="*/ 402937 w 595535"/>
              <a:gd name="connsiteY90" fmla="*/ 94400 h 107094"/>
              <a:gd name="connsiteX91" fmla="*/ 421300 w 595535"/>
              <a:gd name="connsiteY91" fmla="*/ 90542 h 107094"/>
              <a:gd name="connsiteX92" fmla="*/ 428335 w 595535"/>
              <a:gd name="connsiteY92" fmla="*/ 76478 h 107094"/>
              <a:gd name="connsiteX93" fmla="*/ 421737 w 595535"/>
              <a:gd name="connsiteY93" fmla="*/ 62415 h 107094"/>
              <a:gd name="connsiteX94" fmla="*/ 401319 w 595535"/>
              <a:gd name="connsiteY94" fmla="*/ 58433 h 107094"/>
              <a:gd name="connsiteX95" fmla="*/ 380963 w 595535"/>
              <a:gd name="connsiteY95" fmla="*/ 58433 h 107094"/>
              <a:gd name="connsiteX96" fmla="*/ 380963 w 595535"/>
              <a:gd name="connsiteY96" fmla="*/ 94400 h 107094"/>
              <a:gd name="connsiteX97" fmla="*/ 402937 w 595535"/>
              <a:gd name="connsiteY97" fmla="*/ 94400 h 107094"/>
              <a:gd name="connsiteX98" fmla="*/ 463256 w 595535"/>
              <a:gd name="connsiteY98" fmla="*/ 0 h 107094"/>
              <a:gd name="connsiteX99" fmla="*/ 529551 w 595535"/>
              <a:gd name="connsiteY99" fmla="*/ 0 h 107094"/>
              <a:gd name="connsiteX100" fmla="*/ 529551 w 595535"/>
              <a:gd name="connsiteY100" fmla="*/ 12881 h 107094"/>
              <a:gd name="connsiteX101" fmla="*/ 477262 w 595535"/>
              <a:gd name="connsiteY101" fmla="*/ 12881 h 107094"/>
              <a:gd name="connsiteX102" fmla="*/ 477262 w 595535"/>
              <a:gd name="connsiteY102" fmla="*/ 45240 h 107094"/>
              <a:gd name="connsiteX103" fmla="*/ 521646 w 595535"/>
              <a:gd name="connsiteY103" fmla="*/ 45240 h 107094"/>
              <a:gd name="connsiteX104" fmla="*/ 521646 w 595535"/>
              <a:gd name="connsiteY104" fmla="*/ 57934 h 107094"/>
              <a:gd name="connsiteX105" fmla="*/ 477262 w 595535"/>
              <a:gd name="connsiteY105" fmla="*/ 57934 h 107094"/>
              <a:gd name="connsiteX106" fmla="*/ 477262 w 595535"/>
              <a:gd name="connsiteY106" fmla="*/ 94400 h 107094"/>
              <a:gd name="connsiteX107" fmla="*/ 530298 w 595535"/>
              <a:gd name="connsiteY107" fmla="*/ 94400 h 107094"/>
              <a:gd name="connsiteX108" fmla="*/ 530298 w 595535"/>
              <a:gd name="connsiteY108" fmla="*/ 107095 h 107094"/>
              <a:gd name="connsiteX109" fmla="*/ 463256 w 595535"/>
              <a:gd name="connsiteY109" fmla="*/ 107095 h 107094"/>
              <a:gd name="connsiteX110" fmla="*/ 463256 w 595535"/>
              <a:gd name="connsiteY110" fmla="*/ 0 h 107094"/>
              <a:gd name="connsiteX111" fmla="*/ 595535 w 595535"/>
              <a:gd name="connsiteY111" fmla="*/ 107095 h 107094"/>
              <a:gd name="connsiteX112" fmla="*/ 581965 w 595535"/>
              <a:gd name="connsiteY112" fmla="*/ 107095 h 107094"/>
              <a:gd name="connsiteX113" fmla="*/ 581965 w 595535"/>
              <a:gd name="connsiteY113" fmla="*/ 16864 h 107094"/>
              <a:gd name="connsiteX114" fmla="*/ 552397 w 595535"/>
              <a:gd name="connsiteY114" fmla="*/ 39577 h 107094"/>
              <a:gd name="connsiteX115" fmla="*/ 552397 w 595535"/>
              <a:gd name="connsiteY115" fmla="*/ 24518 h 107094"/>
              <a:gd name="connsiteX116" fmla="*/ 584206 w 595535"/>
              <a:gd name="connsiteY116" fmla="*/ 0 h 107094"/>
              <a:gd name="connsiteX117" fmla="*/ 595535 w 595535"/>
              <a:gd name="connsiteY117" fmla="*/ 0 h 107094"/>
              <a:gd name="connsiteX118" fmla="*/ 595535 w 595535"/>
              <a:gd name="connsiteY118" fmla="*/ 107095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595535" h="107094">
                <a:moveTo>
                  <a:pt x="22098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69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7" y="28065"/>
                </a:lnTo>
                <a:lnTo>
                  <a:pt x="89327" y="38519"/>
                </a:lnTo>
                <a:lnTo>
                  <a:pt x="70528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59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5" y="76168"/>
                </a:lnTo>
                <a:lnTo>
                  <a:pt x="22098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6" y="38519"/>
                </a:lnTo>
                <a:lnTo>
                  <a:pt x="30626" y="65713"/>
                </a:lnTo>
                <a:close/>
                <a:moveTo>
                  <a:pt x="107815" y="0"/>
                </a:moveTo>
                <a:lnTo>
                  <a:pt x="173239" y="0"/>
                </a:lnTo>
                <a:lnTo>
                  <a:pt x="173239" y="12881"/>
                </a:lnTo>
                <a:lnTo>
                  <a:pt x="121883" y="12881"/>
                </a:lnTo>
                <a:lnTo>
                  <a:pt x="121883" y="48413"/>
                </a:lnTo>
                <a:lnTo>
                  <a:pt x="165520" y="48413"/>
                </a:lnTo>
                <a:lnTo>
                  <a:pt x="165520" y="61108"/>
                </a:lnTo>
                <a:lnTo>
                  <a:pt x="121883" y="61108"/>
                </a:lnTo>
                <a:lnTo>
                  <a:pt x="121883" y="107095"/>
                </a:lnTo>
                <a:lnTo>
                  <a:pt x="107815" y="107095"/>
                </a:lnTo>
                <a:lnTo>
                  <a:pt x="107815" y="0"/>
                </a:lnTo>
                <a:close/>
                <a:moveTo>
                  <a:pt x="192723" y="0"/>
                </a:moveTo>
                <a:lnTo>
                  <a:pt x="258146" y="0"/>
                </a:lnTo>
                <a:lnTo>
                  <a:pt x="258146" y="12881"/>
                </a:lnTo>
                <a:lnTo>
                  <a:pt x="206791" y="12881"/>
                </a:lnTo>
                <a:lnTo>
                  <a:pt x="206791" y="48413"/>
                </a:lnTo>
                <a:lnTo>
                  <a:pt x="250427" y="48413"/>
                </a:lnTo>
                <a:lnTo>
                  <a:pt x="250427" y="61108"/>
                </a:lnTo>
                <a:lnTo>
                  <a:pt x="206791" y="61108"/>
                </a:lnTo>
                <a:lnTo>
                  <a:pt x="206791" y="107095"/>
                </a:lnTo>
                <a:lnTo>
                  <a:pt x="192723" y="107095"/>
                </a:lnTo>
                <a:lnTo>
                  <a:pt x="192723" y="0"/>
                </a:lnTo>
                <a:close/>
                <a:moveTo>
                  <a:pt x="277630" y="0"/>
                </a:moveTo>
                <a:lnTo>
                  <a:pt x="343988" y="0"/>
                </a:lnTo>
                <a:lnTo>
                  <a:pt x="343988" y="12881"/>
                </a:lnTo>
                <a:lnTo>
                  <a:pt x="291698" y="12881"/>
                </a:lnTo>
                <a:lnTo>
                  <a:pt x="291698" y="45240"/>
                </a:lnTo>
                <a:lnTo>
                  <a:pt x="336082" y="45240"/>
                </a:lnTo>
                <a:lnTo>
                  <a:pt x="336082" y="57934"/>
                </a:lnTo>
                <a:lnTo>
                  <a:pt x="291698" y="57934"/>
                </a:lnTo>
                <a:lnTo>
                  <a:pt x="291698" y="94400"/>
                </a:lnTo>
                <a:lnTo>
                  <a:pt x="344735" y="94400"/>
                </a:lnTo>
                <a:lnTo>
                  <a:pt x="344735" y="107095"/>
                </a:lnTo>
                <a:lnTo>
                  <a:pt x="277630" y="107095"/>
                </a:lnTo>
                <a:lnTo>
                  <a:pt x="277630" y="0"/>
                </a:lnTo>
                <a:close/>
                <a:moveTo>
                  <a:pt x="366957" y="0"/>
                </a:moveTo>
                <a:lnTo>
                  <a:pt x="403249" y="0"/>
                </a:lnTo>
                <a:cubicBezTo>
                  <a:pt x="415013" y="0"/>
                  <a:pt x="423915" y="1991"/>
                  <a:pt x="429953" y="5974"/>
                </a:cubicBezTo>
                <a:cubicBezTo>
                  <a:pt x="436178" y="9956"/>
                  <a:pt x="439228" y="16677"/>
                  <a:pt x="439228" y="26136"/>
                </a:cubicBezTo>
                <a:cubicBezTo>
                  <a:pt x="439228" y="33790"/>
                  <a:pt x="437299" y="39639"/>
                  <a:pt x="433439" y="43622"/>
                </a:cubicBezTo>
                <a:cubicBezTo>
                  <a:pt x="429518" y="47480"/>
                  <a:pt x="424351" y="50156"/>
                  <a:pt x="417877" y="51525"/>
                </a:cubicBezTo>
                <a:cubicBezTo>
                  <a:pt x="426156" y="52520"/>
                  <a:pt x="432443" y="54947"/>
                  <a:pt x="436677" y="58868"/>
                </a:cubicBezTo>
                <a:cubicBezTo>
                  <a:pt x="440971" y="62664"/>
                  <a:pt x="443150" y="68389"/>
                  <a:pt x="443150" y="76168"/>
                </a:cubicBezTo>
                <a:cubicBezTo>
                  <a:pt x="443150" y="83572"/>
                  <a:pt x="441407" y="89547"/>
                  <a:pt x="437921" y="94089"/>
                </a:cubicBezTo>
                <a:cubicBezTo>
                  <a:pt x="434435" y="98694"/>
                  <a:pt x="429642" y="101992"/>
                  <a:pt x="423541" y="104108"/>
                </a:cubicBezTo>
                <a:cubicBezTo>
                  <a:pt x="417503" y="106099"/>
                  <a:pt x="410594" y="107095"/>
                  <a:pt x="402937" y="107095"/>
                </a:cubicBezTo>
                <a:lnTo>
                  <a:pt x="366957" y="107095"/>
                </a:lnTo>
                <a:lnTo>
                  <a:pt x="366957" y="0"/>
                </a:lnTo>
                <a:close/>
                <a:moveTo>
                  <a:pt x="402190" y="45738"/>
                </a:moveTo>
                <a:cubicBezTo>
                  <a:pt x="408975" y="45738"/>
                  <a:pt x="414453" y="44244"/>
                  <a:pt x="418624" y="41257"/>
                </a:cubicBezTo>
                <a:cubicBezTo>
                  <a:pt x="422919" y="38146"/>
                  <a:pt x="425036" y="33354"/>
                  <a:pt x="425036" y="26882"/>
                </a:cubicBezTo>
                <a:cubicBezTo>
                  <a:pt x="425036" y="21406"/>
                  <a:pt x="423168" y="17735"/>
                  <a:pt x="419371" y="15868"/>
                </a:cubicBezTo>
                <a:cubicBezTo>
                  <a:pt x="415574" y="13877"/>
                  <a:pt x="410221" y="12881"/>
                  <a:pt x="403249" y="12881"/>
                </a:cubicBezTo>
                <a:lnTo>
                  <a:pt x="380963" y="12881"/>
                </a:lnTo>
                <a:lnTo>
                  <a:pt x="380963" y="45738"/>
                </a:lnTo>
                <a:lnTo>
                  <a:pt x="402190" y="45738"/>
                </a:lnTo>
                <a:close/>
                <a:moveTo>
                  <a:pt x="402937" y="94400"/>
                </a:moveTo>
                <a:cubicBezTo>
                  <a:pt x="410532" y="94400"/>
                  <a:pt x="416632" y="93093"/>
                  <a:pt x="421300" y="90542"/>
                </a:cubicBezTo>
                <a:cubicBezTo>
                  <a:pt x="425969" y="87929"/>
                  <a:pt x="428335" y="83262"/>
                  <a:pt x="428335" y="76478"/>
                </a:cubicBezTo>
                <a:cubicBezTo>
                  <a:pt x="428335" y="69696"/>
                  <a:pt x="426156" y="65028"/>
                  <a:pt x="421737" y="62415"/>
                </a:cubicBezTo>
                <a:cubicBezTo>
                  <a:pt x="417503" y="59739"/>
                  <a:pt x="410656" y="58433"/>
                  <a:pt x="401319" y="58433"/>
                </a:cubicBezTo>
                <a:lnTo>
                  <a:pt x="380963" y="58433"/>
                </a:lnTo>
                <a:lnTo>
                  <a:pt x="380963" y="94400"/>
                </a:lnTo>
                <a:lnTo>
                  <a:pt x="402937" y="94400"/>
                </a:lnTo>
                <a:close/>
                <a:moveTo>
                  <a:pt x="463256" y="0"/>
                </a:moveTo>
                <a:lnTo>
                  <a:pt x="529551" y="0"/>
                </a:lnTo>
                <a:lnTo>
                  <a:pt x="529551" y="12881"/>
                </a:lnTo>
                <a:lnTo>
                  <a:pt x="477262" y="12881"/>
                </a:lnTo>
                <a:lnTo>
                  <a:pt x="477262" y="45240"/>
                </a:lnTo>
                <a:lnTo>
                  <a:pt x="521646" y="45240"/>
                </a:lnTo>
                <a:lnTo>
                  <a:pt x="521646" y="57934"/>
                </a:lnTo>
                <a:lnTo>
                  <a:pt x="477262" y="57934"/>
                </a:lnTo>
                <a:lnTo>
                  <a:pt x="477262" y="94400"/>
                </a:lnTo>
                <a:lnTo>
                  <a:pt x="530298" y="94400"/>
                </a:lnTo>
                <a:lnTo>
                  <a:pt x="530298" y="107095"/>
                </a:lnTo>
                <a:lnTo>
                  <a:pt x="463256" y="107095"/>
                </a:lnTo>
                <a:lnTo>
                  <a:pt x="463256" y="0"/>
                </a:lnTo>
                <a:close/>
                <a:moveTo>
                  <a:pt x="595535" y="107095"/>
                </a:moveTo>
                <a:lnTo>
                  <a:pt x="581965" y="107095"/>
                </a:lnTo>
                <a:lnTo>
                  <a:pt x="581965" y="16864"/>
                </a:lnTo>
                <a:lnTo>
                  <a:pt x="552397" y="39577"/>
                </a:lnTo>
                <a:lnTo>
                  <a:pt x="552397" y="24518"/>
                </a:lnTo>
                <a:lnTo>
                  <a:pt x="584206" y="0"/>
                </a:lnTo>
                <a:lnTo>
                  <a:pt x="595535" y="0"/>
                </a:lnTo>
                <a:lnTo>
                  <a:pt x="595535" y="107095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1" name="Полилиния 1060">
            <a:extLst>
              <a:ext uri="{FF2B5EF4-FFF2-40B4-BE49-F238E27FC236}">
                <a16:creationId xmlns:a16="http://schemas.microsoft.com/office/drawing/2014/main" id="{BC7709ED-63E5-C1CB-1269-4B85B7CC7DB0}"/>
              </a:ext>
            </a:extLst>
          </p:cNvPr>
          <p:cNvSpPr/>
          <p:nvPr userDrawn="1"/>
        </p:nvSpPr>
        <p:spPr>
          <a:xfrm>
            <a:off x="16903366" y="3787620"/>
            <a:ext cx="1398954" cy="726227"/>
          </a:xfrm>
          <a:custGeom>
            <a:avLst/>
            <a:gdLst>
              <a:gd name="connsiteX0" fmla="*/ 638 w 1198727"/>
              <a:gd name="connsiteY0" fmla="*/ 1022 h 622284"/>
              <a:gd name="connsiteX1" fmla="*/ 1199366 w 1198727"/>
              <a:gd name="connsiteY1" fmla="*/ 1022 h 622284"/>
              <a:gd name="connsiteX2" fmla="*/ 1199366 w 1198727"/>
              <a:gd name="connsiteY2" fmla="*/ 623306 h 622284"/>
              <a:gd name="connsiteX3" fmla="*/ 638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022"/>
                </a:moveTo>
                <a:lnTo>
                  <a:pt x="1199366" y="1022"/>
                </a:lnTo>
                <a:lnTo>
                  <a:pt x="1199366" y="623306"/>
                </a:lnTo>
                <a:lnTo>
                  <a:pt x="638" y="623306"/>
                </a:lnTo>
                <a:close/>
              </a:path>
            </a:pathLst>
          </a:custGeom>
          <a:solidFill>
            <a:srgbClr val="55003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2" name="Полилиния 1061">
            <a:extLst>
              <a:ext uri="{FF2B5EF4-FFF2-40B4-BE49-F238E27FC236}">
                <a16:creationId xmlns:a16="http://schemas.microsoft.com/office/drawing/2014/main" id="{FD9525C6-B229-9BEB-33D8-C3972ECAA2F2}"/>
              </a:ext>
            </a:extLst>
          </p:cNvPr>
          <p:cNvSpPr/>
          <p:nvPr userDrawn="1"/>
        </p:nvSpPr>
        <p:spPr>
          <a:xfrm>
            <a:off x="17026576" y="4089368"/>
            <a:ext cx="678707" cy="128468"/>
          </a:xfrm>
          <a:custGeom>
            <a:avLst/>
            <a:gdLst>
              <a:gd name="connsiteX0" fmla="*/ 22111 w 581566"/>
              <a:gd name="connsiteY0" fmla="*/ 108588 h 110081"/>
              <a:gd name="connsiteX1" fmla="*/ 10159 w 581566"/>
              <a:gd name="connsiteY1" fmla="*/ 108588 h 110081"/>
              <a:gd name="connsiteX2" fmla="*/ 16433 w 581566"/>
              <a:gd name="connsiteY2" fmla="*/ 77661 h 110081"/>
              <a:gd name="connsiteX3" fmla="*/ 0 w 581566"/>
              <a:gd name="connsiteY3" fmla="*/ 77661 h 110081"/>
              <a:gd name="connsiteX4" fmla="*/ 0 w 581566"/>
              <a:gd name="connsiteY4" fmla="*/ 67206 h 110081"/>
              <a:gd name="connsiteX5" fmla="*/ 18675 w 581566"/>
              <a:gd name="connsiteY5" fmla="*/ 67206 h 110081"/>
              <a:gd name="connsiteX6" fmla="*/ 24202 w 581566"/>
              <a:gd name="connsiteY6" fmla="*/ 40012 h 110081"/>
              <a:gd name="connsiteX7" fmla="*/ 4033 w 581566"/>
              <a:gd name="connsiteY7" fmla="*/ 40012 h 110081"/>
              <a:gd name="connsiteX8" fmla="*/ 4033 w 581566"/>
              <a:gd name="connsiteY8" fmla="*/ 29559 h 110081"/>
              <a:gd name="connsiteX9" fmla="*/ 26294 w 581566"/>
              <a:gd name="connsiteY9" fmla="*/ 29559 h 110081"/>
              <a:gd name="connsiteX10" fmla="*/ 32120 w 581566"/>
              <a:gd name="connsiteY10" fmla="*/ 1493 h 110081"/>
              <a:gd name="connsiteX11" fmla="*/ 44072 w 581566"/>
              <a:gd name="connsiteY11" fmla="*/ 1493 h 110081"/>
              <a:gd name="connsiteX12" fmla="*/ 38246 w 581566"/>
              <a:gd name="connsiteY12" fmla="*/ 29559 h 110081"/>
              <a:gd name="connsiteX13" fmla="*/ 60655 w 581566"/>
              <a:gd name="connsiteY13" fmla="*/ 29559 h 110081"/>
              <a:gd name="connsiteX14" fmla="*/ 66482 w 581566"/>
              <a:gd name="connsiteY14" fmla="*/ 1493 h 110081"/>
              <a:gd name="connsiteX15" fmla="*/ 78434 w 581566"/>
              <a:gd name="connsiteY15" fmla="*/ 1493 h 110081"/>
              <a:gd name="connsiteX16" fmla="*/ 72607 w 581566"/>
              <a:gd name="connsiteY16" fmla="*/ 29559 h 110081"/>
              <a:gd name="connsiteX17" fmla="*/ 89340 w 581566"/>
              <a:gd name="connsiteY17" fmla="*/ 29559 h 110081"/>
              <a:gd name="connsiteX18" fmla="*/ 89340 w 581566"/>
              <a:gd name="connsiteY18" fmla="*/ 40012 h 110081"/>
              <a:gd name="connsiteX19" fmla="*/ 70516 w 581566"/>
              <a:gd name="connsiteY19" fmla="*/ 40012 h 110081"/>
              <a:gd name="connsiteX20" fmla="*/ 64988 w 581566"/>
              <a:gd name="connsiteY20" fmla="*/ 67206 h 110081"/>
              <a:gd name="connsiteX21" fmla="*/ 85306 w 581566"/>
              <a:gd name="connsiteY21" fmla="*/ 67206 h 110081"/>
              <a:gd name="connsiteX22" fmla="*/ 85306 w 581566"/>
              <a:gd name="connsiteY22" fmla="*/ 77661 h 110081"/>
              <a:gd name="connsiteX23" fmla="*/ 62747 w 581566"/>
              <a:gd name="connsiteY23" fmla="*/ 77661 h 110081"/>
              <a:gd name="connsiteX24" fmla="*/ 56472 w 581566"/>
              <a:gd name="connsiteY24" fmla="*/ 108588 h 110081"/>
              <a:gd name="connsiteX25" fmla="*/ 44520 w 581566"/>
              <a:gd name="connsiteY25" fmla="*/ 108588 h 110081"/>
              <a:gd name="connsiteX26" fmla="*/ 50795 w 581566"/>
              <a:gd name="connsiteY26" fmla="*/ 77661 h 110081"/>
              <a:gd name="connsiteX27" fmla="*/ 28386 w 581566"/>
              <a:gd name="connsiteY27" fmla="*/ 77661 h 110081"/>
              <a:gd name="connsiteX28" fmla="*/ 22111 w 581566"/>
              <a:gd name="connsiteY28" fmla="*/ 108588 h 110081"/>
              <a:gd name="connsiteX29" fmla="*/ 30626 w 581566"/>
              <a:gd name="connsiteY29" fmla="*/ 67206 h 110081"/>
              <a:gd name="connsiteX30" fmla="*/ 53036 w 581566"/>
              <a:gd name="connsiteY30" fmla="*/ 67206 h 110081"/>
              <a:gd name="connsiteX31" fmla="*/ 58564 w 581566"/>
              <a:gd name="connsiteY31" fmla="*/ 40012 h 110081"/>
              <a:gd name="connsiteX32" fmla="*/ 36154 w 581566"/>
              <a:gd name="connsiteY32" fmla="*/ 40012 h 110081"/>
              <a:gd name="connsiteX33" fmla="*/ 30626 w 581566"/>
              <a:gd name="connsiteY33" fmla="*/ 67206 h 110081"/>
              <a:gd name="connsiteX34" fmla="*/ 131731 w 581566"/>
              <a:gd name="connsiteY34" fmla="*/ 110082 h 110081"/>
              <a:gd name="connsiteX35" fmla="*/ 103196 w 581566"/>
              <a:gd name="connsiteY35" fmla="*/ 102490 h 110081"/>
              <a:gd name="connsiteX36" fmla="*/ 103196 w 581566"/>
              <a:gd name="connsiteY36" fmla="*/ 87804 h 110081"/>
              <a:gd name="connsiteX37" fmla="*/ 116343 w 581566"/>
              <a:gd name="connsiteY37" fmla="*/ 95458 h 110081"/>
              <a:gd name="connsiteX38" fmla="*/ 131731 w 581566"/>
              <a:gd name="connsiteY38" fmla="*/ 97823 h 110081"/>
              <a:gd name="connsiteX39" fmla="*/ 148762 w 581566"/>
              <a:gd name="connsiteY39" fmla="*/ 91102 h 110081"/>
              <a:gd name="connsiteX40" fmla="*/ 154888 w 581566"/>
              <a:gd name="connsiteY40" fmla="*/ 73491 h 110081"/>
              <a:gd name="connsiteX41" fmla="*/ 148912 w 581566"/>
              <a:gd name="connsiteY41" fmla="*/ 56441 h 110081"/>
              <a:gd name="connsiteX42" fmla="*/ 133823 w 581566"/>
              <a:gd name="connsiteY42" fmla="*/ 51089 h 110081"/>
              <a:gd name="connsiteX43" fmla="*/ 123216 w 581566"/>
              <a:gd name="connsiteY43" fmla="*/ 53329 h 110081"/>
              <a:gd name="connsiteX44" fmla="*/ 117090 w 581566"/>
              <a:gd name="connsiteY44" fmla="*/ 57810 h 110081"/>
              <a:gd name="connsiteX45" fmla="*/ 106184 w 581566"/>
              <a:gd name="connsiteY45" fmla="*/ 57810 h 110081"/>
              <a:gd name="connsiteX46" fmla="*/ 106184 w 581566"/>
              <a:gd name="connsiteY46" fmla="*/ 1493 h 110081"/>
              <a:gd name="connsiteX47" fmla="*/ 164150 w 581566"/>
              <a:gd name="connsiteY47" fmla="*/ 1493 h 110081"/>
              <a:gd name="connsiteX48" fmla="*/ 164150 w 581566"/>
              <a:gd name="connsiteY48" fmla="*/ 14374 h 110081"/>
              <a:gd name="connsiteX49" fmla="*/ 118435 w 581566"/>
              <a:gd name="connsiteY49" fmla="*/ 14374 h 110081"/>
              <a:gd name="connsiteX50" fmla="*/ 118435 w 581566"/>
              <a:gd name="connsiteY50" fmla="*/ 44991 h 110081"/>
              <a:gd name="connsiteX51" fmla="*/ 125755 w 581566"/>
              <a:gd name="connsiteY51" fmla="*/ 41071 h 110081"/>
              <a:gd name="connsiteX52" fmla="*/ 136064 w 581566"/>
              <a:gd name="connsiteY52" fmla="*/ 39266 h 110081"/>
              <a:gd name="connsiteX53" fmla="*/ 152796 w 581566"/>
              <a:gd name="connsiteY53" fmla="*/ 43186 h 110081"/>
              <a:gd name="connsiteX54" fmla="*/ 164598 w 581566"/>
              <a:gd name="connsiteY54" fmla="*/ 54512 h 110081"/>
              <a:gd name="connsiteX55" fmla="*/ 169081 w 581566"/>
              <a:gd name="connsiteY55" fmla="*/ 73181 h 110081"/>
              <a:gd name="connsiteX56" fmla="*/ 164449 w 581566"/>
              <a:gd name="connsiteY56" fmla="*/ 92596 h 110081"/>
              <a:gd name="connsiteX57" fmla="*/ 151601 w 581566"/>
              <a:gd name="connsiteY57" fmla="*/ 105601 h 110081"/>
              <a:gd name="connsiteX58" fmla="*/ 131731 w 581566"/>
              <a:gd name="connsiteY58" fmla="*/ 110082 h 110081"/>
              <a:gd name="connsiteX59" fmla="*/ 213869 w 581566"/>
              <a:gd name="connsiteY59" fmla="*/ 110082 h 110081"/>
              <a:gd name="connsiteX60" fmla="*/ 185333 w 581566"/>
              <a:gd name="connsiteY60" fmla="*/ 102490 h 110081"/>
              <a:gd name="connsiteX61" fmla="*/ 185333 w 581566"/>
              <a:gd name="connsiteY61" fmla="*/ 87804 h 110081"/>
              <a:gd name="connsiteX62" fmla="*/ 198481 w 581566"/>
              <a:gd name="connsiteY62" fmla="*/ 95458 h 110081"/>
              <a:gd name="connsiteX63" fmla="*/ 213869 w 581566"/>
              <a:gd name="connsiteY63" fmla="*/ 97823 h 110081"/>
              <a:gd name="connsiteX64" fmla="*/ 230900 w 581566"/>
              <a:gd name="connsiteY64" fmla="*/ 91102 h 110081"/>
              <a:gd name="connsiteX65" fmla="*/ 237025 w 581566"/>
              <a:gd name="connsiteY65" fmla="*/ 73491 h 110081"/>
              <a:gd name="connsiteX66" fmla="*/ 231049 w 581566"/>
              <a:gd name="connsiteY66" fmla="*/ 56441 h 110081"/>
              <a:gd name="connsiteX67" fmla="*/ 215960 w 581566"/>
              <a:gd name="connsiteY67" fmla="*/ 51089 h 110081"/>
              <a:gd name="connsiteX68" fmla="*/ 205353 w 581566"/>
              <a:gd name="connsiteY68" fmla="*/ 53329 h 110081"/>
              <a:gd name="connsiteX69" fmla="*/ 199228 w 581566"/>
              <a:gd name="connsiteY69" fmla="*/ 57810 h 110081"/>
              <a:gd name="connsiteX70" fmla="*/ 188322 w 581566"/>
              <a:gd name="connsiteY70" fmla="*/ 57810 h 110081"/>
              <a:gd name="connsiteX71" fmla="*/ 188322 w 581566"/>
              <a:gd name="connsiteY71" fmla="*/ 1493 h 110081"/>
              <a:gd name="connsiteX72" fmla="*/ 246288 w 581566"/>
              <a:gd name="connsiteY72" fmla="*/ 1493 h 110081"/>
              <a:gd name="connsiteX73" fmla="*/ 246288 w 581566"/>
              <a:gd name="connsiteY73" fmla="*/ 14374 h 110081"/>
              <a:gd name="connsiteX74" fmla="*/ 200572 w 581566"/>
              <a:gd name="connsiteY74" fmla="*/ 14374 h 110081"/>
              <a:gd name="connsiteX75" fmla="*/ 200572 w 581566"/>
              <a:gd name="connsiteY75" fmla="*/ 44991 h 110081"/>
              <a:gd name="connsiteX76" fmla="*/ 207893 w 581566"/>
              <a:gd name="connsiteY76" fmla="*/ 41071 h 110081"/>
              <a:gd name="connsiteX77" fmla="*/ 218201 w 581566"/>
              <a:gd name="connsiteY77" fmla="*/ 39266 h 110081"/>
              <a:gd name="connsiteX78" fmla="*/ 234934 w 581566"/>
              <a:gd name="connsiteY78" fmla="*/ 43186 h 110081"/>
              <a:gd name="connsiteX79" fmla="*/ 246736 w 581566"/>
              <a:gd name="connsiteY79" fmla="*/ 54512 h 110081"/>
              <a:gd name="connsiteX80" fmla="*/ 251218 w 581566"/>
              <a:gd name="connsiteY80" fmla="*/ 73181 h 110081"/>
              <a:gd name="connsiteX81" fmla="*/ 246587 w 581566"/>
              <a:gd name="connsiteY81" fmla="*/ 92596 h 110081"/>
              <a:gd name="connsiteX82" fmla="*/ 233738 w 581566"/>
              <a:gd name="connsiteY82" fmla="*/ 105601 h 110081"/>
              <a:gd name="connsiteX83" fmla="*/ 213869 w 581566"/>
              <a:gd name="connsiteY83" fmla="*/ 110082 h 110081"/>
              <a:gd name="connsiteX84" fmla="*/ 300936 w 581566"/>
              <a:gd name="connsiteY84" fmla="*/ 110082 h 110081"/>
              <a:gd name="connsiteX85" fmla="*/ 282710 w 581566"/>
              <a:gd name="connsiteY85" fmla="*/ 104233 h 110081"/>
              <a:gd name="connsiteX86" fmla="*/ 270011 w 581566"/>
              <a:gd name="connsiteY86" fmla="*/ 86311 h 110081"/>
              <a:gd name="connsiteX87" fmla="*/ 265529 w 581566"/>
              <a:gd name="connsiteY87" fmla="*/ 54947 h 110081"/>
              <a:gd name="connsiteX88" fmla="*/ 270011 w 581566"/>
              <a:gd name="connsiteY88" fmla="*/ 23584 h 110081"/>
              <a:gd name="connsiteX89" fmla="*/ 282710 w 581566"/>
              <a:gd name="connsiteY89" fmla="*/ 5849 h 110081"/>
              <a:gd name="connsiteX90" fmla="*/ 300936 w 581566"/>
              <a:gd name="connsiteY90" fmla="*/ 186 h 110081"/>
              <a:gd name="connsiteX91" fmla="*/ 319013 w 581566"/>
              <a:gd name="connsiteY91" fmla="*/ 5849 h 110081"/>
              <a:gd name="connsiteX92" fmla="*/ 331413 w 581566"/>
              <a:gd name="connsiteY92" fmla="*/ 23584 h 110081"/>
              <a:gd name="connsiteX93" fmla="*/ 335895 w 581566"/>
              <a:gd name="connsiteY93" fmla="*/ 54698 h 110081"/>
              <a:gd name="connsiteX94" fmla="*/ 331413 w 581566"/>
              <a:gd name="connsiteY94" fmla="*/ 86062 h 110081"/>
              <a:gd name="connsiteX95" fmla="*/ 319013 w 581566"/>
              <a:gd name="connsiteY95" fmla="*/ 104233 h 110081"/>
              <a:gd name="connsiteX96" fmla="*/ 300936 w 581566"/>
              <a:gd name="connsiteY96" fmla="*/ 110082 h 110081"/>
              <a:gd name="connsiteX97" fmla="*/ 300787 w 581566"/>
              <a:gd name="connsiteY97" fmla="*/ 98258 h 110081"/>
              <a:gd name="connsiteX98" fmla="*/ 312141 w 581566"/>
              <a:gd name="connsiteY98" fmla="*/ 94275 h 110081"/>
              <a:gd name="connsiteX99" fmla="*/ 319312 w 581566"/>
              <a:gd name="connsiteY99" fmla="*/ 80648 h 110081"/>
              <a:gd name="connsiteX100" fmla="*/ 321852 w 581566"/>
              <a:gd name="connsiteY100" fmla="*/ 55134 h 110081"/>
              <a:gd name="connsiteX101" fmla="*/ 319462 w 581566"/>
              <a:gd name="connsiteY101" fmla="*/ 29745 h 110081"/>
              <a:gd name="connsiteX102" fmla="*/ 312290 w 581566"/>
              <a:gd name="connsiteY102" fmla="*/ 16117 h 110081"/>
              <a:gd name="connsiteX103" fmla="*/ 300936 w 581566"/>
              <a:gd name="connsiteY103" fmla="*/ 11947 h 110081"/>
              <a:gd name="connsiteX104" fmla="*/ 289433 w 581566"/>
              <a:gd name="connsiteY104" fmla="*/ 16117 h 110081"/>
              <a:gd name="connsiteX105" fmla="*/ 282112 w 581566"/>
              <a:gd name="connsiteY105" fmla="*/ 29745 h 110081"/>
              <a:gd name="connsiteX106" fmla="*/ 279572 w 581566"/>
              <a:gd name="connsiteY106" fmla="*/ 55134 h 110081"/>
              <a:gd name="connsiteX107" fmla="*/ 281963 w 581566"/>
              <a:gd name="connsiteY107" fmla="*/ 80648 h 110081"/>
              <a:gd name="connsiteX108" fmla="*/ 289283 w 581566"/>
              <a:gd name="connsiteY108" fmla="*/ 94275 h 110081"/>
              <a:gd name="connsiteX109" fmla="*/ 300787 w 581566"/>
              <a:gd name="connsiteY109" fmla="*/ 98258 h 110081"/>
              <a:gd name="connsiteX110" fmla="*/ 383080 w 581566"/>
              <a:gd name="connsiteY110" fmla="*/ 110082 h 110081"/>
              <a:gd name="connsiteX111" fmla="*/ 364854 w 581566"/>
              <a:gd name="connsiteY111" fmla="*/ 104233 h 110081"/>
              <a:gd name="connsiteX112" fmla="*/ 352155 w 581566"/>
              <a:gd name="connsiteY112" fmla="*/ 86311 h 110081"/>
              <a:gd name="connsiteX113" fmla="*/ 347673 w 581566"/>
              <a:gd name="connsiteY113" fmla="*/ 54947 h 110081"/>
              <a:gd name="connsiteX114" fmla="*/ 352155 w 581566"/>
              <a:gd name="connsiteY114" fmla="*/ 23584 h 110081"/>
              <a:gd name="connsiteX115" fmla="*/ 364854 w 581566"/>
              <a:gd name="connsiteY115" fmla="*/ 5849 h 110081"/>
              <a:gd name="connsiteX116" fmla="*/ 383080 w 581566"/>
              <a:gd name="connsiteY116" fmla="*/ 186 h 110081"/>
              <a:gd name="connsiteX117" fmla="*/ 401157 w 581566"/>
              <a:gd name="connsiteY117" fmla="*/ 5849 h 110081"/>
              <a:gd name="connsiteX118" fmla="*/ 413557 w 581566"/>
              <a:gd name="connsiteY118" fmla="*/ 23584 h 110081"/>
              <a:gd name="connsiteX119" fmla="*/ 418039 w 581566"/>
              <a:gd name="connsiteY119" fmla="*/ 54698 h 110081"/>
              <a:gd name="connsiteX120" fmla="*/ 413557 w 581566"/>
              <a:gd name="connsiteY120" fmla="*/ 86062 h 110081"/>
              <a:gd name="connsiteX121" fmla="*/ 401157 w 581566"/>
              <a:gd name="connsiteY121" fmla="*/ 104233 h 110081"/>
              <a:gd name="connsiteX122" fmla="*/ 383080 w 581566"/>
              <a:gd name="connsiteY122" fmla="*/ 110082 h 110081"/>
              <a:gd name="connsiteX123" fmla="*/ 382931 w 581566"/>
              <a:gd name="connsiteY123" fmla="*/ 98258 h 110081"/>
              <a:gd name="connsiteX124" fmla="*/ 394285 w 581566"/>
              <a:gd name="connsiteY124" fmla="*/ 94275 h 110081"/>
              <a:gd name="connsiteX125" fmla="*/ 401456 w 581566"/>
              <a:gd name="connsiteY125" fmla="*/ 80648 h 110081"/>
              <a:gd name="connsiteX126" fmla="*/ 403995 w 581566"/>
              <a:gd name="connsiteY126" fmla="*/ 55134 h 110081"/>
              <a:gd name="connsiteX127" fmla="*/ 401605 w 581566"/>
              <a:gd name="connsiteY127" fmla="*/ 29745 h 110081"/>
              <a:gd name="connsiteX128" fmla="*/ 394434 w 581566"/>
              <a:gd name="connsiteY128" fmla="*/ 16117 h 110081"/>
              <a:gd name="connsiteX129" fmla="*/ 383080 w 581566"/>
              <a:gd name="connsiteY129" fmla="*/ 11947 h 110081"/>
              <a:gd name="connsiteX130" fmla="*/ 371576 w 581566"/>
              <a:gd name="connsiteY130" fmla="*/ 16117 h 110081"/>
              <a:gd name="connsiteX131" fmla="*/ 364256 w 581566"/>
              <a:gd name="connsiteY131" fmla="*/ 29745 h 110081"/>
              <a:gd name="connsiteX132" fmla="*/ 361716 w 581566"/>
              <a:gd name="connsiteY132" fmla="*/ 55134 h 110081"/>
              <a:gd name="connsiteX133" fmla="*/ 364107 w 581566"/>
              <a:gd name="connsiteY133" fmla="*/ 80648 h 110081"/>
              <a:gd name="connsiteX134" fmla="*/ 371427 w 581566"/>
              <a:gd name="connsiteY134" fmla="*/ 94275 h 110081"/>
              <a:gd name="connsiteX135" fmla="*/ 382931 w 581566"/>
              <a:gd name="connsiteY135" fmla="*/ 98258 h 110081"/>
              <a:gd name="connsiteX136" fmla="*/ 448634 w 581566"/>
              <a:gd name="connsiteY136" fmla="*/ 58992 h 110081"/>
              <a:gd name="connsiteX137" fmla="*/ 448634 w 581566"/>
              <a:gd name="connsiteY137" fmla="*/ 46298 h 110081"/>
              <a:gd name="connsiteX138" fmla="*/ 462977 w 581566"/>
              <a:gd name="connsiteY138" fmla="*/ 46298 h 110081"/>
              <a:gd name="connsiteX139" fmla="*/ 476571 w 581566"/>
              <a:gd name="connsiteY139" fmla="*/ 41817 h 110081"/>
              <a:gd name="connsiteX140" fmla="*/ 481950 w 581566"/>
              <a:gd name="connsiteY140" fmla="*/ 28812 h 110081"/>
              <a:gd name="connsiteX141" fmla="*/ 477020 w 581566"/>
              <a:gd name="connsiteY141" fmla="*/ 16864 h 110081"/>
              <a:gd name="connsiteX142" fmla="*/ 462827 w 581566"/>
              <a:gd name="connsiteY142" fmla="*/ 12383 h 110081"/>
              <a:gd name="connsiteX143" fmla="*/ 448186 w 581566"/>
              <a:gd name="connsiteY143" fmla="*/ 15246 h 110081"/>
              <a:gd name="connsiteX144" fmla="*/ 434143 w 581566"/>
              <a:gd name="connsiteY144" fmla="*/ 24331 h 110081"/>
              <a:gd name="connsiteX145" fmla="*/ 434143 w 581566"/>
              <a:gd name="connsiteY145" fmla="*/ 9707 h 110081"/>
              <a:gd name="connsiteX146" fmla="*/ 462977 w 581566"/>
              <a:gd name="connsiteY146" fmla="*/ 0 h 110081"/>
              <a:gd name="connsiteX147" fmla="*/ 487029 w 581566"/>
              <a:gd name="connsiteY147" fmla="*/ 7779 h 110081"/>
              <a:gd name="connsiteX148" fmla="*/ 495844 w 581566"/>
              <a:gd name="connsiteY148" fmla="*/ 28065 h 110081"/>
              <a:gd name="connsiteX149" fmla="*/ 490167 w 581566"/>
              <a:gd name="connsiteY149" fmla="*/ 44244 h 110081"/>
              <a:gd name="connsiteX150" fmla="*/ 476870 w 581566"/>
              <a:gd name="connsiteY150" fmla="*/ 52147 h 110081"/>
              <a:gd name="connsiteX151" fmla="*/ 488374 w 581566"/>
              <a:gd name="connsiteY151" fmla="*/ 56441 h 110081"/>
              <a:gd name="connsiteX152" fmla="*/ 497039 w 581566"/>
              <a:gd name="connsiteY152" fmla="*/ 65153 h 110081"/>
              <a:gd name="connsiteX153" fmla="*/ 500326 w 581566"/>
              <a:gd name="connsiteY153" fmla="*/ 77661 h 110081"/>
              <a:gd name="connsiteX154" fmla="*/ 495396 w 581566"/>
              <a:gd name="connsiteY154" fmla="*/ 94836 h 110081"/>
              <a:gd name="connsiteX155" fmla="*/ 481801 w 581566"/>
              <a:gd name="connsiteY155" fmla="*/ 106224 h 110081"/>
              <a:gd name="connsiteX156" fmla="*/ 461931 w 581566"/>
              <a:gd name="connsiteY156" fmla="*/ 110082 h 110081"/>
              <a:gd name="connsiteX157" fmla="*/ 431454 w 581566"/>
              <a:gd name="connsiteY157" fmla="*/ 100997 h 110081"/>
              <a:gd name="connsiteX158" fmla="*/ 431454 w 581566"/>
              <a:gd name="connsiteY158" fmla="*/ 86062 h 110081"/>
              <a:gd name="connsiteX159" fmla="*/ 445198 w 581566"/>
              <a:gd name="connsiteY159" fmla="*/ 94711 h 110081"/>
              <a:gd name="connsiteX160" fmla="*/ 462080 w 581566"/>
              <a:gd name="connsiteY160" fmla="*/ 97823 h 110081"/>
              <a:gd name="connsiteX161" fmla="*/ 479410 w 581566"/>
              <a:gd name="connsiteY161" fmla="*/ 92596 h 110081"/>
              <a:gd name="connsiteX162" fmla="*/ 485834 w 581566"/>
              <a:gd name="connsiteY162" fmla="*/ 77972 h 110081"/>
              <a:gd name="connsiteX163" fmla="*/ 480008 w 581566"/>
              <a:gd name="connsiteY163" fmla="*/ 64095 h 110081"/>
              <a:gd name="connsiteX164" fmla="*/ 462379 w 581566"/>
              <a:gd name="connsiteY164" fmla="*/ 58992 h 110081"/>
              <a:gd name="connsiteX165" fmla="*/ 448634 w 581566"/>
              <a:gd name="connsiteY165" fmla="*/ 58992 h 110081"/>
              <a:gd name="connsiteX166" fmla="*/ 581567 w 581566"/>
              <a:gd name="connsiteY166" fmla="*/ 108588 h 110081"/>
              <a:gd name="connsiteX167" fmla="*/ 513292 w 581566"/>
              <a:gd name="connsiteY167" fmla="*/ 108588 h 110081"/>
              <a:gd name="connsiteX168" fmla="*/ 513292 w 581566"/>
              <a:gd name="connsiteY168" fmla="*/ 94400 h 110081"/>
              <a:gd name="connsiteX169" fmla="*/ 539437 w 581566"/>
              <a:gd name="connsiteY169" fmla="*/ 72433 h 110081"/>
              <a:gd name="connsiteX170" fmla="*/ 555422 w 581566"/>
              <a:gd name="connsiteY170" fmla="*/ 56628 h 110081"/>
              <a:gd name="connsiteX171" fmla="*/ 563490 w 581566"/>
              <a:gd name="connsiteY171" fmla="*/ 43933 h 110081"/>
              <a:gd name="connsiteX172" fmla="*/ 565880 w 581566"/>
              <a:gd name="connsiteY172" fmla="*/ 32109 h 110081"/>
              <a:gd name="connsiteX173" fmla="*/ 560353 w 581566"/>
              <a:gd name="connsiteY173" fmla="*/ 17610 h 110081"/>
              <a:gd name="connsiteX174" fmla="*/ 545114 w 581566"/>
              <a:gd name="connsiteY174" fmla="*/ 12383 h 110081"/>
              <a:gd name="connsiteX175" fmla="*/ 516131 w 581566"/>
              <a:gd name="connsiteY175" fmla="*/ 27194 h 110081"/>
              <a:gd name="connsiteX176" fmla="*/ 516131 w 581566"/>
              <a:gd name="connsiteY176" fmla="*/ 12134 h 110081"/>
              <a:gd name="connsiteX177" fmla="*/ 545562 w 581566"/>
              <a:gd name="connsiteY177" fmla="*/ 0 h 110081"/>
              <a:gd name="connsiteX178" fmla="*/ 570960 w 581566"/>
              <a:gd name="connsiteY178" fmla="*/ 8401 h 110081"/>
              <a:gd name="connsiteX179" fmla="*/ 580372 w 581566"/>
              <a:gd name="connsiteY179" fmla="*/ 30803 h 110081"/>
              <a:gd name="connsiteX180" fmla="*/ 577981 w 581566"/>
              <a:gd name="connsiteY180" fmla="*/ 44804 h 110081"/>
              <a:gd name="connsiteX181" fmla="*/ 569914 w 581566"/>
              <a:gd name="connsiteY181" fmla="*/ 58681 h 110081"/>
              <a:gd name="connsiteX182" fmla="*/ 554227 w 581566"/>
              <a:gd name="connsiteY182" fmla="*/ 74860 h 110081"/>
              <a:gd name="connsiteX183" fmla="*/ 528830 w 581566"/>
              <a:gd name="connsiteY183" fmla="*/ 95769 h 110081"/>
              <a:gd name="connsiteX184" fmla="*/ 581567 w 581566"/>
              <a:gd name="connsiteY184" fmla="*/ 95769 h 110081"/>
              <a:gd name="connsiteX185" fmla="*/ 581567 w 581566"/>
              <a:gd name="connsiteY185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8156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31" y="110082"/>
                </a:moveTo>
                <a:cubicBezTo>
                  <a:pt x="119779" y="110082"/>
                  <a:pt x="110268" y="107530"/>
                  <a:pt x="103196" y="102490"/>
                </a:cubicBezTo>
                <a:lnTo>
                  <a:pt x="103196" y="87804"/>
                </a:lnTo>
                <a:cubicBezTo>
                  <a:pt x="107379" y="91226"/>
                  <a:pt x="111762" y="93778"/>
                  <a:pt x="116343" y="95458"/>
                </a:cubicBezTo>
                <a:cubicBezTo>
                  <a:pt x="120925" y="97014"/>
                  <a:pt x="126054" y="97823"/>
                  <a:pt x="131731" y="97823"/>
                </a:cubicBezTo>
                <a:cubicBezTo>
                  <a:pt x="139102" y="97823"/>
                  <a:pt x="144779" y="95583"/>
                  <a:pt x="148762" y="91102"/>
                </a:cubicBezTo>
                <a:cubicBezTo>
                  <a:pt x="152846" y="86621"/>
                  <a:pt x="154888" y="80772"/>
                  <a:pt x="154888" y="73491"/>
                </a:cubicBezTo>
                <a:cubicBezTo>
                  <a:pt x="154888" y="65713"/>
                  <a:pt x="152896" y="60050"/>
                  <a:pt x="148912" y="56441"/>
                </a:cubicBezTo>
                <a:cubicBezTo>
                  <a:pt x="144928" y="52894"/>
                  <a:pt x="139898" y="51089"/>
                  <a:pt x="133823" y="51089"/>
                </a:cubicBezTo>
                <a:cubicBezTo>
                  <a:pt x="129441" y="51089"/>
                  <a:pt x="125904" y="51836"/>
                  <a:pt x="123216" y="53329"/>
                </a:cubicBezTo>
                <a:cubicBezTo>
                  <a:pt x="120526" y="54698"/>
                  <a:pt x="118485" y="56192"/>
                  <a:pt x="117090" y="57810"/>
                </a:cubicBezTo>
                <a:lnTo>
                  <a:pt x="106184" y="57810"/>
                </a:lnTo>
                <a:lnTo>
                  <a:pt x="106184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35" y="14374"/>
                </a:lnTo>
                <a:lnTo>
                  <a:pt x="118435" y="44991"/>
                </a:lnTo>
                <a:cubicBezTo>
                  <a:pt x="120427" y="43498"/>
                  <a:pt x="122867" y="42190"/>
                  <a:pt x="125755" y="41071"/>
                </a:cubicBezTo>
                <a:cubicBezTo>
                  <a:pt x="128643" y="39888"/>
                  <a:pt x="132080" y="39266"/>
                  <a:pt x="136064" y="39266"/>
                </a:cubicBezTo>
                <a:cubicBezTo>
                  <a:pt x="142239" y="39266"/>
                  <a:pt x="147816" y="40572"/>
                  <a:pt x="152796" y="43186"/>
                </a:cubicBezTo>
                <a:cubicBezTo>
                  <a:pt x="157776" y="45675"/>
                  <a:pt x="161710" y="49471"/>
                  <a:pt x="164598" y="54512"/>
                </a:cubicBezTo>
                <a:cubicBezTo>
                  <a:pt x="167587" y="59490"/>
                  <a:pt x="169081" y="65713"/>
                  <a:pt x="169081" y="73181"/>
                </a:cubicBezTo>
                <a:cubicBezTo>
                  <a:pt x="169081" y="80586"/>
                  <a:pt x="167537" y="87058"/>
                  <a:pt x="164449" y="92596"/>
                </a:cubicBezTo>
                <a:cubicBezTo>
                  <a:pt x="161461" y="98196"/>
                  <a:pt x="157179" y="102490"/>
                  <a:pt x="151601" y="105601"/>
                </a:cubicBezTo>
                <a:cubicBezTo>
                  <a:pt x="146024" y="108588"/>
                  <a:pt x="139400" y="110082"/>
                  <a:pt x="131731" y="110082"/>
                </a:cubicBezTo>
                <a:close/>
                <a:moveTo>
                  <a:pt x="213869" y="110082"/>
                </a:moveTo>
                <a:cubicBezTo>
                  <a:pt x="201917" y="110082"/>
                  <a:pt x="192405" y="107530"/>
                  <a:pt x="185333" y="102490"/>
                </a:cubicBezTo>
                <a:lnTo>
                  <a:pt x="185333" y="87804"/>
                </a:lnTo>
                <a:cubicBezTo>
                  <a:pt x="189517" y="91226"/>
                  <a:pt x="193899" y="93778"/>
                  <a:pt x="198481" y="95458"/>
                </a:cubicBezTo>
                <a:cubicBezTo>
                  <a:pt x="203062" y="97014"/>
                  <a:pt x="208192" y="97823"/>
                  <a:pt x="213869" y="97823"/>
                </a:cubicBezTo>
                <a:cubicBezTo>
                  <a:pt x="221239" y="97823"/>
                  <a:pt x="226916" y="95583"/>
                  <a:pt x="230900" y="91102"/>
                </a:cubicBezTo>
                <a:cubicBezTo>
                  <a:pt x="234983" y="86621"/>
                  <a:pt x="237025" y="80772"/>
                  <a:pt x="237025" y="73491"/>
                </a:cubicBezTo>
                <a:cubicBezTo>
                  <a:pt x="237025" y="65713"/>
                  <a:pt x="235033" y="60050"/>
                  <a:pt x="231049" y="56441"/>
                </a:cubicBezTo>
                <a:cubicBezTo>
                  <a:pt x="227065" y="52894"/>
                  <a:pt x="222036" y="51089"/>
                  <a:pt x="215960" y="51089"/>
                </a:cubicBezTo>
                <a:cubicBezTo>
                  <a:pt x="211578" y="51089"/>
                  <a:pt x="208042" y="51836"/>
                  <a:pt x="205353" y="53329"/>
                </a:cubicBezTo>
                <a:cubicBezTo>
                  <a:pt x="202664" y="54698"/>
                  <a:pt x="200622" y="56192"/>
                  <a:pt x="199228" y="57810"/>
                </a:cubicBezTo>
                <a:lnTo>
                  <a:pt x="188322" y="57810"/>
                </a:lnTo>
                <a:lnTo>
                  <a:pt x="188322" y="1493"/>
                </a:lnTo>
                <a:lnTo>
                  <a:pt x="246288" y="1493"/>
                </a:lnTo>
                <a:lnTo>
                  <a:pt x="246288" y="14374"/>
                </a:lnTo>
                <a:lnTo>
                  <a:pt x="200572" y="14374"/>
                </a:lnTo>
                <a:lnTo>
                  <a:pt x="200572" y="44991"/>
                </a:lnTo>
                <a:cubicBezTo>
                  <a:pt x="202564" y="43498"/>
                  <a:pt x="205004" y="42190"/>
                  <a:pt x="207893" y="41071"/>
                </a:cubicBezTo>
                <a:cubicBezTo>
                  <a:pt x="210781" y="39888"/>
                  <a:pt x="214217" y="39266"/>
                  <a:pt x="218201" y="39266"/>
                </a:cubicBezTo>
                <a:cubicBezTo>
                  <a:pt x="224376" y="39266"/>
                  <a:pt x="229954" y="40572"/>
                  <a:pt x="234934" y="43186"/>
                </a:cubicBezTo>
                <a:cubicBezTo>
                  <a:pt x="239913" y="45675"/>
                  <a:pt x="243848" y="49471"/>
                  <a:pt x="246736" y="54512"/>
                </a:cubicBezTo>
                <a:cubicBezTo>
                  <a:pt x="249724" y="59490"/>
                  <a:pt x="251218" y="65713"/>
                  <a:pt x="251218" y="73181"/>
                </a:cubicBezTo>
                <a:cubicBezTo>
                  <a:pt x="251218" y="80586"/>
                  <a:pt x="249674" y="87058"/>
                  <a:pt x="246587" y="92596"/>
                </a:cubicBezTo>
                <a:cubicBezTo>
                  <a:pt x="243599" y="98196"/>
                  <a:pt x="239316" y="102490"/>
                  <a:pt x="233738" y="105601"/>
                </a:cubicBezTo>
                <a:cubicBezTo>
                  <a:pt x="228161" y="108588"/>
                  <a:pt x="221538" y="110082"/>
                  <a:pt x="213869" y="110082"/>
                </a:cubicBez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9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9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6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1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2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1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0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29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1" y="40262"/>
                  <a:pt x="490167" y="44244"/>
                </a:cubicBezTo>
                <a:cubicBezTo>
                  <a:pt x="486482" y="48227"/>
                  <a:pt x="482049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2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4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0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81567" y="108588"/>
                </a:moveTo>
                <a:lnTo>
                  <a:pt x="513292" y="108588"/>
                </a:lnTo>
                <a:lnTo>
                  <a:pt x="513292" y="94400"/>
                </a:lnTo>
                <a:cubicBezTo>
                  <a:pt x="523949" y="85812"/>
                  <a:pt x="532664" y="78532"/>
                  <a:pt x="539437" y="72433"/>
                </a:cubicBezTo>
                <a:cubicBezTo>
                  <a:pt x="546309" y="66397"/>
                  <a:pt x="551638" y="61108"/>
                  <a:pt x="555422" y="56628"/>
                </a:cubicBezTo>
                <a:cubicBezTo>
                  <a:pt x="559307" y="52023"/>
                  <a:pt x="561996" y="47791"/>
                  <a:pt x="563490" y="43933"/>
                </a:cubicBezTo>
                <a:cubicBezTo>
                  <a:pt x="565083" y="40012"/>
                  <a:pt x="565880" y="36092"/>
                  <a:pt x="565880" y="32109"/>
                </a:cubicBezTo>
                <a:cubicBezTo>
                  <a:pt x="565880" y="25949"/>
                  <a:pt x="564038" y="21095"/>
                  <a:pt x="560353" y="17610"/>
                </a:cubicBezTo>
                <a:cubicBezTo>
                  <a:pt x="556667" y="14125"/>
                  <a:pt x="551588" y="12383"/>
                  <a:pt x="545114" y="12383"/>
                </a:cubicBezTo>
                <a:cubicBezTo>
                  <a:pt x="534756" y="12383"/>
                  <a:pt x="525095" y="17361"/>
                  <a:pt x="516131" y="27194"/>
                </a:cubicBezTo>
                <a:lnTo>
                  <a:pt x="516131" y="12134"/>
                </a:lnTo>
                <a:cubicBezTo>
                  <a:pt x="524398" y="4044"/>
                  <a:pt x="534208" y="0"/>
                  <a:pt x="545562" y="0"/>
                </a:cubicBezTo>
                <a:cubicBezTo>
                  <a:pt x="556319" y="0"/>
                  <a:pt x="564785" y="2800"/>
                  <a:pt x="570960" y="8401"/>
                </a:cubicBezTo>
                <a:cubicBezTo>
                  <a:pt x="577234" y="13877"/>
                  <a:pt x="580372" y="21344"/>
                  <a:pt x="580372" y="30803"/>
                </a:cubicBezTo>
                <a:cubicBezTo>
                  <a:pt x="580372" y="35657"/>
                  <a:pt x="579575" y="40324"/>
                  <a:pt x="577981" y="44804"/>
                </a:cubicBezTo>
                <a:cubicBezTo>
                  <a:pt x="576487" y="49222"/>
                  <a:pt x="573798" y="53827"/>
                  <a:pt x="569914" y="58681"/>
                </a:cubicBezTo>
                <a:cubicBezTo>
                  <a:pt x="566129" y="63473"/>
                  <a:pt x="560900" y="68887"/>
                  <a:pt x="554227" y="74860"/>
                </a:cubicBezTo>
                <a:cubicBezTo>
                  <a:pt x="547554" y="80835"/>
                  <a:pt x="539088" y="87804"/>
                  <a:pt x="528830" y="95769"/>
                </a:cubicBezTo>
                <a:lnTo>
                  <a:pt x="581567" y="95769"/>
                </a:lnTo>
                <a:lnTo>
                  <a:pt x="581567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3" name="Полилиния 1062">
            <a:extLst>
              <a:ext uri="{FF2B5EF4-FFF2-40B4-BE49-F238E27FC236}">
                <a16:creationId xmlns:a16="http://schemas.microsoft.com/office/drawing/2014/main" id="{041A85DB-6C23-21F5-154E-F8DCF6289517}"/>
              </a:ext>
            </a:extLst>
          </p:cNvPr>
          <p:cNvSpPr/>
          <p:nvPr userDrawn="1"/>
        </p:nvSpPr>
        <p:spPr>
          <a:xfrm>
            <a:off x="16903366" y="4513847"/>
            <a:ext cx="1398954" cy="726227"/>
          </a:xfrm>
          <a:custGeom>
            <a:avLst/>
            <a:gdLst>
              <a:gd name="connsiteX0" fmla="*/ 638 w 1198727"/>
              <a:gd name="connsiteY0" fmla="*/ 1122 h 622284"/>
              <a:gd name="connsiteX1" fmla="*/ 1199366 w 1198727"/>
              <a:gd name="connsiteY1" fmla="*/ 1122 h 622284"/>
              <a:gd name="connsiteX2" fmla="*/ 1199366 w 1198727"/>
              <a:gd name="connsiteY2" fmla="*/ 623406 h 622284"/>
              <a:gd name="connsiteX3" fmla="*/ 638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122"/>
                </a:moveTo>
                <a:lnTo>
                  <a:pt x="1199366" y="1122"/>
                </a:lnTo>
                <a:lnTo>
                  <a:pt x="1199366" y="623406"/>
                </a:lnTo>
                <a:lnTo>
                  <a:pt x="638" y="623406"/>
                </a:lnTo>
                <a:close/>
              </a:path>
            </a:pathLst>
          </a:custGeom>
          <a:solidFill>
            <a:srgbClr val="82004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4" name="Полилиния 1063">
            <a:extLst>
              <a:ext uri="{FF2B5EF4-FFF2-40B4-BE49-F238E27FC236}">
                <a16:creationId xmlns:a16="http://schemas.microsoft.com/office/drawing/2014/main" id="{9D7E1C2E-868C-873D-8E63-052F0E6AF4EA}"/>
              </a:ext>
            </a:extLst>
          </p:cNvPr>
          <p:cNvSpPr/>
          <p:nvPr userDrawn="1"/>
        </p:nvSpPr>
        <p:spPr>
          <a:xfrm>
            <a:off x="17026576" y="4815595"/>
            <a:ext cx="681497" cy="128468"/>
          </a:xfrm>
          <a:custGeom>
            <a:avLst/>
            <a:gdLst>
              <a:gd name="connsiteX0" fmla="*/ 22111 w 583957"/>
              <a:gd name="connsiteY0" fmla="*/ 108588 h 110081"/>
              <a:gd name="connsiteX1" fmla="*/ 10159 w 583957"/>
              <a:gd name="connsiteY1" fmla="*/ 108588 h 110081"/>
              <a:gd name="connsiteX2" fmla="*/ 16433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02 w 583957"/>
              <a:gd name="connsiteY6" fmla="*/ 40012 h 110081"/>
              <a:gd name="connsiteX7" fmla="*/ 4033 w 583957"/>
              <a:gd name="connsiteY7" fmla="*/ 40012 h 110081"/>
              <a:gd name="connsiteX8" fmla="*/ 4033 w 583957"/>
              <a:gd name="connsiteY8" fmla="*/ 29559 h 110081"/>
              <a:gd name="connsiteX9" fmla="*/ 26294 w 583957"/>
              <a:gd name="connsiteY9" fmla="*/ 29559 h 110081"/>
              <a:gd name="connsiteX10" fmla="*/ 32120 w 583957"/>
              <a:gd name="connsiteY10" fmla="*/ 1493 h 110081"/>
              <a:gd name="connsiteX11" fmla="*/ 44072 w 583957"/>
              <a:gd name="connsiteY11" fmla="*/ 1493 h 110081"/>
              <a:gd name="connsiteX12" fmla="*/ 38246 w 583957"/>
              <a:gd name="connsiteY12" fmla="*/ 29559 h 110081"/>
              <a:gd name="connsiteX13" fmla="*/ 60655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607 w 583957"/>
              <a:gd name="connsiteY16" fmla="*/ 29559 h 110081"/>
              <a:gd name="connsiteX17" fmla="*/ 89340 w 583957"/>
              <a:gd name="connsiteY17" fmla="*/ 29559 h 110081"/>
              <a:gd name="connsiteX18" fmla="*/ 89340 w 583957"/>
              <a:gd name="connsiteY18" fmla="*/ 40012 h 110081"/>
              <a:gd name="connsiteX19" fmla="*/ 70516 w 583957"/>
              <a:gd name="connsiteY19" fmla="*/ 40012 h 110081"/>
              <a:gd name="connsiteX20" fmla="*/ 64988 w 583957"/>
              <a:gd name="connsiteY20" fmla="*/ 67206 h 110081"/>
              <a:gd name="connsiteX21" fmla="*/ 85306 w 583957"/>
              <a:gd name="connsiteY21" fmla="*/ 67206 h 110081"/>
              <a:gd name="connsiteX22" fmla="*/ 85306 w 583957"/>
              <a:gd name="connsiteY22" fmla="*/ 77661 h 110081"/>
              <a:gd name="connsiteX23" fmla="*/ 62747 w 583957"/>
              <a:gd name="connsiteY23" fmla="*/ 77661 h 110081"/>
              <a:gd name="connsiteX24" fmla="*/ 56472 w 583957"/>
              <a:gd name="connsiteY24" fmla="*/ 108588 h 110081"/>
              <a:gd name="connsiteX25" fmla="*/ 44520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111 w 583957"/>
              <a:gd name="connsiteY28" fmla="*/ 108588 h 110081"/>
              <a:gd name="connsiteX29" fmla="*/ 30626 w 583957"/>
              <a:gd name="connsiteY29" fmla="*/ 67206 h 110081"/>
              <a:gd name="connsiteX30" fmla="*/ 53036 w 583957"/>
              <a:gd name="connsiteY30" fmla="*/ 67206 h 110081"/>
              <a:gd name="connsiteX31" fmla="*/ 58564 w 583957"/>
              <a:gd name="connsiteY31" fmla="*/ 40012 h 110081"/>
              <a:gd name="connsiteX32" fmla="*/ 36154 w 583957"/>
              <a:gd name="connsiteY32" fmla="*/ 40012 h 110081"/>
              <a:gd name="connsiteX33" fmla="*/ 30626 w 583957"/>
              <a:gd name="connsiteY33" fmla="*/ 67206 h 110081"/>
              <a:gd name="connsiteX34" fmla="*/ 136811 w 583957"/>
              <a:gd name="connsiteY34" fmla="*/ 110082 h 110081"/>
              <a:gd name="connsiteX35" fmla="*/ 118136 w 583957"/>
              <a:gd name="connsiteY35" fmla="*/ 106473 h 110081"/>
              <a:gd name="connsiteX36" fmla="*/ 105437 w 583957"/>
              <a:gd name="connsiteY36" fmla="*/ 96205 h 110081"/>
              <a:gd name="connsiteX37" fmla="*/ 100806 w 583957"/>
              <a:gd name="connsiteY37" fmla="*/ 79777 h 110081"/>
              <a:gd name="connsiteX38" fmla="*/ 106184 w 583957"/>
              <a:gd name="connsiteY38" fmla="*/ 62291 h 110081"/>
              <a:gd name="connsiteX39" fmla="*/ 120974 w 583957"/>
              <a:gd name="connsiteY39" fmla="*/ 51711 h 110081"/>
              <a:gd name="connsiteX40" fmla="*/ 109023 w 583957"/>
              <a:gd name="connsiteY40" fmla="*/ 42564 h 110081"/>
              <a:gd name="connsiteX41" fmla="*/ 104690 w 583957"/>
              <a:gd name="connsiteY41" fmla="*/ 27504 h 110081"/>
              <a:gd name="connsiteX42" fmla="*/ 108873 w 583957"/>
              <a:gd name="connsiteY42" fmla="*/ 12570 h 110081"/>
              <a:gd name="connsiteX43" fmla="*/ 120377 w 583957"/>
              <a:gd name="connsiteY43" fmla="*/ 3298 h 110081"/>
              <a:gd name="connsiteX44" fmla="*/ 136811 w 583957"/>
              <a:gd name="connsiteY44" fmla="*/ 186 h 110081"/>
              <a:gd name="connsiteX45" fmla="*/ 152946 w 583957"/>
              <a:gd name="connsiteY45" fmla="*/ 3298 h 110081"/>
              <a:gd name="connsiteX46" fmla="*/ 164300 w 583957"/>
              <a:gd name="connsiteY46" fmla="*/ 12259 h 110081"/>
              <a:gd name="connsiteX47" fmla="*/ 168632 w 583957"/>
              <a:gd name="connsiteY47" fmla="*/ 27194 h 110081"/>
              <a:gd name="connsiteX48" fmla="*/ 164150 w 583957"/>
              <a:gd name="connsiteY48" fmla="*/ 42439 h 110081"/>
              <a:gd name="connsiteX49" fmla="*/ 152348 w 583957"/>
              <a:gd name="connsiteY49" fmla="*/ 51711 h 110081"/>
              <a:gd name="connsiteX50" fmla="*/ 166690 w 583957"/>
              <a:gd name="connsiteY50" fmla="*/ 61855 h 110081"/>
              <a:gd name="connsiteX51" fmla="*/ 172218 w 583957"/>
              <a:gd name="connsiteY51" fmla="*/ 79341 h 110081"/>
              <a:gd name="connsiteX52" fmla="*/ 167587 w 583957"/>
              <a:gd name="connsiteY52" fmla="*/ 95893 h 110081"/>
              <a:gd name="connsiteX53" fmla="*/ 154888 w 583957"/>
              <a:gd name="connsiteY53" fmla="*/ 106473 h 110081"/>
              <a:gd name="connsiteX54" fmla="*/ 136811 w 583957"/>
              <a:gd name="connsiteY54" fmla="*/ 110082 h 110081"/>
              <a:gd name="connsiteX55" fmla="*/ 136811 w 583957"/>
              <a:gd name="connsiteY55" fmla="*/ 46298 h 110081"/>
              <a:gd name="connsiteX56" fmla="*/ 149808 w 583957"/>
              <a:gd name="connsiteY56" fmla="*/ 41817 h 110081"/>
              <a:gd name="connsiteX57" fmla="*/ 155037 w 583957"/>
              <a:gd name="connsiteY57" fmla="*/ 29122 h 110081"/>
              <a:gd name="connsiteX58" fmla="*/ 149808 w 583957"/>
              <a:gd name="connsiteY58" fmla="*/ 16615 h 110081"/>
              <a:gd name="connsiteX59" fmla="*/ 136811 w 583957"/>
              <a:gd name="connsiteY59" fmla="*/ 11947 h 110081"/>
              <a:gd name="connsiteX60" fmla="*/ 123514 w 583957"/>
              <a:gd name="connsiteY60" fmla="*/ 16615 h 110081"/>
              <a:gd name="connsiteX61" fmla="*/ 118285 w 583957"/>
              <a:gd name="connsiteY61" fmla="*/ 29122 h 110081"/>
              <a:gd name="connsiteX62" fmla="*/ 123514 w 583957"/>
              <a:gd name="connsiteY62" fmla="*/ 41817 h 110081"/>
              <a:gd name="connsiteX63" fmla="*/ 136811 w 583957"/>
              <a:gd name="connsiteY63" fmla="*/ 46298 h 110081"/>
              <a:gd name="connsiteX64" fmla="*/ 136811 w 583957"/>
              <a:gd name="connsiteY64" fmla="*/ 98258 h 110081"/>
              <a:gd name="connsiteX65" fmla="*/ 152198 w 583957"/>
              <a:gd name="connsiteY65" fmla="*/ 92907 h 110081"/>
              <a:gd name="connsiteX66" fmla="*/ 158473 w 583957"/>
              <a:gd name="connsiteY66" fmla="*/ 77536 h 110081"/>
              <a:gd name="connsiteX67" fmla="*/ 152198 w 583957"/>
              <a:gd name="connsiteY67" fmla="*/ 62291 h 110081"/>
              <a:gd name="connsiteX68" fmla="*/ 136811 w 583957"/>
              <a:gd name="connsiteY68" fmla="*/ 56752 h 110081"/>
              <a:gd name="connsiteX69" fmla="*/ 120825 w 583957"/>
              <a:gd name="connsiteY69" fmla="*/ 62291 h 110081"/>
              <a:gd name="connsiteX70" fmla="*/ 114550 w 583957"/>
              <a:gd name="connsiteY70" fmla="*/ 77536 h 110081"/>
              <a:gd name="connsiteX71" fmla="*/ 120825 w 583957"/>
              <a:gd name="connsiteY71" fmla="*/ 92907 h 110081"/>
              <a:gd name="connsiteX72" fmla="*/ 136811 w 583957"/>
              <a:gd name="connsiteY72" fmla="*/ 98258 h 110081"/>
              <a:gd name="connsiteX73" fmla="*/ 253011 w 583957"/>
              <a:gd name="connsiteY73" fmla="*/ 108588 h 110081"/>
              <a:gd name="connsiteX74" fmla="*/ 184736 w 583957"/>
              <a:gd name="connsiteY74" fmla="*/ 108588 h 110081"/>
              <a:gd name="connsiteX75" fmla="*/ 184736 w 583957"/>
              <a:gd name="connsiteY75" fmla="*/ 94400 h 110081"/>
              <a:gd name="connsiteX76" fmla="*/ 210880 w 583957"/>
              <a:gd name="connsiteY76" fmla="*/ 72433 h 110081"/>
              <a:gd name="connsiteX77" fmla="*/ 226866 w 583957"/>
              <a:gd name="connsiteY77" fmla="*/ 56628 h 110081"/>
              <a:gd name="connsiteX78" fmla="*/ 234934 w 583957"/>
              <a:gd name="connsiteY78" fmla="*/ 43933 h 110081"/>
              <a:gd name="connsiteX79" fmla="*/ 237324 w 583957"/>
              <a:gd name="connsiteY79" fmla="*/ 32109 h 110081"/>
              <a:gd name="connsiteX80" fmla="*/ 231796 w 583957"/>
              <a:gd name="connsiteY80" fmla="*/ 17610 h 110081"/>
              <a:gd name="connsiteX81" fmla="*/ 216558 w 583957"/>
              <a:gd name="connsiteY81" fmla="*/ 12383 h 110081"/>
              <a:gd name="connsiteX82" fmla="*/ 187575 w 583957"/>
              <a:gd name="connsiteY82" fmla="*/ 27194 h 110081"/>
              <a:gd name="connsiteX83" fmla="*/ 187575 w 583957"/>
              <a:gd name="connsiteY83" fmla="*/ 12134 h 110081"/>
              <a:gd name="connsiteX84" fmla="*/ 217006 w 583957"/>
              <a:gd name="connsiteY84" fmla="*/ 0 h 110081"/>
              <a:gd name="connsiteX85" fmla="*/ 242404 w 583957"/>
              <a:gd name="connsiteY85" fmla="*/ 8401 h 110081"/>
              <a:gd name="connsiteX86" fmla="*/ 251816 w 583957"/>
              <a:gd name="connsiteY86" fmla="*/ 30803 h 110081"/>
              <a:gd name="connsiteX87" fmla="*/ 249425 w 583957"/>
              <a:gd name="connsiteY87" fmla="*/ 44804 h 110081"/>
              <a:gd name="connsiteX88" fmla="*/ 241358 w 583957"/>
              <a:gd name="connsiteY88" fmla="*/ 58681 h 110081"/>
              <a:gd name="connsiteX89" fmla="*/ 225671 w 583957"/>
              <a:gd name="connsiteY89" fmla="*/ 74860 h 110081"/>
              <a:gd name="connsiteX90" fmla="*/ 200273 w 583957"/>
              <a:gd name="connsiteY90" fmla="*/ 95769 h 110081"/>
              <a:gd name="connsiteX91" fmla="*/ 253011 w 583957"/>
              <a:gd name="connsiteY91" fmla="*/ 95769 h 110081"/>
              <a:gd name="connsiteX92" fmla="*/ 253011 w 583957"/>
              <a:gd name="connsiteY92" fmla="*/ 108588 h 110081"/>
              <a:gd name="connsiteX93" fmla="*/ 300936 w 583957"/>
              <a:gd name="connsiteY93" fmla="*/ 110082 h 110081"/>
              <a:gd name="connsiteX94" fmla="*/ 282710 w 583957"/>
              <a:gd name="connsiteY94" fmla="*/ 104233 h 110081"/>
              <a:gd name="connsiteX95" fmla="*/ 270011 w 583957"/>
              <a:gd name="connsiteY95" fmla="*/ 86311 h 110081"/>
              <a:gd name="connsiteX96" fmla="*/ 265529 w 583957"/>
              <a:gd name="connsiteY96" fmla="*/ 54947 h 110081"/>
              <a:gd name="connsiteX97" fmla="*/ 270011 w 583957"/>
              <a:gd name="connsiteY97" fmla="*/ 23584 h 110081"/>
              <a:gd name="connsiteX98" fmla="*/ 282710 w 583957"/>
              <a:gd name="connsiteY98" fmla="*/ 5849 h 110081"/>
              <a:gd name="connsiteX99" fmla="*/ 300936 w 583957"/>
              <a:gd name="connsiteY99" fmla="*/ 186 h 110081"/>
              <a:gd name="connsiteX100" fmla="*/ 319013 w 583957"/>
              <a:gd name="connsiteY100" fmla="*/ 5849 h 110081"/>
              <a:gd name="connsiteX101" fmla="*/ 331413 w 583957"/>
              <a:gd name="connsiteY101" fmla="*/ 23584 h 110081"/>
              <a:gd name="connsiteX102" fmla="*/ 335895 w 583957"/>
              <a:gd name="connsiteY102" fmla="*/ 54698 h 110081"/>
              <a:gd name="connsiteX103" fmla="*/ 331413 w 583957"/>
              <a:gd name="connsiteY103" fmla="*/ 86062 h 110081"/>
              <a:gd name="connsiteX104" fmla="*/ 319013 w 583957"/>
              <a:gd name="connsiteY104" fmla="*/ 104233 h 110081"/>
              <a:gd name="connsiteX105" fmla="*/ 300936 w 583957"/>
              <a:gd name="connsiteY105" fmla="*/ 110082 h 110081"/>
              <a:gd name="connsiteX106" fmla="*/ 300787 w 583957"/>
              <a:gd name="connsiteY106" fmla="*/ 98258 h 110081"/>
              <a:gd name="connsiteX107" fmla="*/ 312141 w 583957"/>
              <a:gd name="connsiteY107" fmla="*/ 94275 h 110081"/>
              <a:gd name="connsiteX108" fmla="*/ 319312 w 583957"/>
              <a:gd name="connsiteY108" fmla="*/ 80648 h 110081"/>
              <a:gd name="connsiteX109" fmla="*/ 321852 w 583957"/>
              <a:gd name="connsiteY109" fmla="*/ 55134 h 110081"/>
              <a:gd name="connsiteX110" fmla="*/ 319462 w 583957"/>
              <a:gd name="connsiteY110" fmla="*/ 29745 h 110081"/>
              <a:gd name="connsiteX111" fmla="*/ 312290 w 583957"/>
              <a:gd name="connsiteY111" fmla="*/ 16117 h 110081"/>
              <a:gd name="connsiteX112" fmla="*/ 300936 w 583957"/>
              <a:gd name="connsiteY112" fmla="*/ 11947 h 110081"/>
              <a:gd name="connsiteX113" fmla="*/ 289433 w 583957"/>
              <a:gd name="connsiteY113" fmla="*/ 16117 h 110081"/>
              <a:gd name="connsiteX114" fmla="*/ 282112 w 583957"/>
              <a:gd name="connsiteY114" fmla="*/ 29745 h 110081"/>
              <a:gd name="connsiteX115" fmla="*/ 279572 w 583957"/>
              <a:gd name="connsiteY115" fmla="*/ 55134 h 110081"/>
              <a:gd name="connsiteX116" fmla="*/ 281963 w 583957"/>
              <a:gd name="connsiteY116" fmla="*/ 80648 h 110081"/>
              <a:gd name="connsiteX117" fmla="*/ 289283 w 583957"/>
              <a:gd name="connsiteY117" fmla="*/ 94275 h 110081"/>
              <a:gd name="connsiteX118" fmla="*/ 300787 w 583957"/>
              <a:gd name="connsiteY118" fmla="*/ 98258 h 110081"/>
              <a:gd name="connsiteX119" fmla="*/ 383080 w 583957"/>
              <a:gd name="connsiteY119" fmla="*/ 110082 h 110081"/>
              <a:gd name="connsiteX120" fmla="*/ 364854 w 583957"/>
              <a:gd name="connsiteY120" fmla="*/ 104233 h 110081"/>
              <a:gd name="connsiteX121" fmla="*/ 352155 w 583957"/>
              <a:gd name="connsiteY121" fmla="*/ 86311 h 110081"/>
              <a:gd name="connsiteX122" fmla="*/ 347673 w 583957"/>
              <a:gd name="connsiteY122" fmla="*/ 54947 h 110081"/>
              <a:gd name="connsiteX123" fmla="*/ 352155 w 583957"/>
              <a:gd name="connsiteY123" fmla="*/ 23584 h 110081"/>
              <a:gd name="connsiteX124" fmla="*/ 364854 w 583957"/>
              <a:gd name="connsiteY124" fmla="*/ 5849 h 110081"/>
              <a:gd name="connsiteX125" fmla="*/ 383080 w 583957"/>
              <a:gd name="connsiteY125" fmla="*/ 186 h 110081"/>
              <a:gd name="connsiteX126" fmla="*/ 401157 w 583957"/>
              <a:gd name="connsiteY126" fmla="*/ 5849 h 110081"/>
              <a:gd name="connsiteX127" fmla="*/ 413557 w 583957"/>
              <a:gd name="connsiteY127" fmla="*/ 23584 h 110081"/>
              <a:gd name="connsiteX128" fmla="*/ 418039 w 583957"/>
              <a:gd name="connsiteY128" fmla="*/ 54698 h 110081"/>
              <a:gd name="connsiteX129" fmla="*/ 413557 w 583957"/>
              <a:gd name="connsiteY129" fmla="*/ 86062 h 110081"/>
              <a:gd name="connsiteX130" fmla="*/ 401157 w 583957"/>
              <a:gd name="connsiteY130" fmla="*/ 104233 h 110081"/>
              <a:gd name="connsiteX131" fmla="*/ 383080 w 583957"/>
              <a:gd name="connsiteY131" fmla="*/ 110082 h 110081"/>
              <a:gd name="connsiteX132" fmla="*/ 382931 w 583957"/>
              <a:gd name="connsiteY132" fmla="*/ 98258 h 110081"/>
              <a:gd name="connsiteX133" fmla="*/ 394285 w 583957"/>
              <a:gd name="connsiteY133" fmla="*/ 94275 h 110081"/>
              <a:gd name="connsiteX134" fmla="*/ 401456 w 583957"/>
              <a:gd name="connsiteY134" fmla="*/ 80648 h 110081"/>
              <a:gd name="connsiteX135" fmla="*/ 403995 w 583957"/>
              <a:gd name="connsiteY135" fmla="*/ 55134 h 110081"/>
              <a:gd name="connsiteX136" fmla="*/ 401605 w 583957"/>
              <a:gd name="connsiteY136" fmla="*/ 29745 h 110081"/>
              <a:gd name="connsiteX137" fmla="*/ 394434 w 583957"/>
              <a:gd name="connsiteY137" fmla="*/ 16117 h 110081"/>
              <a:gd name="connsiteX138" fmla="*/ 383080 w 583957"/>
              <a:gd name="connsiteY138" fmla="*/ 11947 h 110081"/>
              <a:gd name="connsiteX139" fmla="*/ 371576 w 583957"/>
              <a:gd name="connsiteY139" fmla="*/ 16117 h 110081"/>
              <a:gd name="connsiteX140" fmla="*/ 364256 w 583957"/>
              <a:gd name="connsiteY140" fmla="*/ 29745 h 110081"/>
              <a:gd name="connsiteX141" fmla="*/ 361716 w 583957"/>
              <a:gd name="connsiteY141" fmla="*/ 55134 h 110081"/>
              <a:gd name="connsiteX142" fmla="*/ 364107 w 583957"/>
              <a:gd name="connsiteY142" fmla="*/ 80648 h 110081"/>
              <a:gd name="connsiteX143" fmla="*/ 371427 w 583957"/>
              <a:gd name="connsiteY143" fmla="*/ 94275 h 110081"/>
              <a:gd name="connsiteX144" fmla="*/ 382931 w 583957"/>
              <a:gd name="connsiteY144" fmla="*/ 98258 h 110081"/>
              <a:gd name="connsiteX145" fmla="*/ 487328 w 583957"/>
              <a:gd name="connsiteY145" fmla="*/ 108588 h 110081"/>
              <a:gd name="connsiteX146" fmla="*/ 474181 w 583957"/>
              <a:gd name="connsiteY146" fmla="*/ 108588 h 110081"/>
              <a:gd name="connsiteX147" fmla="*/ 474181 w 583957"/>
              <a:gd name="connsiteY147" fmla="*/ 83199 h 110081"/>
              <a:gd name="connsiteX148" fmla="*/ 427868 w 583957"/>
              <a:gd name="connsiteY148" fmla="*/ 83199 h 110081"/>
              <a:gd name="connsiteX149" fmla="*/ 427868 w 583957"/>
              <a:gd name="connsiteY149" fmla="*/ 73927 h 110081"/>
              <a:gd name="connsiteX150" fmla="*/ 469699 w 583957"/>
              <a:gd name="connsiteY150" fmla="*/ 1493 h 110081"/>
              <a:gd name="connsiteX151" fmla="*/ 487328 w 583957"/>
              <a:gd name="connsiteY151" fmla="*/ 1493 h 110081"/>
              <a:gd name="connsiteX152" fmla="*/ 487328 w 583957"/>
              <a:gd name="connsiteY152" fmla="*/ 71873 h 110081"/>
              <a:gd name="connsiteX153" fmla="*/ 501820 w 583957"/>
              <a:gd name="connsiteY153" fmla="*/ 71873 h 110081"/>
              <a:gd name="connsiteX154" fmla="*/ 501820 w 583957"/>
              <a:gd name="connsiteY154" fmla="*/ 83199 h 110081"/>
              <a:gd name="connsiteX155" fmla="*/ 487328 w 583957"/>
              <a:gd name="connsiteY155" fmla="*/ 83199 h 110081"/>
              <a:gd name="connsiteX156" fmla="*/ 487328 w 583957"/>
              <a:gd name="connsiteY156" fmla="*/ 108588 h 110081"/>
              <a:gd name="connsiteX157" fmla="*/ 441463 w 583957"/>
              <a:gd name="connsiteY157" fmla="*/ 71873 h 110081"/>
              <a:gd name="connsiteX158" fmla="*/ 474181 w 583957"/>
              <a:gd name="connsiteY158" fmla="*/ 71873 h 110081"/>
              <a:gd name="connsiteX159" fmla="*/ 474181 w 583957"/>
              <a:gd name="connsiteY159" fmla="*/ 16117 h 110081"/>
              <a:gd name="connsiteX160" fmla="*/ 441463 w 583957"/>
              <a:gd name="connsiteY160" fmla="*/ 71873 h 110081"/>
              <a:gd name="connsiteX161" fmla="*/ 583957 w 583957"/>
              <a:gd name="connsiteY161" fmla="*/ 73491 h 110081"/>
              <a:gd name="connsiteX162" fmla="*/ 579177 w 583957"/>
              <a:gd name="connsiteY162" fmla="*/ 92782 h 110081"/>
              <a:gd name="connsiteX163" fmla="*/ 566478 w 583957"/>
              <a:gd name="connsiteY163" fmla="*/ 105601 h 110081"/>
              <a:gd name="connsiteX164" fmla="*/ 548401 w 583957"/>
              <a:gd name="connsiteY164" fmla="*/ 110082 h 110081"/>
              <a:gd name="connsiteX165" fmla="*/ 526738 w 583957"/>
              <a:gd name="connsiteY165" fmla="*/ 104108 h 110081"/>
              <a:gd name="connsiteX166" fmla="*/ 514637 w 583957"/>
              <a:gd name="connsiteY166" fmla="*/ 87555 h 110081"/>
              <a:gd name="connsiteX167" fmla="*/ 510902 w 583957"/>
              <a:gd name="connsiteY167" fmla="*/ 63161 h 110081"/>
              <a:gd name="connsiteX168" fmla="*/ 515384 w 583957"/>
              <a:gd name="connsiteY168" fmla="*/ 30181 h 110081"/>
              <a:gd name="connsiteX169" fmla="*/ 529427 w 583957"/>
              <a:gd name="connsiteY169" fmla="*/ 8089 h 110081"/>
              <a:gd name="connsiteX170" fmla="*/ 553928 w 583957"/>
              <a:gd name="connsiteY170" fmla="*/ 0 h 110081"/>
              <a:gd name="connsiteX171" fmla="*/ 576487 w 583957"/>
              <a:gd name="connsiteY171" fmla="*/ 5538 h 110081"/>
              <a:gd name="connsiteX172" fmla="*/ 576487 w 583957"/>
              <a:gd name="connsiteY172" fmla="*/ 18855 h 110081"/>
              <a:gd name="connsiteX173" fmla="*/ 553928 w 583957"/>
              <a:gd name="connsiteY173" fmla="*/ 12259 h 110081"/>
              <a:gd name="connsiteX174" fmla="*/ 538391 w 583957"/>
              <a:gd name="connsiteY174" fmla="*/ 17361 h 110081"/>
              <a:gd name="connsiteX175" fmla="*/ 528531 w 583957"/>
              <a:gd name="connsiteY175" fmla="*/ 31238 h 110081"/>
              <a:gd name="connsiteX176" fmla="*/ 524348 w 583957"/>
              <a:gd name="connsiteY176" fmla="*/ 50778 h 110081"/>
              <a:gd name="connsiteX177" fmla="*/ 535702 w 583957"/>
              <a:gd name="connsiteY177" fmla="*/ 40759 h 110081"/>
              <a:gd name="connsiteX178" fmla="*/ 549745 w 583957"/>
              <a:gd name="connsiteY178" fmla="*/ 37523 h 110081"/>
              <a:gd name="connsiteX179" fmla="*/ 567075 w 583957"/>
              <a:gd name="connsiteY179" fmla="*/ 41693 h 110081"/>
              <a:gd name="connsiteX180" fmla="*/ 579326 w 583957"/>
              <a:gd name="connsiteY180" fmla="*/ 53952 h 110081"/>
              <a:gd name="connsiteX181" fmla="*/ 583957 w 583957"/>
              <a:gd name="connsiteY181" fmla="*/ 73491 h 110081"/>
              <a:gd name="connsiteX182" fmla="*/ 547953 w 583957"/>
              <a:gd name="connsiteY182" fmla="*/ 98134 h 110081"/>
              <a:gd name="connsiteX183" fmla="*/ 558709 w 583957"/>
              <a:gd name="connsiteY183" fmla="*/ 95458 h 110081"/>
              <a:gd name="connsiteX184" fmla="*/ 566627 w 583957"/>
              <a:gd name="connsiteY184" fmla="*/ 87244 h 110081"/>
              <a:gd name="connsiteX185" fmla="*/ 569764 w 583957"/>
              <a:gd name="connsiteY185" fmla="*/ 73803 h 110081"/>
              <a:gd name="connsiteX186" fmla="*/ 566777 w 583957"/>
              <a:gd name="connsiteY186" fmla="*/ 60174 h 110081"/>
              <a:gd name="connsiteX187" fmla="*/ 559157 w 583957"/>
              <a:gd name="connsiteY187" fmla="*/ 51961 h 110081"/>
              <a:gd name="connsiteX188" fmla="*/ 549447 w 583957"/>
              <a:gd name="connsiteY188" fmla="*/ 49160 h 110081"/>
              <a:gd name="connsiteX189" fmla="*/ 532863 w 583957"/>
              <a:gd name="connsiteY189" fmla="*/ 55570 h 110081"/>
              <a:gd name="connsiteX190" fmla="*/ 526290 w 583957"/>
              <a:gd name="connsiteY190" fmla="*/ 74114 h 110081"/>
              <a:gd name="connsiteX191" fmla="*/ 532116 w 583957"/>
              <a:gd name="connsiteY191" fmla="*/ 91538 h 110081"/>
              <a:gd name="connsiteX192" fmla="*/ 547953 w 583957"/>
              <a:gd name="connsiteY192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58395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811" y="110082"/>
                </a:moveTo>
                <a:cubicBezTo>
                  <a:pt x="129839" y="110082"/>
                  <a:pt x="123614" y="108900"/>
                  <a:pt x="118136" y="106473"/>
                </a:cubicBezTo>
                <a:cubicBezTo>
                  <a:pt x="112757" y="104108"/>
                  <a:pt x="108525" y="100685"/>
                  <a:pt x="105437" y="96205"/>
                </a:cubicBezTo>
                <a:cubicBezTo>
                  <a:pt x="102349" y="91600"/>
                  <a:pt x="100806" y="86124"/>
                  <a:pt x="100806" y="79777"/>
                </a:cubicBezTo>
                <a:cubicBezTo>
                  <a:pt x="100806" y="72869"/>
                  <a:pt x="102599" y="67082"/>
                  <a:pt x="106184" y="62291"/>
                </a:cubicBezTo>
                <a:cubicBezTo>
                  <a:pt x="109869" y="57437"/>
                  <a:pt x="114799" y="53889"/>
                  <a:pt x="120974" y="51711"/>
                </a:cubicBezTo>
                <a:cubicBezTo>
                  <a:pt x="115995" y="49720"/>
                  <a:pt x="112010" y="46671"/>
                  <a:pt x="109023" y="42564"/>
                </a:cubicBezTo>
                <a:cubicBezTo>
                  <a:pt x="106134" y="38519"/>
                  <a:pt x="104690" y="33479"/>
                  <a:pt x="104690" y="27504"/>
                </a:cubicBezTo>
                <a:cubicBezTo>
                  <a:pt x="104690" y="21593"/>
                  <a:pt x="106085" y="16615"/>
                  <a:pt x="108873" y="12570"/>
                </a:cubicBezTo>
                <a:cubicBezTo>
                  <a:pt x="111662" y="8463"/>
                  <a:pt x="115496" y="5414"/>
                  <a:pt x="120377" y="3298"/>
                </a:cubicBezTo>
                <a:cubicBezTo>
                  <a:pt x="125257" y="1182"/>
                  <a:pt x="130735" y="186"/>
                  <a:pt x="136811" y="186"/>
                </a:cubicBezTo>
                <a:cubicBezTo>
                  <a:pt x="142787" y="186"/>
                  <a:pt x="148165" y="1182"/>
                  <a:pt x="152946" y="3298"/>
                </a:cubicBezTo>
                <a:cubicBezTo>
                  <a:pt x="157726" y="5289"/>
                  <a:pt x="161511" y="8276"/>
                  <a:pt x="164300" y="12259"/>
                </a:cubicBezTo>
                <a:cubicBezTo>
                  <a:pt x="167188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2" y="46484"/>
                  <a:pt x="157228" y="49596"/>
                  <a:pt x="152348" y="51711"/>
                </a:cubicBezTo>
                <a:cubicBezTo>
                  <a:pt x="158324" y="53765"/>
                  <a:pt x="163104" y="57188"/>
                  <a:pt x="166690" y="61855"/>
                </a:cubicBezTo>
                <a:cubicBezTo>
                  <a:pt x="170375" y="66522"/>
                  <a:pt x="172218" y="72372"/>
                  <a:pt x="172218" y="79341"/>
                </a:cubicBezTo>
                <a:cubicBezTo>
                  <a:pt x="172218" y="85688"/>
                  <a:pt x="170674" y="91226"/>
                  <a:pt x="167587" y="95893"/>
                </a:cubicBezTo>
                <a:cubicBezTo>
                  <a:pt x="164499" y="100498"/>
                  <a:pt x="160266" y="103983"/>
                  <a:pt x="154888" y="106473"/>
                </a:cubicBezTo>
                <a:cubicBezTo>
                  <a:pt x="149609" y="108900"/>
                  <a:pt x="143583" y="110082"/>
                  <a:pt x="136811" y="110082"/>
                </a:cubicBezTo>
                <a:close/>
                <a:moveTo>
                  <a:pt x="136811" y="46298"/>
                </a:moveTo>
                <a:cubicBezTo>
                  <a:pt x="142089" y="46298"/>
                  <a:pt x="146422" y="44804"/>
                  <a:pt x="149808" y="41817"/>
                </a:cubicBezTo>
                <a:cubicBezTo>
                  <a:pt x="153294" y="38768"/>
                  <a:pt x="155037" y="34536"/>
                  <a:pt x="155037" y="29122"/>
                </a:cubicBezTo>
                <a:cubicBezTo>
                  <a:pt x="155037" y="23771"/>
                  <a:pt x="153294" y="19601"/>
                  <a:pt x="149808" y="16615"/>
                </a:cubicBezTo>
                <a:cubicBezTo>
                  <a:pt x="146422" y="13503"/>
                  <a:pt x="142089" y="11947"/>
                  <a:pt x="136811" y="11947"/>
                </a:cubicBezTo>
                <a:cubicBezTo>
                  <a:pt x="131532" y="11947"/>
                  <a:pt x="127100" y="13503"/>
                  <a:pt x="123514" y="16615"/>
                </a:cubicBezTo>
                <a:cubicBezTo>
                  <a:pt x="120028" y="19601"/>
                  <a:pt x="118285" y="23771"/>
                  <a:pt x="118285" y="29122"/>
                </a:cubicBezTo>
                <a:cubicBezTo>
                  <a:pt x="118285" y="34536"/>
                  <a:pt x="120028" y="38768"/>
                  <a:pt x="123514" y="41817"/>
                </a:cubicBezTo>
                <a:cubicBezTo>
                  <a:pt x="127100" y="44804"/>
                  <a:pt x="131532" y="46298"/>
                  <a:pt x="136811" y="46298"/>
                </a:cubicBezTo>
                <a:close/>
                <a:moveTo>
                  <a:pt x="136811" y="98258"/>
                </a:moveTo>
                <a:cubicBezTo>
                  <a:pt x="142986" y="98258"/>
                  <a:pt x="148115" y="96516"/>
                  <a:pt x="152198" y="92907"/>
                </a:cubicBezTo>
                <a:cubicBezTo>
                  <a:pt x="156382" y="89235"/>
                  <a:pt x="158473" y="84071"/>
                  <a:pt x="158473" y="77536"/>
                </a:cubicBezTo>
                <a:cubicBezTo>
                  <a:pt x="158473" y="70940"/>
                  <a:pt x="156382" y="65900"/>
                  <a:pt x="152198" y="62291"/>
                </a:cubicBezTo>
                <a:cubicBezTo>
                  <a:pt x="148115" y="58619"/>
                  <a:pt x="142986" y="56752"/>
                  <a:pt x="136811" y="56752"/>
                </a:cubicBezTo>
                <a:cubicBezTo>
                  <a:pt x="130436" y="56752"/>
                  <a:pt x="125108" y="58619"/>
                  <a:pt x="120825" y="62291"/>
                </a:cubicBezTo>
                <a:cubicBezTo>
                  <a:pt x="116642" y="65900"/>
                  <a:pt x="114550" y="70940"/>
                  <a:pt x="114550" y="77536"/>
                </a:cubicBezTo>
                <a:cubicBezTo>
                  <a:pt x="114550" y="84071"/>
                  <a:pt x="116642" y="89235"/>
                  <a:pt x="120825" y="92907"/>
                </a:cubicBezTo>
                <a:cubicBezTo>
                  <a:pt x="125108" y="96516"/>
                  <a:pt x="130436" y="98258"/>
                  <a:pt x="136811" y="98258"/>
                </a:cubicBez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0" y="72433"/>
                </a:cubicBezTo>
                <a:cubicBezTo>
                  <a:pt x="217753" y="66397"/>
                  <a:pt x="223081" y="61108"/>
                  <a:pt x="226866" y="56628"/>
                </a:cubicBezTo>
                <a:cubicBezTo>
                  <a:pt x="230750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1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8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3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9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9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6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1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2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87328" y="108588"/>
                </a:moveTo>
                <a:lnTo>
                  <a:pt x="474181" y="108588"/>
                </a:lnTo>
                <a:lnTo>
                  <a:pt x="474181" y="83199"/>
                </a:lnTo>
                <a:lnTo>
                  <a:pt x="427868" y="83199"/>
                </a:lnTo>
                <a:lnTo>
                  <a:pt x="427868" y="73927"/>
                </a:lnTo>
                <a:lnTo>
                  <a:pt x="469699" y="1493"/>
                </a:lnTo>
                <a:lnTo>
                  <a:pt x="487328" y="1493"/>
                </a:lnTo>
                <a:lnTo>
                  <a:pt x="487328" y="71873"/>
                </a:lnTo>
                <a:lnTo>
                  <a:pt x="501820" y="71873"/>
                </a:lnTo>
                <a:lnTo>
                  <a:pt x="501820" y="83199"/>
                </a:lnTo>
                <a:lnTo>
                  <a:pt x="487328" y="83199"/>
                </a:lnTo>
                <a:lnTo>
                  <a:pt x="487328" y="108588"/>
                </a:lnTo>
                <a:close/>
                <a:moveTo>
                  <a:pt x="441463" y="71873"/>
                </a:moveTo>
                <a:lnTo>
                  <a:pt x="474181" y="71873"/>
                </a:lnTo>
                <a:lnTo>
                  <a:pt x="474181" y="16117"/>
                </a:lnTo>
                <a:lnTo>
                  <a:pt x="441463" y="71873"/>
                </a:lnTo>
                <a:close/>
                <a:moveTo>
                  <a:pt x="583957" y="73491"/>
                </a:moveTo>
                <a:cubicBezTo>
                  <a:pt x="583957" y="80772"/>
                  <a:pt x="582364" y="87182"/>
                  <a:pt x="579177" y="92782"/>
                </a:cubicBezTo>
                <a:cubicBezTo>
                  <a:pt x="576089" y="98258"/>
                  <a:pt x="571856" y="102490"/>
                  <a:pt x="566478" y="105601"/>
                </a:cubicBezTo>
                <a:cubicBezTo>
                  <a:pt x="561100" y="108588"/>
                  <a:pt x="555074" y="110082"/>
                  <a:pt x="548401" y="110082"/>
                </a:cubicBezTo>
                <a:cubicBezTo>
                  <a:pt x="539437" y="110082"/>
                  <a:pt x="532216" y="108091"/>
                  <a:pt x="526738" y="104108"/>
                </a:cubicBezTo>
                <a:cubicBezTo>
                  <a:pt x="521260" y="100125"/>
                  <a:pt x="517226" y="94587"/>
                  <a:pt x="514637" y="87555"/>
                </a:cubicBezTo>
                <a:cubicBezTo>
                  <a:pt x="512147" y="80461"/>
                  <a:pt x="510902" y="72372"/>
                  <a:pt x="510902" y="63161"/>
                </a:cubicBezTo>
                <a:cubicBezTo>
                  <a:pt x="510902" y="50653"/>
                  <a:pt x="512396" y="39639"/>
                  <a:pt x="515384" y="30181"/>
                </a:cubicBezTo>
                <a:cubicBezTo>
                  <a:pt x="518471" y="20722"/>
                  <a:pt x="523153" y="13379"/>
                  <a:pt x="529427" y="8089"/>
                </a:cubicBezTo>
                <a:cubicBezTo>
                  <a:pt x="535801" y="2675"/>
                  <a:pt x="543969" y="0"/>
                  <a:pt x="553928" y="0"/>
                </a:cubicBezTo>
                <a:cubicBezTo>
                  <a:pt x="562494" y="0"/>
                  <a:pt x="570014" y="1866"/>
                  <a:pt x="576487" y="5538"/>
                </a:cubicBezTo>
                <a:lnTo>
                  <a:pt x="576487" y="18855"/>
                </a:lnTo>
                <a:cubicBezTo>
                  <a:pt x="570014" y="14437"/>
                  <a:pt x="562494" y="12259"/>
                  <a:pt x="553928" y="12259"/>
                </a:cubicBezTo>
                <a:cubicBezTo>
                  <a:pt x="547753" y="12259"/>
                  <a:pt x="542574" y="13939"/>
                  <a:pt x="538391" y="17361"/>
                </a:cubicBezTo>
                <a:cubicBezTo>
                  <a:pt x="534208" y="20722"/>
                  <a:pt x="530921" y="25327"/>
                  <a:pt x="528531" y="31238"/>
                </a:cubicBezTo>
                <a:cubicBezTo>
                  <a:pt x="526240" y="37026"/>
                  <a:pt x="524846" y="43498"/>
                  <a:pt x="524348" y="50778"/>
                </a:cubicBezTo>
                <a:cubicBezTo>
                  <a:pt x="527634" y="46298"/>
                  <a:pt x="531419" y="42999"/>
                  <a:pt x="535702" y="40759"/>
                </a:cubicBezTo>
                <a:cubicBezTo>
                  <a:pt x="539985" y="38581"/>
                  <a:pt x="544666" y="37523"/>
                  <a:pt x="549745" y="37523"/>
                </a:cubicBezTo>
                <a:cubicBezTo>
                  <a:pt x="556219" y="37523"/>
                  <a:pt x="561996" y="38893"/>
                  <a:pt x="567075" y="41693"/>
                </a:cubicBezTo>
                <a:cubicBezTo>
                  <a:pt x="572255" y="44493"/>
                  <a:pt x="576338" y="48538"/>
                  <a:pt x="579326" y="53952"/>
                </a:cubicBezTo>
                <a:cubicBezTo>
                  <a:pt x="582413" y="59179"/>
                  <a:pt x="583957" y="65713"/>
                  <a:pt x="583957" y="73491"/>
                </a:cubicBezTo>
                <a:close/>
                <a:moveTo>
                  <a:pt x="547953" y="98134"/>
                </a:moveTo>
                <a:cubicBezTo>
                  <a:pt x="551837" y="98134"/>
                  <a:pt x="555422" y="97263"/>
                  <a:pt x="558709" y="95458"/>
                </a:cubicBezTo>
                <a:cubicBezTo>
                  <a:pt x="561996" y="93529"/>
                  <a:pt x="564635" y="90791"/>
                  <a:pt x="566627" y="87244"/>
                </a:cubicBezTo>
                <a:cubicBezTo>
                  <a:pt x="568719" y="83635"/>
                  <a:pt x="569764" y="79154"/>
                  <a:pt x="569764" y="73803"/>
                </a:cubicBezTo>
                <a:cubicBezTo>
                  <a:pt x="569764" y="68389"/>
                  <a:pt x="568769" y="63908"/>
                  <a:pt x="566777" y="60174"/>
                </a:cubicBezTo>
                <a:cubicBezTo>
                  <a:pt x="564785" y="56503"/>
                  <a:pt x="562245" y="53765"/>
                  <a:pt x="559157" y="51961"/>
                </a:cubicBezTo>
                <a:cubicBezTo>
                  <a:pt x="556070" y="50093"/>
                  <a:pt x="552833" y="49160"/>
                  <a:pt x="549447" y="49160"/>
                </a:cubicBezTo>
                <a:cubicBezTo>
                  <a:pt x="542873" y="49160"/>
                  <a:pt x="537345" y="51276"/>
                  <a:pt x="532863" y="55570"/>
                </a:cubicBezTo>
                <a:cubicBezTo>
                  <a:pt x="528481" y="59739"/>
                  <a:pt x="526290" y="65900"/>
                  <a:pt x="526290" y="74114"/>
                </a:cubicBezTo>
                <a:cubicBezTo>
                  <a:pt x="526290" y="81270"/>
                  <a:pt x="528232" y="87058"/>
                  <a:pt x="532116" y="91538"/>
                </a:cubicBezTo>
                <a:cubicBezTo>
                  <a:pt x="536001" y="95956"/>
                  <a:pt x="541279" y="98134"/>
                  <a:pt x="547953" y="98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5" name="Полилиния 1064">
            <a:extLst>
              <a:ext uri="{FF2B5EF4-FFF2-40B4-BE49-F238E27FC236}">
                <a16:creationId xmlns:a16="http://schemas.microsoft.com/office/drawing/2014/main" id="{F776F53D-861F-2875-7ED6-FC060D388581}"/>
              </a:ext>
            </a:extLst>
          </p:cNvPr>
          <p:cNvSpPr/>
          <p:nvPr userDrawn="1"/>
        </p:nvSpPr>
        <p:spPr>
          <a:xfrm>
            <a:off x="16903366" y="5240073"/>
            <a:ext cx="1398954" cy="726227"/>
          </a:xfrm>
          <a:custGeom>
            <a:avLst/>
            <a:gdLst>
              <a:gd name="connsiteX0" fmla="*/ 638 w 1198727"/>
              <a:gd name="connsiteY0" fmla="*/ 1222 h 622284"/>
              <a:gd name="connsiteX1" fmla="*/ 1199366 w 1198727"/>
              <a:gd name="connsiteY1" fmla="*/ 1222 h 622284"/>
              <a:gd name="connsiteX2" fmla="*/ 1199366 w 1198727"/>
              <a:gd name="connsiteY2" fmla="*/ 623506 h 622284"/>
              <a:gd name="connsiteX3" fmla="*/ 638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222"/>
                </a:moveTo>
                <a:lnTo>
                  <a:pt x="1199366" y="1222"/>
                </a:lnTo>
                <a:lnTo>
                  <a:pt x="1199366" y="623506"/>
                </a:lnTo>
                <a:lnTo>
                  <a:pt x="638" y="623506"/>
                </a:lnTo>
                <a:close/>
              </a:path>
            </a:pathLst>
          </a:custGeom>
          <a:solidFill>
            <a:srgbClr val="AF00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6" name="Полилиния 1065">
            <a:extLst>
              <a:ext uri="{FF2B5EF4-FFF2-40B4-BE49-F238E27FC236}">
                <a16:creationId xmlns:a16="http://schemas.microsoft.com/office/drawing/2014/main" id="{75ACE156-FD5B-C429-9734-18D4E8B59522}"/>
              </a:ext>
            </a:extLst>
          </p:cNvPr>
          <p:cNvSpPr/>
          <p:nvPr userDrawn="1"/>
        </p:nvSpPr>
        <p:spPr>
          <a:xfrm>
            <a:off x="17026576" y="5542037"/>
            <a:ext cx="728761" cy="128252"/>
          </a:xfrm>
          <a:custGeom>
            <a:avLst/>
            <a:gdLst>
              <a:gd name="connsiteX0" fmla="*/ 22111 w 624456"/>
              <a:gd name="connsiteY0" fmla="*/ 108402 h 109895"/>
              <a:gd name="connsiteX1" fmla="*/ 10159 w 624456"/>
              <a:gd name="connsiteY1" fmla="*/ 108402 h 109895"/>
              <a:gd name="connsiteX2" fmla="*/ 16433 w 624456"/>
              <a:gd name="connsiteY2" fmla="*/ 77475 h 109895"/>
              <a:gd name="connsiteX3" fmla="*/ 0 w 624456"/>
              <a:gd name="connsiteY3" fmla="*/ 77475 h 109895"/>
              <a:gd name="connsiteX4" fmla="*/ 0 w 624456"/>
              <a:gd name="connsiteY4" fmla="*/ 67020 h 109895"/>
              <a:gd name="connsiteX5" fmla="*/ 18675 w 624456"/>
              <a:gd name="connsiteY5" fmla="*/ 67020 h 109895"/>
              <a:gd name="connsiteX6" fmla="*/ 24202 w 624456"/>
              <a:gd name="connsiteY6" fmla="*/ 39826 h 109895"/>
              <a:gd name="connsiteX7" fmla="*/ 4033 w 624456"/>
              <a:gd name="connsiteY7" fmla="*/ 39826 h 109895"/>
              <a:gd name="connsiteX8" fmla="*/ 4033 w 624456"/>
              <a:gd name="connsiteY8" fmla="*/ 29372 h 109895"/>
              <a:gd name="connsiteX9" fmla="*/ 26294 w 624456"/>
              <a:gd name="connsiteY9" fmla="*/ 29372 h 109895"/>
              <a:gd name="connsiteX10" fmla="*/ 32120 w 624456"/>
              <a:gd name="connsiteY10" fmla="*/ 1307 h 109895"/>
              <a:gd name="connsiteX11" fmla="*/ 44072 w 624456"/>
              <a:gd name="connsiteY11" fmla="*/ 1307 h 109895"/>
              <a:gd name="connsiteX12" fmla="*/ 38246 w 624456"/>
              <a:gd name="connsiteY12" fmla="*/ 29372 h 109895"/>
              <a:gd name="connsiteX13" fmla="*/ 60655 w 624456"/>
              <a:gd name="connsiteY13" fmla="*/ 29372 h 109895"/>
              <a:gd name="connsiteX14" fmla="*/ 66482 w 624456"/>
              <a:gd name="connsiteY14" fmla="*/ 1307 h 109895"/>
              <a:gd name="connsiteX15" fmla="*/ 78434 w 624456"/>
              <a:gd name="connsiteY15" fmla="*/ 1307 h 109895"/>
              <a:gd name="connsiteX16" fmla="*/ 72607 w 624456"/>
              <a:gd name="connsiteY16" fmla="*/ 29372 h 109895"/>
              <a:gd name="connsiteX17" fmla="*/ 89340 w 624456"/>
              <a:gd name="connsiteY17" fmla="*/ 29372 h 109895"/>
              <a:gd name="connsiteX18" fmla="*/ 89340 w 624456"/>
              <a:gd name="connsiteY18" fmla="*/ 39826 h 109895"/>
              <a:gd name="connsiteX19" fmla="*/ 70516 w 624456"/>
              <a:gd name="connsiteY19" fmla="*/ 39826 h 109895"/>
              <a:gd name="connsiteX20" fmla="*/ 64988 w 624456"/>
              <a:gd name="connsiteY20" fmla="*/ 67020 h 109895"/>
              <a:gd name="connsiteX21" fmla="*/ 85306 w 624456"/>
              <a:gd name="connsiteY21" fmla="*/ 67020 h 109895"/>
              <a:gd name="connsiteX22" fmla="*/ 85306 w 624456"/>
              <a:gd name="connsiteY22" fmla="*/ 77475 h 109895"/>
              <a:gd name="connsiteX23" fmla="*/ 62747 w 624456"/>
              <a:gd name="connsiteY23" fmla="*/ 77475 h 109895"/>
              <a:gd name="connsiteX24" fmla="*/ 56472 w 624456"/>
              <a:gd name="connsiteY24" fmla="*/ 108402 h 109895"/>
              <a:gd name="connsiteX25" fmla="*/ 44520 w 624456"/>
              <a:gd name="connsiteY25" fmla="*/ 108402 h 109895"/>
              <a:gd name="connsiteX26" fmla="*/ 50795 w 624456"/>
              <a:gd name="connsiteY26" fmla="*/ 77475 h 109895"/>
              <a:gd name="connsiteX27" fmla="*/ 28386 w 624456"/>
              <a:gd name="connsiteY27" fmla="*/ 77475 h 109895"/>
              <a:gd name="connsiteX28" fmla="*/ 22111 w 624456"/>
              <a:gd name="connsiteY28" fmla="*/ 108402 h 109895"/>
              <a:gd name="connsiteX29" fmla="*/ 30626 w 624456"/>
              <a:gd name="connsiteY29" fmla="*/ 67020 h 109895"/>
              <a:gd name="connsiteX30" fmla="*/ 53036 w 624456"/>
              <a:gd name="connsiteY30" fmla="*/ 67020 h 109895"/>
              <a:gd name="connsiteX31" fmla="*/ 58564 w 624456"/>
              <a:gd name="connsiteY31" fmla="*/ 39826 h 109895"/>
              <a:gd name="connsiteX32" fmla="*/ 36154 w 624456"/>
              <a:gd name="connsiteY32" fmla="*/ 39826 h 109895"/>
              <a:gd name="connsiteX33" fmla="*/ 30626 w 624456"/>
              <a:gd name="connsiteY33" fmla="*/ 67020 h 109895"/>
              <a:gd name="connsiteX34" fmla="*/ 189691 w 624456"/>
              <a:gd name="connsiteY34" fmla="*/ 108402 h 109895"/>
              <a:gd name="connsiteX35" fmla="*/ 174751 w 624456"/>
              <a:gd name="connsiteY35" fmla="*/ 108402 h 109895"/>
              <a:gd name="connsiteX36" fmla="*/ 163696 w 624456"/>
              <a:gd name="connsiteY36" fmla="*/ 77786 h 109895"/>
              <a:gd name="connsiteX37" fmla="*/ 116337 w 624456"/>
              <a:gd name="connsiteY37" fmla="*/ 77786 h 109895"/>
              <a:gd name="connsiteX38" fmla="*/ 105431 w 624456"/>
              <a:gd name="connsiteY38" fmla="*/ 108402 h 109895"/>
              <a:gd name="connsiteX39" fmla="*/ 92284 w 624456"/>
              <a:gd name="connsiteY39" fmla="*/ 108402 h 109895"/>
              <a:gd name="connsiteX40" fmla="*/ 130380 w 624456"/>
              <a:gd name="connsiteY40" fmla="*/ 1307 h 109895"/>
              <a:gd name="connsiteX41" fmla="*/ 151296 w 624456"/>
              <a:gd name="connsiteY41" fmla="*/ 1307 h 109895"/>
              <a:gd name="connsiteX42" fmla="*/ 189691 w 624456"/>
              <a:gd name="connsiteY42" fmla="*/ 108402 h 109895"/>
              <a:gd name="connsiteX43" fmla="*/ 120968 w 624456"/>
              <a:gd name="connsiteY43" fmla="*/ 65091 h 109895"/>
              <a:gd name="connsiteX44" fmla="*/ 159214 w 624456"/>
              <a:gd name="connsiteY44" fmla="*/ 65091 h 109895"/>
              <a:gd name="connsiteX45" fmla="*/ 140091 w 624456"/>
              <a:gd name="connsiteY45" fmla="*/ 11761 h 109895"/>
              <a:gd name="connsiteX46" fmla="*/ 120968 w 624456"/>
              <a:gd name="connsiteY46" fmla="*/ 65091 h 109895"/>
              <a:gd name="connsiteX47" fmla="*/ 205284 w 624456"/>
              <a:gd name="connsiteY47" fmla="*/ 1307 h 109895"/>
              <a:gd name="connsiteX48" fmla="*/ 270721 w 624456"/>
              <a:gd name="connsiteY48" fmla="*/ 1307 h 109895"/>
              <a:gd name="connsiteX49" fmla="*/ 270721 w 624456"/>
              <a:gd name="connsiteY49" fmla="*/ 14188 h 109895"/>
              <a:gd name="connsiteX50" fmla="*/ 219328 w 624456"/>
              <a:gd name="connsiteY50" fmla="*/ 14188 h 109895"/>
              <a:gd name="connsiteX51" fmla="*/ 219328 w 624456"/>
              <a:gd name="connsiteY51" fmla="*/ 49720 h 109895"/>
              <a:gd name="connsiteX52" fmla="*/ 262952 w 624456"/>
              <a:gd name="connsiteY52" fmla="*/ 49720 h 109895"/>
              <a:gd name="connsiteX53" fmla="*/ 262952 w 624456"/>
              <a:gd name="connsiteY53" fmla="*/ 62415 h 109895"/>
              <a:gd name="connsiteX54" fmla="*/ 219328 w 624456"/>
              <a:gd name="connsiteY54" fmla="*/ 62415 h 109895"/>
              <a:gd name="connsiteX55" fmla="*/ 219328 w 624456"/>
              <a:gd name="connsiteY55" fmla="*/ 108402 h 109895"/>
              <a:gd name="connsiteX56" fmla="*/ 205284 w 624456"/>
              <a:gd name="connsiteY56" fmla="*/ 108402 h 109895"/>
              <a:gd name="connsiteX57" fmla="*/ 205284 w 624456"/>
              <a:gd name="connsiteY57" fmla="*/ 1307 h 109895"/>
              <a:gd name="connsiteX58" fmla="*/ 319026 w 624456"/>
              <a:gd name="connsiteY58" fmla="*/ 109896 h 109895"/>
              <a:gd name="connsiteX59" fmla="*/ 300799 w 624456"/>
              <a:gd name="connsiteY59" fmla="*/ 104047 h 109895"/>
              <a:gd name="connsiteX60" fmla="*/ 288100 w 624456"/>
              <a:gd name="connsiteY60" fmla="*/ 86125 h 109895"/>
              <a:gd name="connsiteX61" fmla="*/ 283618 w 624456"/>
              <a:gd name="connsiteY61" fmla="*/ 54761 h 109895"/>
              <a:gd name="connsiteX62" fmla="*/ 288100 w 624456"/>
              <a:gd name="connsiteY62" fmla="*/ 23398 h 109895"/>
              <a:gd name="connsiteX63" fmla="*/ 300799 w 624456"/>
              <a:gd name="connsiteY63" fmla="*/ 5663 h 109895"/>
              <a:gd name="connsiteX64" fmla="*/ 319026 w 624456"/>
              <a:gd name="connsiteY64" fmla="*/ 0 h 109895"/>
              <a:gd name="connsiteX65" fmla="*/ 337103 w 624456"/>
              <a:gd name="connsiteY65" fmla="*/ 5663 h 109895"/>
              <a:gd name="connsiteX66" fmla="*/ 349503 w 624456"/>
              <a:gd name="connsiteY66" fmla="*/ 23398 h 109895"/>
              <a:gd name="connsiteX67" fmla="*/ 353985 w 624456"/>
              <a:gd name="connsiteY67" fmla="*/ 54512 h 109895"/>
              <a:gd name="connsiteX68" fmla="*/ 349503 w 624456"/>
              <a:gd name="connsiteY68" fmla="*/ 85876 h 109895"/>
              <a:gd name="connsiteX69" fmla="*/ 337103 w 624456"/>
              <a:gd name="connsiteY69" fmla="*/ 104047 h 109895"/>
              <a:gd name="connsiteX70" fmla="*/ 319026 w 624456"/>
              <a:gd name="connsiteY70" fmla="*/ 109896 h 109895"/>
              <a:gd name="connsiteX71" fmla="*/ 318876 w 624456"/>
              <a:gd name="connsiteY71" fmla="*/ 98072 h 109895"/>
              <a:gd name="connsiteX72" fmla="*/ 330231 w 624456"/>
              <a:gd name="connsiteY72" fmla="*/ 94089 h 109895"/>
              <a:gd name="connsiteX73" fmla="*/ 337402 w 624456"/>
              <a:gd name="connsiteY73" fmla="*/ 80462 h 109895"/>
              <a:gd name="connsiteX74" fmla="*/ 339941 w 624456"/>
              <a:gd name="connsiteY74" fmla="*/ 54948 h 109895"/>
              <a:gd name="connsiteX75" fmla="*/ 337551 w 624456"/>
              <a:gd name="connsiteY75" fmla="*/ 29559 h 109895"/>
              <a:gd name="connsiteX76" fmla="*/ 330380 w 624456"/>
              <a:gd name="connsiteY76" fmla="*/ 15931 h 109895"/>
              <a:gd name="connsiteX77" fmla="*/ 319026 w 624456"/>
              <a:gd name="connsiteY77" fmla="*/ 11761 h 109895"/>
              <a:gd name="connsiteX78" fmla="*/ 307522 w 624456"/>
              <a:gd name="connsiteY78" fmla="*/ 15931 h 109895"/>
              <a:gd name="connsiteX79" fmla="*/ 300201 w 624456"/>
              <a:gd name="connsiteY79" fmla="*/ 29559 h 109895"/>
              <a:gd name="connsiteX80" fmla="*/ 297662 w 624456"/>
              <a:gd name="connsiteY80" fmla="*/ 54948 h 109895"/>
              <a:gd name="connsiteX81" fmla="*/ 300052 w 624456"/>
              <a:gd name="connsiteY81" fmla="*/ 80462 h 109895"/>
              <a:gd name="connsiteX82" fmla="*/ 307373 w 624456"/>
              <a:gd name="connsiteY82" fmla="*/ 94089 h 109895"/>
              <a:gd name="connsiteX83" fmla="*/ 318876 w 624456"/>
              <a:gd name="connsiteY83" fmla="*/ 98072 h 109895"/>
              <a:gd name="connsiteX84" fmla="*/ 401169 w 624456"/>
              <a:gd name="connsiteY84" fmla="*/ 109896 h 109895"/>
              <a:gd name="connsiteX85" fmla="*/ 382943 w 624456"/>
              <a:gd name="connsiteY85" fmla="*/ 104047 h 109895"/>
              <a:gd name="connsiteX86" fmla="*/ 370244 w 624456"/>
              <a:gd name="connsiteY86" fmla="*/ 86125 h 109895"/>
              <a:gd name="connsiteX87" fmla="*/ 365762 w 624456"/>
              <a:gd name="connsiteY87" fmla="*/ 54761 h 109895"/>
              <a:gd name="connsiteX88" fmla="*/ 370244 w 624456"/>
              <a:gd name="connsiteY88" fmla="*/ 23398 h 109895"/>
              <a:gd name="connsiteX89" fmla="*/ 382943 w 624456"/>
              <a:gd name="connsiteY89" fmla="*/ 5663 h 109895"/>
              <a:gd name="connsiteX90" fmla="*/ 401169 w 624456"/>
              <a:gd name="connsiteY90" fmla="*/ 0 h 109895"/>
              <a:gd name="connsiteX91" fmla="*/ 419247 w 624456"/>
              <a:gd name="connsiteY91" fmla="*/ 5663 h 109895"/>
              <a:gd name="connsiteX92" fmla="*/ 431647 w 624456"/>
              <a:gd name="connsiteY92" fmla="*/ 23398 h 109895"/>
              <a:gd name="connsiteX93" fmla="*/ 436128 w 624456"/>
              <a:gd name="connsiteY93" fmla="*/ 54512 h 109895"/>
              <a:gd name="connsiteX94" fmla="*/ 431647 w 624456"/>
              <a:gd name="connsiteY94" fmla="*/ 85876 h 109895"/>
              <a:gd name="connsiteX95" fmla="*/ 419247 w 624456"/>
              <a:gd name="connsiteY95" fmla="*/ 104047 h 109895"/>
              <a:gd name="connsiteX96" fmla="*/ 401169 w 624456"/>
              <a:gd name="connsiteY96" fmla="*/ 109896 h 109895"/>
              <a:gd name="connsiteX97" fmla="*/ 401020 w 624456"/>
              <a:gd name="connsiteY97" fmla="*/ 98072 h 109895"/>
              <a:gd name="connsiteX98" fmla="*/ 412374 w 624456"/>
              <a:gd name="connsiteY98" fmla="*/ 94089 h 109895"/>
              <a:gd name="connsiteX99" fmla="*/ 419545 w 624456"/>
              <a:gd name="connsiteY99" fmla="*/ 80462 h 109895"/>
              <a:gd name="connsiteX100" fmla="*/ 422085 w 624456"/>
              <a:gd name="connsiteY100" fmla="*/ 54948 h 109895"/>
              <a:gd name="connsiteX101" fmla="*/ 419695 w 624456"/>
              <a:gd name="connsiteY101" fmla="*/ 29559 h 109895"/>
              <a:gd name="connsiteX102" fmla="*/ 412524 w 624456"/>
              <a:gd name="connsiteY102" fmla="*/ 15931 h 109895"/>
              <a:gd name="connsiteX103" fmla="*/ 401169 w 624456"/>
              <a:gd name="connsiteY103" fmla="*/ 11761 h 109895"/>
              <a:gd name="connsiteX104" fmla="*/ 389666 w 624456"/>
              <a:gd name="connsiteY104" fmla="*/ 15931 h 109895"/>
              <a:gd name="connsiteX105" fmla="*/ 382345 w 624456"/>
              <a:gd name="connsiteY105" fmla="*/ 29559 h 109895"/>
              <a:gd name="connsiteX106" fmla="*/ 379806 w 624456"/>
              <a:gd name="connsiteY106" fmla="*/ 54948 h 109895"/>
              <a:gd name="connsiteX107" fmla="*/ 382196 w 624456"/>
              <a:gd name="connsiteY107" fmla="*/ 80462 h 109895"/>
              <a:gd name="connsiteX108" fmla="*/ 389516 w 624456"/>
              <a:gd name="connsiteY108" fmla="*/ 94089 h 109895"/>
              <a:gd name="connsiteX109" fmla="*/ 401020 w 624456"/>
              <a:gd name="connsiteY109" fmla="*/ 98072 h 109895"/>
              <a:gd name="connsiteX110" fmla="*/ 478377 w 624456"/>
              <a:gd name="connsiteY110" fmla="*/ 109896 h 109895"/>
              <a:gd name="connsiteX111" fmla="*/ 449842 w 624456"/>
              <a:gd name="connsiteY111" fmla="*/ 102304 h 109895"/>
              <a:gd name="connsiteX112" fmla="*/ 449842 w 624456"/>
              <a:gd name="connsiteY112" fmla="*/ 87618 h 109895"/>
              <a:gd name="connsiteX113" fmla="*/ 462989 w 624456"/>
              <a:gd name="connsiteY113" fmla="*/ 95272 h 109895"/>
              <a:gd name="connsiteX114" fmla="*/ 478377 w 624456"/>
              <a:gd name="connsiteY114" fmla="*/ 97637 h 109895"/>
              <a:gd name="connsiteX115" fmla="*/ 495408 w 624456"/>
              <a:gd name="connsiteY115" fmla="*/ 90916 h 109895"/>
              <a:gd name="connsiteX116" fmla="*/ 501533 w 624456"/>
              <a:gd name="connsiteY116" fmla="*/ 73305 h 109895"/>
              <a:gd name="connsiteX117" fmla="*/ 495558 w 624456"/>
              <a:gd name="connsiteY117" fmla="*/ 56255 h 109895"/>
              <a:gd name="connsiteX118" fmla="*/ 480469 w 624456"/>
              <a:gd name="connsiteY118" fmla="*/ 50903 h 109895"/>
              <a:gd name="connsiteX119" fmla="*/ 469861 w 624456"/>
              <a:gd name="connsiteY119" fmla="*/ 53143 h 109895"/>
              <a:gd name="connsiteX120" fmla="*/ 463736 w 624456"/>
              <a:gd name="connsiteY120" fmla="*/ 57624 h 109895"/>
              <a:gd name="connsiteX121" fmla="*/ 452830 w 624456"/>
              <a:gd name="connsiteY121" fmla="*/ 57624 h 109895"/>
              <a:gd name="connsiteX122" fmla="*/ 452830 w 624456"/>
              <a:gd name="connsiteY122" fmla="*/ 1307 h 109895"/>
              <a:gd name="connsiteX123" fmla="*/ 510796 w 624456"/>
              <a:gd name="connsiteY123" fmla="*/ 1307 h 109895"/>
              <a:gd name="connsiteX124" fmla="*/ 510796 w 624456"/>
              <a:gd name="connsiteY124" fmla="*/ 14188 h 109895"/>
              <a:gd name="connsiteX125" fmla="*/ 465080 w 624456"/>
              <a:gd name="connsiteY125" fmla="*/ 14188 h 109895"/>
              <a:gd name="connsiteX126" fmla="*/ 465080 w 624456"/>
              <a:gd name="connsiteY126" fmla="*/ 44805 h 109895"/>
              <a:gd name="connsiteX127" fmla="*/ 472401 w 624456"/>
              <a:gd name="connsiteY127" fmla="*/ 40885 h 109895"/>
              <a:gd name="connsiteX128" fmla="*/ 482709 w 624456"/>
              <a:gd name="connsiteY128" fmla="*/ 39080 h 109895"/>
              <a:gd name="connsiteX129" fmla="*/ 499442 w 624456"/>
              <a:gd name="connsiteY129" fmla="*/ 43000 h 109895"/>
              <a:gd name="connsiteX130" fmla="*/ 511244 w 624456"/>
              <a:gd name="connsiteY130" fmla="*/ 54326 h 109895"/>
              <a:gd name="connsiteX131" fmla="*/ 515726 w 624456"/>
              <a:gd name="connsiteY131" fmla="*/ 72995 h 109895"/>
              <a:gd name="connsiteX132" fmla="*/ 511095 w 624456"/>
              <a:gd name="connsiteY132" fmla="*/ 92410 h 109895"/>
              <a:gd name="connsiteX133" fmla="*/ 498247 w 624456"/>
              <a:gd name="connsiteY133" fmla="*/ 105415 h 109895"/>
              <a:gd name="connsiteX134" fmla="*/ 478377 w 624456"/>
              <a:gd name="connsiteY134" fmla="*/ 109896 h 109895"/>
              <a:gd name="connsiteX135" fmla="*/ 624456 w 624456"/>
              <a:gd name="connsiteY135" fmla="*/ 108402 h 109895"/>
              <a:gd name="connsiteX136" fmla="*/ 609517 w 624456"/>
              <a:gd name="connsiteY136" fmla="*/ 108402 h 109895"/>
              <a:gd name="connsiteX137" fmla="*/ 598461 w 624456"/>
              <a:gd name="connsiteY137" fmla="*/ 77786 h 109895"/>
              <a:gd name="connsiteX138" fmla="*/ 551102 w 624456"/>
              <a:gd name="connsiteY138" fmla="*/ 77786 h 109895"/>
              <a:gd name="connsiteX139" fmla="*/ 540196 w 624456"/>
              <a:gd name="connsiteY139" fmla="*/ 108402 h 109895"/>
              <a:gd name="connsiteX140" fmla="*/ 527049 w 624456"/>
              <a:gd name="connsiteY140" fmla="*/ 108402 h 109895"/>
              <a:gd name="connsiteX141" fmla="*/ 565146 w 624456"/>
              <a:gd name="connsiteY141" fmla="*/ 1307 h 109895"/>
              <a:gd name="connsiteX142" fmla="*/ 586061 w 624456"/>
              <a:gd name="connsiteY142" fmla="*/ 1307 h 109895"/>
              <a:gd name="connsiteX143" fmla="*/ 624456 w 624456"/>
              <a:gd name="connsiteY143" fmla="*/ 108402 h 109895"/>
              <a:gd name="connsiteX144" fmla="*/ 555734 w 624456"/>
              <a:gd name="connsiteY144" fmla="*/ 65091 h 109895"/>
              <a:gd name="connsiteX145" fmla="*/ 593979 w 624456"/>
              <a:gd name="connsiteY145" fmla="*/ 65091 h 109895"/>
              <a:gd name="connsiteX146" fmla="*/ 574856 w 624456"/>
              <a:gd name="connsiteY146" fmla="*/ 11761 h 109895"/>
              <a:gd name="connsiteX147" fmla="*/ 555734 w 624456"/>
              <a:gd name="connsiteY147" fmla="*/ 65091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24456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89691" y="108402"/>
                </a:moveTo>
                <a:lnTo>
                  <a:pt x="174751" y="108402"/>
                </a:lnTo>
                <a:lnTo>
                  <a:pt x="163696" y="77786"/>
                </a:lnTo>
                <a:lnTo>
                  <a:pt x="116337" y="77786"/>
                </a:lnTo>
                <a:lnTo>
                  <a:pt x="105431" y="108402"/>
                </a:lnTo>
                <a:lnTo>
                  <a:pt x="92284" y="108402"/>
                </a:lnTo>
                <a:lnTo>
                  <a:pt x="130380" y="1307"/>
                </a:lnTo>
                <a:lnTo>
                  <a:pt x="151296" y="1307"/>
                </a:lnTo>
                <a:lnTo>
                  <a:pt x="189691" y="108402"/>
                </a:lnTo>
                <a:close/>
                <a:moveTo>
                  <a:pt x="120968" y="65091"/>
                </a:moveTo>
                <a:lnTo>
                  <a:pt x="159214" y="65091"/>
                </a:lnTo>
                <a:lnTo>
                  <a:pt x="140091" y="11761"/>
                </a:lnTo>
                <a:lnTo>
                  <a:pt x="120968" y="65091"/>
                </a:lnTo>
                <a:close/>
                <a:moveTo>
                  <a:pt x="205284" y="1307"/>
                </a:moveTo>
                <a:lnTo>
                  <a:pt x="270721" y="1307"/>
                </a:lnTo>
                <a:lnTo>
                  <a:pt x="270721" y="14188"/>
                </a:lnTo>
                <a:lnTo>
                  <a:pt x="219328" y="14188"/>
                </a:lnTo>
                <a:lnTo>
                  <a:pt x="219328" y="49720"/>
                </a:lnTo>
                <a:lnTo>
                  <a:pt x="262952" y="49720"/>
                </a:lnTo>
                <a:lnTo>
                  <a:pt x="262952" y="62415"/>
                </a:lnTo>
                <a:lnTo>
                  <a:pt x="219328" y="62415"/>
                </a:lnTo>
                <a:lnTo>
                  <a:pt x="219328" y="108402"/>
                </a:lnTo>
                <a:lnTo>
                  <a:pt x="205284" y="108402"/>
                </a:lnTo>
                <a:lnTo>
                  <a:pt x="205284" y="1307"/>
                </a:lnTo>
                <a:close/>
                <a:moveTo>
                  <a:pt x="319026" y="109896"/>
                </a:moveTo>
                <a:cubicBezTo>
                  <a:pt x="312253" y="109896"/>
                  <a:pt x="306178" y="107967"/>
                  <a:pt x="300799" y="104047"/>
                </a:cubicBezTo>
                <a:cubicBezTo>
                  <a:pt x="295421" y="100188"/>
                  <a:pt x="291188" y="94214"/>
                  <a:pt x="288100" y="86125"/>
                </a:cubicBezTo>
                <a:cubicBezTo>
                  <a:pt x="285113" y="77972"/>
                  <a:pt x="283618" y="67518"/>
                  <a:pt x="283618" y="54761"/>
                </a:cubicBezTo>
                <a:cubicBezTo>
                  <a:pt x="283618" y="41942"/>
                  <a:pt x="285113" y="31488"/>
                  <a:pt x="288100" y="23398"/>
                </a:cubicBezTo>
                <a:cubicBezTo>
                  <a:pt x="291188" y="15371"/>
                  <a:pt x="295421" y="9459"/>
                  <a:pt x="300799" y="5663"/>
                </a:cubicBezTo>
                <a:cubicBezTo>
                  <a:pt x="306178" y="1867"/>
                  <a:pt x="312253" y="0"/>
                  <a:pt x="319026" y="0"/>
                </a:cubicBezTo>
                <a:cubicBezTo>
                  <a:pt x="325798" y="0"/>
                  <a:pt x="331824" y="1867"/>
                  <a:pt x="337103" y="5663"/>
                </a:cubicBezTo>
                <a:cubicBezTo>
                  <a:pt x="342381" y="9459"/>
                  <a:pt x="346515" y="15371"/>
                  <a:pt x="349503" y="23398"/>
                </a:cubicBezTo>
                <a:cubicBezTo>
                  <a:pt x="352491" y="31363"/>
                  <a:pt x="353985" y="41756"/>
                  <a:pt x="353985" y="54512"/>
                </a:cubicBezTo>
                <a:cubicBezTo>
                  <a:pt x="353985" y="67145"/>
                  <a:pt x="352491" y="77599"/>
                  <a:pt x="349503" y="85876"/>
                </a:cubicBezTo>
                <a:cubicBezTo>
                  <a:pt x="346515" y="94027"/>
                  <a:pt x="342381" y="100064"/>
                  <a:pt x="337103" y="104047"/>
                </a:cubicBezTo>
                <a:cubicBezTo>
                  <a:pt x="331824" y="107967"/>
                  <a:pt x="325798" y="109896"/>
                  <a:pt x="319026" y="109896"/>
                </a:cubicBezTo>
                <a:close/>
                <a:moveTo>
                  <a:pt x="318876" y="98072"/>
                </a:moveTo>
                <a:cubicBezTo>
                  <a:pt x="323358" y="98072"/>
                  <a:pt x="327143" y="96766"/>
                  <a:pt x="330231" y="94089"/>
                </a:cubicBezTo>
                <a:cubicBezTo>
                  <a:pt x="333418" y="91289"/>
                  <a:pt x="335808" y="86747"/>
                  <a:pt x="337402" y="80462"/>
                </a:cubicBezTo>
                <a:cubicBezTo>
                  <a:pt x="339095" y="74114"/>
                  <a:pt x="339941" y="65589"/>
                  <a:pt x="339941" y="54948"/>
                </a:cubicBezTo>
                <a:cubicBezTo>
                  <a:pt x="339941" y="44307"/>
                  <a:pt x="339145" y="35844"/>
                  <a:pt x="337551" y="29559"/>
                </a:cubicBezTo>
                <a:cubicBezTo>
                  <a:pt x="335957" y="23150"/>
                  <a:pt x="333567" y="18669"/>
                  <a:pt x="330380" y="15931"/>
                </a:cubicBezTo>
                <a:cubicBezTo>
                  <a:pt x="327293" y="13192"/>
                  <a:pt x="323508" y="11761"/>
                  <a:pt x="319026" y="11761"/>
                </a:cubicBezTo>
                <a:cubicBezTo>
                  <a:pt x="314544" y="11761"/>
                  <a:pt x="310709" y="13192"/>
                  <a:pt x="307522" y="15931"/>
                </a:cubicBezTo>
                <a:cubicBezTo>
                  <a:pt x="304335" y="18669"/>
                  <a:pt x="301895" y="23150"/>
                  <a:pt x="300201" y="29559"/>
                </a:cubicBezTo>
                <a:cubicBezTo>
                  <a:pt x="298508" y="35844"/>
                  <a:pt x="297662" y="44307"/>
                  <a:pt x="297662" y="54948"/>
                </a:cubicBezTo>
                <a:cubicBezTo>
                  <a:pt x="297662" y="65589"/>
                  <a:pt x="298459" y="74114"/>
                  <a:pt x="300052" y="80462"/>
                </a:cubicBezTo>
                <a:cubicBezTo>
                  <a:pt x="301746" y="86747"/>
                  <a:pt x="304186" y="91289"/>
                  <a:pt x="307373" y="94089"/>
                </a:cubicBezTo>
                <a:cubicBezTo>
                  <a:pt x="310560" y="96766"/>
                  <a:pt x="314394" y="98072"/>
                  <a:pt x="318876" y="98072"/>
                </a:cubicBezTo>
                <a:close/>
                <a:moveTo>
                  <a:pt x="401169" y="109896"/>
                </a:moveTo>
                <a:cubicBezTo>
                  <a:pt x="394397" y="109896"/>
                  <a:pt x="388321" y="107967"/>
                  <a:pt x="382943" y="104047"/>
                </a:cubicBezTo>
                <a:cubicBezTo>
                  <a:pt x="377565" y="100188"/>
                  <a:pt x="373332" y="94214"/>
                  <a:pt x="370244" y="86125"/>
                </a:cubicBezTo>
                <a:cubicBezTo>
                  <a:pt x="367256" y="77972"/>
                  <a:pt x="365762" y="67518"/>
                  <a:pt x="365762" y="54761"/>
                </a:cubicBezTo>
                <a:cubicBezTo>
                  <a:pt x="365762" y="41942"/>
                  <a:pt x="367256" y="31488"/>
                  <a:pt x="370244" y="23398"/>
                </a:cubicBezTo>
                <a:cubicBezTo>
                  <a:pt x="373332" y="15371"/>
                  <a:pt x="377565" y="9459"/>
                  <a:pt x="382943" y="5663"/>
                </a:cubicBezTo>
                <a:cubicBezTo>
                  <a:pt x="388321" y="1867"/>
                  <a:pt x="394397" y="0"/>
                  <a:pt x="401169" y="0"/>
                </a:cubicBezTo>
                <a:cubicBezTo>
                  <a:pt x="407942" y="0"/>
                  <a:pt x="413968" y="1867"/>
                  <a:pt x="419247" y="5663"/>
                </a:cubicBezTo>
                <a:cubicBezTo>
                  <a:pt x="424525" y="9459"/>
                  <a:pt x="428659" y="15371"/>
                  <a:pt x="431647" y="23398"/>
                </a:cubicBezTo>
                <a:cubicBezTo>
                  <a:pt x="434634" y="31363"/>
                  <a:pt x="436128" y="41756"/>
                  <a:pt x="436128" y="54512"/>
                </a:cubicBezTo>
                <a:cubicBezTo>
                  <a:pt x="436128" y="67145"/>
                  <a:pt x="434634" y="77599"/>
                  <a:pt x="431647" y="85876"/>
                </a:cubicBezTo>
                <a:cubicBezTo>
                  <a:pt x="428659" y="94027"/>
                  <a:pt x="424525" y="100064"/>
                  <a:pt x="419247" y="104047"/>
                </a:cubicBezTo>
                <a:cubicBezTo>
                  <a:pt x="413968" y="107967"/>
                  <a:pt x="407942" y="109896"/>
                  <a:pt x="401169" y="109896"/>
                </a:cubicBezTo>
                <a:close/>
                <a:moveTo>
                  <a:pt x="401020" y="98072"/>
                </a:moveTo>
                <a:cubicBezTo>
                  <a:pt x="405502" y="98072"/>
                  <a:pt x="409287" y="96766"/>
                  <a:pt x="412374" y="94089"/>
                </a:cubicBezTo>
                <a:cubicBezTo>
                  <a:pt x="415562" y="91289"/>
                  <a:pt x="417952" y="86747"/>
                  <a:pt x="419545" y="80462"/>
                </a:cubicBezTo>
                <a:cubicBezTo>
                  <a:pt x="421239" y="74114"/>
                  <a:pt x="422085" y="65589"/>
                  <a:pt x="422085" y="54948"/>
                </a:cubicBezTo>
                <a:cubicBezTo>
                  <a:pt x="422085" y="44307"/>
                  <a:pt x="421288" y="35844"/>
                  <a:pt x="419695" y="29559"/>
                </a:cubicBezTo>
                <a:cubicBezTo>
                  <a:pt x="418101" y="23150"/>
                  <a:pt x="415711" y="18669"/>
                  <a:pt x="412524" y="15931"/>
                </a:cubicBezTo>
                <a:cubicBezTo>
                  <a:pt x="409436" y="13192"/>
                  <a:pt x="405651" y="11761"/>
                  <a:pt x="401169" y="11761"/>
                </a:cubicBezTo>
                <a:cubicBezTo>
                  <a:pt x="396687" y="11761"/>
                  <a:pt x="392853" y="13192"/>
                  <a:pt x="389666" y="15931"/>
                </a:cubicBezTo>
                <a:cubicBezTo>
                  <a:pt x="386479" y="18669"/>
                  <a:pt x="384038" y="23150"/>
                  <a:pt x="382345" y="29559"/>
                </a:cubicBezTo>
                <a:cubicBezTo>
                  <a:pt x="380652" y="35844"/>
                  <a:pt x="379806" y="44307"/>
                  <a:pt x="379806" y="54948"/>
                </a:cubicBezTo>
                <a:cubicBezTo>
                  <a:pt x="379806" y="65589"/>
                  <a:pt x="380602" y="74114"/>
                  <a:pt x="382196" y="80462"/>
                </a:cubicBezTo>
                <a:cubicBezTo>
                  <a:pt x="383889" y="86747"/>
                  <a:pt x="386329" y="91289"/>
                  <a:pt x="389516" y="94089"/>
                </a:cubicBezTo>
                <a:cubicBezTo>
                  <a:pt x="392704" y="96766"/>
                  <a:pt x="396538" y="98072"/>
                  <a:pt x="401020" y="98072"/>
                </a:cubicBezTo>
                <a:close/>
                <a:moveTo>
                  <a:pt x="478377" y="109896"/>
                </a:moveTo>
                <a:cubicBezTo>
                  <a:pt x="466425" y="109896"/>
                  <a:pt x="456914" y="107344"/>
                  <a:pt x="449842" y="102304"/>
                </a:cubicBezTo>
                <a:lnTo>
                  <a:pt x="449842" y="87618"/>
                </a:lnTo>
                <a:cubicBezTo>
                  <a:pt x="454025" y="91040"/>
                  <a:pt x="458407" y="93592"/>
                  <a:pt x="462989" y="95272"/>
                </a:cubicBezTo>
                <a:cubicBezTo>
                  <a:pt x="467570" y="96828"/>
                  <a:pt x="472700" y="97637"/>
                  <a:pt x="478377" y="97637"/>
                </a:cubicBezTo>
                <a:cubicBezTo>
                  <a:pt x="485747" y="97637"/>
                  <a:pt x="491424" y="95397"/>
                  <a:pt x="495408" y="90916"/>
                </a:cubicBezTo>
                <a:cubicBezTo>
                  <a:pt x="499492" y="86435"/>
                  <a:pt x="501533" y="80586"/>
                  <a:pt x="501533" y="73305"/>
                </a:cubicBezTo>
                <a:cubicBezTo>
                  <a:pt x="501533" y="65527"/>
                  <a:pt x="499541" y="59864"/>
                  <a:pt x="495558" y="56255"/>
                </a:cubicBezTo>
                <a:cubicBezTo>
                  <a:pt x="491574" y="52708"/>
                  <a:pt x="486544" y="50903"/>
                  <a:pt x="480469" y="50903"/>
                </a:cubicBezTo>
                <a:cubicBezTo>
                  <a:pt x="476086" y="50903"/>
                  <a:pt x="472550" y="51650"/>
                  <a:pt x="469861" y="53143"/>
                </a:cubicBezTo>
                <a:cubicBezTo>
                  <a:pt x="467172" y="54512"/>
                  <a:pt x="465130" y="56006"/>
                  <a:pt x="463736" y="57624"/>
                </a:cubicBezTo>
                <a:lnTo>
                  <a:pt x="452830" y="57624"/>
                </a:lnTo>
                <a:lnTo>
                  <a:pt x="452830" y="1307"/>
                </a:lnTo>
                <a:lnTo>
                  <a:pt x="510796" y="1307"/>
                </a:lnTo>
                <a:lnTo>
                  <a:pt x="510796" y="14188"/>
                </a:lnTo>
                <a:lnTo>
                  <a:pt x="465080" y="14188"/>
                </a:lnTo>
                <a:lnTo>
                  <a:pt x="465080" y="44805"/>
                </a:lnTo>
                <a:cubicBezTo>
                  <a:pt x="467072" y="43312"/>
                  <a:pt x="469513" y="42004"/>
                  <a:pt x="472401" y="40885"/>
                </a:cubicBezTo>
                <a:cubicBezTo>
                  <a:pt x="475289" y="39702"/>
                  <a:pt x="478725" y="39080"/>
                  <a:pt x="482709" y="39080"/>
                </a:cubicBezTo>
                <a:cubicBezTo>
                  <a:pt x="488884" y="39080"/>
                  <a:pt x="494462" y="40386"/>
                  <a:pt x="499442" y="43000"/>
                </a:cubicBezTo>
                <a:cubicBezTo>
                  <a:pt x="504422" y="45489"/>
                  <a:pt x="508356" y="49285"/>
                  <a:pt x="511244" y="54326"/>
                </a:cubicBezTo>
                <a:cubicBezTo>
                  <a:pt x="514232" y="59304"/>
                  <a:pt x="515726" y="65527"/>
                  <a:pt x="515726" y="72995"/>
                </a:cubicBezTo>
                <a:cubicBezTo>
                  <a:pt x="515726" y="80399"/>
                  <a:pt x="514182" y="86871"/>
                  <a:pt x="511095" y="92410"/>
                </a:cubicBezTo>
                <a:cubicBezTo>
                  <a:pt x="508107" y="98010"/>
                  <a:pt x="503824" y="102304"/>
                  <a:pt x="498247" y="105415"/>
                </a:cubicBezTo>
                <a:cubicBezTo>
                  <a:pt x="492669" y="108402"/>
                  <a:pt x="486046" y="109896"/>
                  <a:pt x="478377" y="109896"/>
                </a:cubicBezTo>
                <a:close/>
                <a:moveTo>
                  <a:pt x="624456" y="108402"/>
                </a:moveTo>
                <a:lnTo>
                  <a:pt x="609517" y="108402"/>
                </a:lnTo>
                <a:lnTo>
                  <a:pt x="598461" y="77786"/>
                </a:lnTo>
                <a:lnTo>
                  <a:pt x="551102" y="77786"/>
                </a:lnTo>
                <a:lnTo>
                  <a:pt x="540196" y="108402"/>
                </a:lnTo>
                <a:lnTo>
                  <a:pt x="527049" y="108402"/>
                </a:lnTo>
                <a:lnTo>
                  <a:pt x="565146" y="1307"/>
                </a:lnTo>
                <a:lnTo>
                  <a:pt x="586061" y="1307"/>
                </a:lnTo>
                <a:lnTo>
                  <a:pt x="624456" y="108402"/>
                </a:lnTo>
                <a:close/>
                <a:moveTo>
                  <a:pt x="555734" y="65091"/>
                </a:moveTo>
                <a:lnTo>
                  <a:pt x="593979" y="65091"/>
                </a:lnTo>
                <a:lnTo>
                  <a:pt x="574856" y="11761"/>
                </a:lnTo>
                <a:lnTo>
                  <a:pt x="555734" y="65091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7" name="Полилиния 1066">
            <a:extLst>
              <a:ext uri="{FF2B5EF4-FFF2-40B4-BE49-F238E27FC236}">
                <a16:creationId xmlns:a16="http://schemas.microsoft.com/office/drawing/2014/main" id="{B6D2753C-94C7-BD9C-65A7-C273E4683F4D}"/>
              </a:ext>
            </a:extLst>
          </p:cNvPr>
          <p:cNvSpPr/>
          <p:nvPr userDrawn="1"/>
        </p:nvSpPr>
        <p:spPr>
          <a:xfrm>
            <a:off x="16903366" y="5966300"/>
            <a:ext cx="1398954" cy="726227"/>
          </a:xfrm>
          <a:custGeom>
            <a:avLst/>
            <a:gdLst>
              <a:gd name="connsiteX0" fmla="*/ 638 w 1198727"/>
              <a:gd name="connsiteY0" fmla="*/ 1322 h 622284"/>
              <a:gd name="connsiteX1" fmla="*/ 1199366 w 1198727"/>
              <a:gd name="connsiteY1" fmla="*/ 1322 h 622284"/>
              <a:gd name="connsiteX2" fmla="*/ 1199366 w 1198727"/>
              <a:gd name="connsiteY2" fmla="*/ 623606 h 622284"/>
              <a:gd name="connsiteX3" fmla="*/ 638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322"/>
                </a:moveTo>
                <a:lnTo>
                  <a:pt x="1199366" y="1322"/>
                </a:lnTo>
                <a:lnTo>
                  <a:pt x="1199366" y="623606"/>
                </a:lnTo>
                <a:lnTo>
                  <a:pt x="638" y="623606"/>
                </a:lnTo>
                <a:close/>
              </a:path>
            </a:pathLst>
          </a:custGeom>
          <a:solidFill>
            <a:srgbClr val="CD0069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8" name="Полилиния 1067">
            <a:extLst>
              <a:ext uri="{FF2B5EF4-FFF2-40B4-BE49-F238E27FC236}">
                <a16:creationId xmlns:a16="http://schemas.microsoft.com/office/drawing/2014/main" id="{B51E6D79-B597-9006-A5EC-7357E43B6BC9}"/>
              </a:ext>
            </a:extLst>
          </p:cNvPr>
          <p:cNvSpPr/>
          <p:nvPr userDrawn="1"/>
        </p:nvSpPr>
        <p:spPr>
          <a:xfrm>
            <a:off x="17026576" y="6268047"/>
            <a:ext cx="729851" cy="128468"/>
          </a:xfrm>
          <a:custGeom>
            <a:avLst/>
            <a:gdLst>
              <a:gd name="connsiteX0" fmla="*/ 22111 w 625390"/>
              <a:gd name="connsiteY0" fmla="*/ 108588 h 110081"/>
              <a:gd name="connsiteX1" fmla="*/ 10159 w 625390"/>
              <a:gd name="connsiteY1" fmla="*/ 108588 h 110081"/>
              <a:gd name="connsiteX2" fmla="*/ 16433 w 625390"/>
              <a:gd name="connsiteY2" fmla="*/ 77661 h 110081"/>
              <a:gd name="connsiteX3" fmla="*/ 0 w 625390"/>
              <a:gd name="connsiteY3" fmla="*/ 77661 h 110081"/>
              <a:gd name="connsiteX4" fmla="*/ 0 w 625390"/>
              <a:gd name="connsiteY4" fmla="*/ 67206 h 110081"/>
              <a:gd name="connsiteX5" fmla="*/ 18675 w 625390"/>
              <a:gd name="connsiteY5" fmla="*/ 67206 h 110081"/>
              <a:gd name="connsiteX6" fmla="*/ 24202 w 625390"/>
              <a:gd name="connsiteY6" fmla="*/ 40012 h 110081"/>
              <a:gd name="connsiteX7" fmla="*/ 4033 w 625390"/>
              <a:gd name="connsiteY7" fmla="*/ 40012 h 110081"/>
              <a:gd name="connsiteX8" fmla="*/ 4033 w 625390"/>
              <a:gd name="connsiteY8" fmla="*/ 29559 h 110081"/>
              <a:gd name="connsiteX9" fmla="*/ 26294 w 625390"/>
              <a:gd name="connsiteY9" fmla="*/ 29559 h 110081"/>
              <a:gd name="connsiteX10" fmla="*/ 32120 w 625390"/>
              <a:gd name="connsiteY10" fmla="*/ 1493 h 110081"/>
              <a:gd name="connsiteX11" fmla="*/ 44072 w 625390"/>
              <a:gd name="connsiteY11" fmla="*/ 1493 h 110081"/>
              <a:gd name="connsiteX12" fmla="*/ 38246 w 625390"/>
              <a:gd name="connsiteY12" fmla="*/ 29559 h 110081"/>
              <a:gd name="connsiteX13" fmla="*/ 60655 w 625390"/>
              <a:gd name="connsiteY13" fmla="*/ 29559 h 110081"/>
              <a:gd name="connsiteX14" fmla="*/ 66482 w 625390"/>
              <a:gd name="connsiteY14" fmla="*/ 1493 h 110081"/>
              <a:gd name="connsiteX15" fmla="*/ 78434 w 625390"/>
              <a:gd name="connsiteY15" fmla="*/ 1493 h 110081"/>
              <a:gd name="connsiteX16" fmla="*/ 72607 w 625390"/>
              <a:gd name="connsiteY16" fmla="*/ 29559 h 110081"/>
              <a:gd name="connsiteX17" fmla="*/ 89340 w 625390"/>
              <a:gd name="connsiteY17" fmla="*/ 29559 h 110081"/>
              <a:gd name="connsiteX18" fmla="*/ 89340 w 625390"/>
              <a:gd name="connsiteY18" fmla="*/ 40012 h 110081"/>
              <a:gd name="connsiteX19" fmla="*/ 70516 w 625390"/>
              <a:gd name="connsiteY19" fmla="*/ 40012 h 110081"/>
              <a:gd name="connsiteX20" fmla="*/ 64988 w 625390"/>
              <a:gd name="connsiteY20" fmla="*/ 67206 h 110081"/>
              <a:gd name="connsiteX21" fmla="*/ 85306 w 625390"/>
              <a:gd name="connsiteY21" fmla="*/ 67206 h 110081"/>
              <a:gd name="connsiteX22" fmla="*/ 85306 w 625390"/>
              <a:gd name="connsiteY22" fmla="*/ 77661 h 110081"/>
              <a:gd name="connsiteX23" fmla="*/ 62747 w 625390"/>
              <a:gd name="connsiteY23" fmla="*/ 77661 h 110081"/>
              <a:gd name="connsiteX24" fmla="*/ 56472 w 625390"/>
              <a:gd name="connsiteY24" fmla="*/ 108588 h 110081"/>
              <a:gd name="connsiteX25" fmla="*/ 44520 w 625390"/>
              <a:gd name="connsiteY25" fmla="*/ 108588 h 110081"/>
              <a:gd name="connsiteX26" fmla="*/ 50795 w 625390"/>
              <a:gd name="connsiteY26" fmla="*/ 77661 h 110081"/>
              <a:gd name="connsiteX27" fmla="*/ 28386 w 625390"/>
              <a:gd name="connsiteY27" fmla="*/ 77661 h 110081"/>
              <a:gd name="connsiteX28" fmla="*/ 22111 w 625390"/>
              <a:gd name="connsiteY28" fmla="*/ 108588 h 110081"/>
              <a:gd name="connsiteX29" fmla="*/ 30626 w 625390"/>
              <a:gd name="connsiteY29" fmla="*/ 67206 h 110081"/>
              <a:gd name="connsiteX30" fmla="*/ 53036 w 625390"/>
              <a:gd name="connsiteY30" fmla="*/ 67206 h 110081"/>
              <a:gd name="connsiteX31" fmla="*/ 58564 w 625390"/>
              <a:gd name="connsiteY31" fmla="*/ 40012 h 110081"/>
              <a:gd name="connsiteX32" fmla="*/ 36154 w 625390"/>
              <a:gd name="connsiteY32" fmla="*/ 40012 h 110081"/>
              <a:gd name="connsiteX33" fmla="*/ 30626 w 625390"/>
              <a:gd name="connsiteY33" fmla="*/ 67206 h 110081"/>
              <a:gd name="connsiteX34" fmla="*/ 154290 w 625390"/>
              <a:gd name="connsiteY34" fmla="*/ 110082 h 110081"/>
              <a:gd name="connsiteX35" fmla="*/ 126502 w 625390"/>
              <a:gd name="connsiteY35" fmla="*/ 103486 h 110081"/>
              <a:gd name="connsiteX36" fmla="*/ 108126 w 625390"/>
              <a:gd name="connsiteY36" fmla="*/ 84693 h 110081"/>
              <a:gd name="connsiteX37" fmla="*/ 101553 w 625390"/>
              <a:gd name="connsiteY37" fmla="*/ 55134 h 110081"/>
              <a:gd name="connsiteX38" fmla="*/ 115148 w 625390"/>
              <a:gd name="connsiteY38" fmla="*/ 14810 h 110081"/>
              <a:gd name="connsiteX39" fmla="*/ 153991 w 625390"/>
              <a:gd name="connsiteY39" fmla="*/ 186 h 110081"/>
              <a:gd name="connsiteX40" fmla="*/ 171919 w 625390"/>
              <a:gd name="connsiteY40" fmla="*/ 2240 h 110081"/>
              <a:gd name="connsiteX41" fmla="*/ 186560 w 625390"/>
              <a:gd name="connsiteY41" fmla="*/ 7902 h 110081"/>
              <a:gd name="connsiteX42" fmla="*/ 186560 w 625390"/>
              <a:gd name="connsiteY42" fmla="*/ 21344 h 110081"/>
              <a:gd name="connsiteX43" fmla="*/ 171471 w 625390"/>
              <a:gd name="connsiteY43" fmla="*/ 15121 h 110081"/>
              <a:gd name="connsiteX44" fmla="*/ 153842 w 625390"/>
              <a:gd name="connsiteY44" fmla="*/ 12881 h 110081"/>
              <a:gd name="connsiteX45" fmla="*/ 125904 w 625390"/>
              <a:gd name="connsiteY45" fmla="*/ 23459 h 110081"/>
              <a:gd name="connsiteX46" fmla="*/ 116791 w 625390"/>
              <a:gd name="connsiteY46" fmla="*/ 55134 h 110081"/>
              <a:gd name="connsiteX47" fmla="*/ 126652 w 625390"/>
              <a:gd name="connsiteY47" fmla="*/ 86933 h 110081"/>
              <a:gd name="connsiteX48" fmla="*/ 155485 w 625390"/>
              <a:gd name="connsiteY48" fmla="*/ 97387 h 110081"/>
              <a:gd name="connsiteX49" fmla="*/ 186560 w 625390"/>
              <a:gd name="connsiteY49" fmla="*/ 87555 h 110081"/>
              <a:gd name="connsiteX50" fmla="*/ 186560 w 625390"/>
              <a:gd name="connsiteY50" fmla="*/ 100997 h 110081"/>
              <a:gd name="connsiteX51" fmla="*/ 172666 w 625390"/>
              <a:gd name="connsiteY51" fmla="*/ 107717 h 110081"/>
              <a:gd name="connsiteX52" fmla="*/ 154290 w 625390"/>
              <a:gd name="connsiteY52" fmla="*/ 110082 h 110081"/>
              <a:gd name="connsiteX53" fmla="*/ 208055 w 625390"/>
              <a:gd name="connsiteY53" fmla="*/ 1493 h 110081"/>
              <a:gd name="connsiteX54" fmla="*/ 244059 w 625390"/>
              <a:gd name="connsiteY54" fmla="*/ 1493 h 110081"/>
              <a:gd name="connsiteX55" fmla="*/ 264079 w 625390"/>
              <a:gd name="connsiteY55" fmla="*/ 4044 h 110081"/>
              <a:gd name="connsiteX56" fmla="*/ 280213 w 625390"/>
              <a:gd name="connsiteY56" fmla="*/ 12383 h 110081"/>
              <a:gd name="connsiteX57" fmla="*/ 290970 w 625390"/>
              <a:gd name="connsiteY57" fmla="*/ 27629 h 110081"/>
              <a:gd name="connsiteX58" fmla="*/ 294855 w 625390"/>
              <a:gd name="connsiteY58" fmla="*/ 51401 h 110081"/>
              <a:gd name="connsiteX59" fmla="*/ 287982 w 625390"/>
              <a:gd name="connsiteY59" fmla="*/ 83075 h 110081"/>
              <a:gd name="connsiteX60" fmla="*/ 269457 w 625390"/>
              <a:gd name="connsiteY60" fmla="*/ 102179 h 110081"/>
              <a:gd name="connsiteX61" fmla="*/ 242416 w 625390"/>
              <a:gd name="connsiteY61" fmla="*/ 108588 h 110081"/>
              <a:gd name="connsiteX62" fmla="*/ 208055 w 625390"/>
              <a:gd name="connsiteY62" fmla="*/ 108588 h 110081"/>
              <a:gd name="connsiteX63" fmla="*/ 208055 w 625390"/>
              <a:gd name="connsiteY63" fmla="*/ 1493 h 110081"/>
              <a:gd name="connsiteX64" fmla="*/ 242416 w 625390"/>
              <a:gd name="connsiteY64" fmla="*/ 95893 h 110081"/>
              <a:gd name="connsiteX65" fmla="*/ 261838 w 625390"/>
              <a:gd name="connsiteY65" fmla="*/ 91413 h 110081"/>
              <a:gd name="connsiteX66" fmla="*/ 274835 w 625390"/>
              <a:gd name="connsiteY66" fmla="*/ 77225 h 110081"/>
              <a:gd name="connsiteX67" fmla="*/ 279616 w 625390"/>
              <a:gd name="connsiteY67" fmla="*/ 52458 h 110081"/>
              <a:gd name="connsiteX68" fmla="*/ 274985 w 625390"/>
              <a:gd name="connsiteY68" fmla="*/ 29122 h 110081"/>
              <a:gd name="connsiteX69" fmla="*/ 262286 w 625390"/>
              <a:gd name="connsiteY69" fmla="*/ 17610 h 110081"/>
              <a:gd name="connsiteX70" fmla="*/ 244059 w 625390"/>
              <a:gd name="connsiteY70" fmla="*/ 14374 h 110081"/>
              <a:gd name="connsiteX71" fmla="*/ 222098 w 625390"/>
              <a:gd name="connsiteY71" fmla="*/ 14374 h 110081"/>
              <a:gd name="connsiteX72" fmla="*/ 222098 w 625390"/>
              <a:gd name="connsiteY72" fmla="*/ 95893 h 110081"/>
              <a:gd name="connsiteX73" fmla="*/ 242416 w 625390"/>
              <a:gd name="connsiteY73" fmla="*/ 95893 h 110081"/>
              <a:gd name="connsiteX74" fmla="*/ 342369 w 625390"/>
              <a:gd name="connsiteY74" fmla="*/ 110082 h 110081"/>
              <a:gd name="connsiteX75" fmla="*/ 324142 w 625390"/>
              <a:gd name="connsiteY75" fmla="*/ 104233 h 110081"/>
              <a:gd name="connsiteX76" fmla="*/ 311444 w 625390"/>
              <a:gd name="connsiteY76" fmla="*/ 86311 h 110081"/>
              <a:gd name="connsiteX77" fmla="*/ 306962 w 625390"/>
              <a:gd name="connsiteY77" fmla="*/ 54947 h 110081"/>
              <a:gd name="connsiteX78" fmla="*/ 311444 w 625390"/>
              <a:gd name="connsiteY78" fmla="*/ 23584 h 110081"/>
              <a:gd name="connsiteX79" fmla="*/ 324142 w 625390"/>
              <a:gd name="connsiteY79" fmla="*/ 5849 h 110081"/>
              <a:gd name="connsiteX80" fmla="*/ 342369 w 625390"/>
              <a:gd name="connsiteY80" fmla="*/ 186 h 110081"/>
              <a:gd name="connsiteX81" fmla="*/ 360446 w 625390"/>
              <a:gd name="connsiteY81" fmla="*/ 5849 h 110081"/>
              <a:gd name="connsiteX82" fmla="*/ 372846 w 625390"/>
              <a:gd name="connsiteY82" fmla="*/ 23584 h 110081"/>
              <a:gd name="connsiteX83" fmla="*/ 377328 w 625390"/>
              <a:gd name="connsiteY83" fmla="*/ 54698 h 110081"/>
              <a:gd name="connsiteX84" fmla="*/ 372846 w 625390"/>
              <a:gd name="connsiteY84" fmla="*/ 86062 h 110081"/>
              <a:gd name="connsiteX85" fmla="*/ 360446 w 625390"/>
              <a:gd name="connsiteY85" fmla="*/ 104233 h 110081"/>
              <a:gd name="connsiteX86" fmla="*/ 342369 w 625390"/>
              <a:gd name="connsiteY86" fmla="*/ 110082 h 110081"/>
              <a:gd name="connsiteX87" fmla="*/ 342220 w 625390"/>
              <a:gd name="connsiteY87" fmla="*/ 98258 h 110081"/>
              <a:gd name="connsiteX88" fmla="*/ 353574 w 625390"/>
              <a:gd name="connsiteY88" fmla="*/ 94275 h 110081"/>
              <a:gd name="connsiteX89" fmla="*/ 360745 w 625390"/>
              <a:gd name="connsiteY89" fmla="*/ 80648 h 110081"/>
              <a:gd name="connsiteX90" fmla="*/ 363285 w 625390"/>
              <a:gd name="connsiteY90" fmla="*/ 55134 h 110081"/>
              <a:gd name="connsiteX91" fmla="*/ 360894 w 625390"/>
              <a:gd name="connsiteY91" fmla="*/ 29745 h 110081"/>
              <a:gd name="connsiteX92" fmla="*/ 353723 w 625390"/>
              <a:gd name="connsiteY92" fmla="*/ 16117 h 110081"/>
              <a:gd name="connsiteX93" fmla="*/ 342369 w 625390"/>
              <a:gd name="connsiteY93" fmla="*/ 11947 h 110081"/>
              <a:gd name="connsiteX94" fmla="*/ 330865 w 625390"/>
              <a:gd name="connsiteY94" fmla="*/ 16117 h 110081"/>
              <a:gd name="connsiteX95" fmla="*/ 323545 w 625390"/>
              <a:gd name="connsiteY95" fmla="*/ 29745 h 110081"/>
              <a:gd name="connsiteX96" fmla="*/ 321005 w 625390"/>
              <a:gd name="connsiteY96" fmla="*/ 55134 h 110081"/>
              <a:gd name="connsiteX97" fmla="*/ 323396 w 625390"/>
              <a:gd name="connsiteY97" fmla="*/ 80648 h 110081"/>
              <a:gd name="connsiteX98" fmla="*/ 330716 w 625390"/>
              <a:gd name="connsiteY98" fmla="*/ 94275 h 110081"/>
              <a:gd name="connsiteX99" fmla="*/ 342220 w 625390"/>
              <a:gd name="connsiteY99" fmla="*/ 98258 h 110081"/>
              <a:gd name="connsiteX100" fmla="*/ 424513 w 625390"/>
              <a:gd name="connsiteY100" fmla="*/ 110082 h 110081"/>
              <a:gd name="connsiteX101" fmla="*/ 406286 w 625390"/>
              <a:gd name="connsiteY101" fmla="*/ 104233 h 110081"/>
              <a:gd name="connsiteX102" fmla="*/ 393587 w 625390"/>
              <a:gd name="connsiteY102" fmla="*/ 86311 h 110081"/>
              <a:gd name="connsiteX103" fmla="*/ 389106 w 625390"/>
              <a:gd name="connsiteY103" fmla="*/ 54947 h 110081"/>
              <a:gd name="connsiteX104" fmla="*/ 393587 w 625390"/>
              <a:gd name="connsiteY104" fmla="*/ 23584 h 110081"/>
              <a:gd name="connsiteX105" fmla="*/ 406286 w 625390"/>
              <a:gd name="connsiteY105" fmla="*/ 5849 h 110081"/>
              <a:gd name="connsiteX106" fmla="*/ 424513 w 625390"/>
              <a:gd name="connsiteY106" fmla="*/ 186 h 110081"/>
              <a:gd name="connsiteX107" fmla="*/ 442590 w 625390"/>
              <a:gd name="connsiteY107" fmla="*/ 5849 h 110081"/>
              <a:gd name="connsiteX108" fmla="*/ 454990 w 625390"/>
              <a:gd name="connsiteY108" fmla="*/ 23584 h 110081"/>
              <a:gd name="connsiteX109" fmla="*/ 459472 w 625390"/>
              <a:gd name="connsiteY109" fmla="*/ 54698 h 110081"/>
              <a:gd name="connsiteX110" fmla="*/ 454990 w 625390"/>
              <a:gd name="connsiteY110" fmla="*/ 86062 h 110081"/>
              <a:gd name="connsiteX111" fmla="*/ 442590 w 625390"/>
              <a:gd name="connsiteY111" fmla="*/ 104233 h 110081"/>
              <a:gd name="connsiteX112" fmla="*/ 424513 w 625390"/>
              <a:gd name="connsiteY112" fmla="*/ 110082 h 110081"/>
              <a:gd name="connsiteX113" fmla="*/ 424364 w 625390"/>
              <a:gd name="connsiteY113" fmla="*/ 98258 h 110081"/>
              <a:gd name="connsiteX114" fmla="*/ 435718 w 625390"/>
              <a:gd name="connsiteY114" fmla="*/ 94275 h 110081"/>
              <a:gd name="connsiteX115" fmla="*/ 442889 w 625390"/>
              <a:gd name="connsiteY115" fmla="*/ 80648 h 110081"/>
              <a:gd name="connsiteX116" fmla="*/ 445428 w 625390"/>
              <a:gd name="connsiteY116" fmla="*/ 55134 h 110081"/>
              <a:gd name="connsiteX117" fmla="*/ 443038 w 625390"/>
              <a:gd name="connsiteY117" fmla="*/ 29745 h 110081"/>
              <a:gd name="connsiteX118" fmla="*/ 435867 w 625390"/>
              <a:gd name="connsiteY118" fmla="*/ 16117 h 110081"/>
              <a:gd name="connsiteX119" fmla="*/ 424513 w 625390"/>
              <a:gd name="connsiteY119" fmla="*/ 11947 h 110081"/>
              <a:gd name="connsiteX120" fmla="*/ 413009 w 625390"/>
              <a:gd name="connsiteY120" fmla="*/ 16117 h 110081"/>
              <a:gd name="connsiteX121" fmla="*/ 405689 w 625390"/>
              <a:gd name="connsiteY121" fmla="*/ 29745 h 110081"/>
              <a:gd name="connsiteX122" fmla="*/ 403149 w 625390"/>
              <a:gd name="connsiteY122" fmla="*/ 55134 h 110081"/>
              <a:gd name="connsiteX123" fmla="*/ 405539 w 625390"/>
              <a:gd name="connsiteY123" fmla="*/ 80648 h 110081"/>
              <a:gd name="connsiteX124" fmla="*/ 412860 w 625390"/>
              <a:gd name="connsiteY124" fmla="*/ 94275 h 110081"/>
              <a:gd name="connsiteX125" fmla="*/ 424364 w 625390"/>
              <a:gd name="connsiteY125" fmla="*/ 98258 h 110081"/>
              <a:gd name="connsiteX126" fmla="*/ 543253 w 625390"/>
              <a:gd name="connsiteY126" fmla="*/ 73491 h 110081"/>
              <a:gd name="connsiteX127" fmla="*/ 538472 w 625390"/>
              <a:gd name="connsiteY127" fmla="*/ 92782 h 110081"/>
              <a:gd name="connsiteX128" fmla="*/ 525773 w 625390"/>
              <a:gd name="connsiteY128" fmla="*/ 105601 h 110081"/>
              <a:gd name="connsiteX129" fmla="*/ 507696 w 625390"/>
              <a:gd name="connsiteY129" fmla="*/ 110082 h 110081"/>
              <a:gd name="connsiteX130" fmla="*/ 486033 w 625390"/>
              <a:gd name="connsiteY130" fmla="*/ 104108 h 110081"/>
              <a:gd name="connsiteX131" fmla="*/ 473932 w 625390"/>
              <a:gd name="connsiteY131" fmla="*/ 87555 h 110081"/>
              <a:gd name="connsiteX132" fmla="*/ 470197 w 625390"/>
              <a:gd name="connsiteY132" fmla="*/ 63161 h 110081"/>
              <a:gd name="connsiteX133" fmla="*/ 474679 w 625390"/>
              <a:gd name="connsiteY133" fmla="*/ 30181 h 110081"/>
              <a:gd name="connsiteX134" fmla="*/ 488723 w 625390"/>
              <a:gd name="connsiteY134" fmla="*/ 8089 h 110081"/>
              <a:gd name="connsiteX135" fmla="*/ 513224 w 625390"/>
              <a:gd name="connsiteY135" fmla="*/ 0 h 110081"/>
              <a:gd name="connsiteX136" fmla="*/ 535783 w 625390"/>
              <a:gd name="connsiteY136" fmla="*/ 5538 h 110081"/>
              <a:gd name="connsiteX137" fmla="*/ 535783 w 625390"/>
              <a:gd name="connsiteY137" fmla="*/ 18855 h 110081"/>
              <a:gd name="connsiteX138" fmla="*/ 513224 w 625390"/>
              <a:gd name="connsiteY138" fmla="*/ 12259 h 110081"/>
              <a:gd name="connsiteX139" fmla="*/ 497687 w 625390"/>
              <a:gd name="connsiteY139" fmla="*/ 17361 h 110081"/>
              <a:gd name="connsiteX140" fmla="*/ 487826 w 625390"/>
              <a:gd name="connsiteY140" fmla="*/ 31238 h 110081"/>
              <a:gd name="connsiteX141" fmla="*/ 483643 w 625390"/>
              <a:gd name="connsiteY141" fmla="*/ 50778 h 110081"/>
              <a:gd name="connsiteX142" fmla="*/ 494997 w 625390"/>
              <a:gd name="connsiteY142" fmla="*/ 40759 h 110081"/>
              <a:gd name="connsiteX143" fmla="*/ 509041 w 625390"/>
              <a:gd name="connsiteY143" fmla="*/ 37523 h 110081"/>
              <a:gd name="connsiteX144" fmla="*/ 526371 w 625390"/>
              <a:gd name="connsiteY144" fmla="*/ 41693 h 110081"/>
              <a:gd name="connsiteX145" fmla="*/ 538621 w 625390"/>
              <a:gd name="connsiteY145" fmla="*/ 53952 h 110081"/>
              <a:gd name="connsiteX146" fmla="*/ 543253 w 625390"/>
              <a:gd name="connsiteY146" fmla="*/ 73491 h 110081"/>
              <a:gd name="connsiteX147" fmla="*/ 507248 w 625390"/>
              <a:gd name="connsiteY147" fmla="*/ 98134 h 110081"/>
              <a:gd name="connsiteX148" fmla="*/ 518004 w 625390"/>
              <a:gd name="connsiteY148" fmla="*/ 95458 h 110081"/>
              <a:gd name="connsiteX149" fmla="*/ 525923 w 625390"/>
              <a:gd name="connsiteY149" fmla="*/ 87244 h 110081"/>
              <a:gd name="connsiteX150" fmla="*/ 529060 w 625390"/>
              <a:gd name="connsiteY150" fmla="*/ 73803 h 110081"/>
              <a:gd name="connsiteX151" fmla="*/ 526072 w 625390"/>
              <a:gd name="connsiteY151" fmla="*/ 60174 h 110081"/>
              <a:gd name="connsiteX152" fmla="*/ 518453 w 625390"/>
              <a:gd name="connsiteY152" fmla="*/ 51961 h 110081"/>
              <a:gd name="connsiteX153" fmla="*/ 508742 w 625390"/>
              <a:gd name="connsiteY153" fmla="*/ 49160 h 110081"/>
              <a:gd name="connsiteX154" fmla="*/ 492159 w 625390"/>
              <a:gd name="connsiteY154" fmla="*/ 55570 h 110081"/>
              <a:gd name="connsiteX155" fmla="*/ 485585 w 625390"/>
              <a:gd name="connsiteY155" fmla="*/ 74114 h 110081"/>
              <a:gd name="connsiteX156" fmla="*/ 491412 w 625390"/>
              <a:gd name="connsiteY156" fmla="*/ 91538 h 110081"/>
              <a:gd name="connsiteX157" fmla="*/ 507248 w 625390"/>
              <a:gd name="connsiteY157" fmla="*/ 98134 h 110081"/>
              <a:gd name="connsiteX158" fmla="*/ 552335 w 625390"/>
              <a:gd name="connsiteY158" fmla="*/ 35844 h 110081"/>
              <a:gd name="connsiteX159" fmla="*/ 556966 w 625390"/>
              <a:gd name="connsiteY159" fmla="*/ 17051 h 110081"/>
              <a:gd name="connsiteX160" fmla="*/ 569814 w 625390"/>
              <a:gd name="connsiteY160" fmla="*/ 4480 h 110081"/>
              <a:gd name="connsiteX161" fmla="*/ 587891 w 625390"/>
              <a:gd name="connsiteY161" fmla="*/ 0 h 110081"/>
              <a:gd name="connsiteX162" fmla="*/ 609554 w 625390"/>
              <a:gd name="connsiteY162" fmla="*/ 5849 h 110081"/>
              <a:gd name="connsiteX163" fmla="*/ 621655 w 625390"/>
              <a:gd name="connsiteY163" fmla="*/ 21842 h 110081"/>
              <a:gd name="connsiteX164" fmla="*/ 625390 w 625390"/>
              <a:gd name="connsiteY164" fmla="*/ 45426 h 110081"/>
              <a:gd name="connsiteX165" fmla="*/ 620759 w 625390"/>
              <a:gd name="connsiteY165" fmla="*/ 80088 h 110081"/>
              <a:gd name="connsiteX166" fmla="*/ 606417 w 625390"/>
              <a:gd name="connsiteY166" fmla="*/ 102303 h 110081"/>
              <a:gd name="connsiteX167" fmla="*/ 581916 w 625390"/>
              <a:gd name="connsiteY167" fmla="*/ 110082 h 110081"/>
              <a:gd name="connsiteX168" fmla="*/ 558908 w 625390"/>
              <a:gd name="connsiteY168" fmla="*/ 104543 h 110081"/>
              <a:gd name="connsiteX169" fmla="*/ 558908 w 625390"/>
              <a:gd name="connsiteY169" fmla="*/ 91413 h 110081"/>
              <a:gd name="connsiteX170" fmla="*/ 581916 w 625390"/>
              <a:gd name="connsiteY170" fmla="*/ 98010 h 110081"/>
              <a:gd name="connsiteX171" fmla="*/ 597453 w 625390"/>
              <a:gd name="connsiteY171" fmla="*/ 92907 h 110081"/>
              <a:gd name="connsiteX172" fmla="*/ 607164 w 625390"/>
              <a:gd name="connsiteY172" fmla="*/ 79154 h 110081"/>
              <a:gd name="connsiteX173" fmla="*/ 611496 w 625390"/>
              <a:gd name="connsiteY173" fmla="*/ 59739 h 110081"/>
              <a:gd name="connsiteX174" fmla="*/ 600441 w 625390"/>
              <a:gd name="connsiteY174" fmla="*/ 68389 h 110081"/>
              <a:gd name="connsiteX175" fmla="*/ 586547 w 625390"/>
              <a:gd name="connsiteY175" fmla="*/ 71127 h 110081"/>
              <a:gd name="connsiteX176" fmla="*/ 569217 w 625390"/>
              <a:gd name="connsiteY176" fmla="*/ 67082 h 110081"/>
              <a:gd name="connsiteX177" fmla="*/ 556817 w 625390"/>
              <a:gd name="connsiteY177" fmla="*/ 55134 h 110081"/>
              <a:gd name="connsiteX178" fmla="*/ 552335 w 625390"/>
              <a:gd name="connsiteY178" fmla="*/ 35844 h 110081"/>
              <a:gd name="connsiteX179" fmla="*/ 588340 w 625390"/>
              <a:gd name="connsiteY179" fmla="*/ 12134 h 110081"/>
              <a:gd name="connsiteX180" fmla="*/ 577583 w 625390"/>
              <a:gd name="connsiteY180" fmla="*/ 14810 h 110081"/>
              <a:gd name="connsiteX181" fmla="*/ 569516 w 625390"/>
              <a:gd name="connsiteY181" fmla="*/ 22589 h 110081"/>
              <a:gd name="connsiteX182" fmla="*/ 566528 w 625390"/>
              <a:gd name="connsiteY182" fmla="*/ 35532 h 110081"/>
              <a:gd name="connsiteX183" fmla="*/ 569516 w 625390"/>
              <a:gd name="connsiteY183" fmla="*/ 48725 h 110081"/>
              <a:gd name="connsiteX184" fmla="*/ 577135 w 625390"/>
              <a:gd name="connsiteY184" fmla="*/ 56752 h 110081"/>
              <a:gd name="connsiteX185" fmla="*/ 586846 w 625390"/>
              <a:gd name="connsiteY185" fmla="*/ 59428 h 110081"/>
              <a:gd name="connsiteX186" fmla="*/ 603279 w 625390"/>
              <a:gd name="connsiteY186" fmla="*/ 53329 h 110081"/>
              <a:gd name="connsiteX187" fmla="*/ 610002 w 625390"/>
              <a:gd name="connsiteY187" fmla="*/ 35283 h 110081"/>
              <a:gd name="connsiteX188" fmla="*/ 604176 w 625390"/>
              <a:gd name="connsiteY188" fmla="*/ 18544 h 110081"/>
              <a:gd name="connsiteX189" fmla="*/ 588340 w 625390"/>
              <a:gd name="connsiteY189" fmla="*/ 12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625390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54290" y="110082"/>
                </a:moveTo>
                <a:cubicBezTo>
                  <a:pt x="143733" y="110082"/>
                  <a:pt x="134470" y="107904"/>
                  <a:pt x="126502" y="103486"/>
                </a:cubicBezTo>
                <a:cubicBezTo>
                  <a:pt x="118634" y="99129"/>
                  <a:pt x="112509" y="92844"/>
                  <a:pt x="108126" y="84693"/>
                </a:cubicBezTo>
                <a:cubicBezTo>
                  <a:pt x="103744" y="76416"/>
                  <a:pt x="101553" y="66584"/>
                  <a:pt x="101553" y="55134"/>
                </a:cubicBezTo>
                <a:cubicBezTo>
                  <a:pt x="101553" y="37897"/>
                  <a:pt x="106085" y="24455"/>
                  <a:pt x="115148" y="14810"/>
                </a:cubicBezTo>
                <a:cubicBezTo>
                  <a:pt x="124211" y="5040"/>
                  <a:pt x="137159" y="186"/>
                  <a:pt x="153991" y="186"/>
                </a:cubicBezTo>
                <a:cubicBezTo>
                  <a:pt x="160266" y="186"/>
                  <a:pt x="166242" y="871"/>
                  <a:pt x="171919" y="2240"/>
                </a:cubicBezTo>
                <a:cubicBezTo>
                  <a:pt x="177696" y="3547"/>
                  <a:pt x="182576" y="5414"/>
                  <a:pt x="186560" y="7902"/>
                </a:cubicBezTo>
                <a:lnTo>
                  <a:pt x="186560" y="21344"/>
                </a:lnTo>
                <a:cubicBezTo>
                  <a:pt x="182277" y="18669"/>
                  <a:pt x="177248" y="16615"/>
                  <a:pt x="171471" y="15121"/>
                </a:cubicBezTo>
                <a:cubicBezTo>
                  <a:pt x="165794" y="13628"/>
                  <a:pt x="159918" y="12881"/>
                  <a:pt x="153842" y="12881"/>
                </a:cubicBezTo>
                <a:cubicBezTo>
                  <a:pt x="141293" y="12881"/>
                  <a:pt x="131980" y="16366"/>
                  <a:pt x="125904" y="23459"/>
                </a:cubicBezTo>
                <a:cubicBezTo>
                  <a:pt x="119829" y="30554"/>
                  <a:pt x="116791" y="41071"/>
                  <a:pt x="116791" y="55134"/>
                </a:cubicBezTo>
                <a:cubicBezTo>
                  <a:pt x="116791" y="69260"/>
                  <a:pt x="120078" y="79839"/>
                  <a:pt x="126652" y="86933"/>
                </a:cubicBezTo>
                <a:cubicBezTo>
                  <a:pt x="133225" y="93902"/>
                  <a:pt x="142836" y="97387"/>
                  <a:pt x="155485" y="97387"/>
                </a:cubicBezTo>
                <a:cubicBezTo>
                  <a:pt x="167437" y="97387"/>
                  <a:pt x="177795" y="94089"/>
                  <a:pt x="186560" y="87555"/>
                </a:cubicBezTo>
                <a:lnTo>
                  <a:pt x="186560" y="100997"/>
                </a:lnTo>
                <a:cubicBezTo>
                  <a:pt x="183074" y="103734"/>
                  <a:pt x="178443" y="105974"/>
                  <a:pt x="172666" y="107717"/>
                </a:cubicBezTo>
                <a:cubicBezTo>
                  <a:pt x="166889" y="109273"/>
                  <a:pt x="160764" y="110082"/>
                  <a:pt x="154290" y="110082"/>
                </a:cubicBezTo>
                <a:close/>
                <a:moveTo>
                  <a:pt x="208055" y="1493"/>
                </a:moveTo>
                <a:lnTo>
                  <a:pt x="244059" y="1493"/>
                </a:lnTo>
                <a:cubicBezTo>
                  <a:pt x="251231" y="1493"/>
                  <a:pt x="257903" y="2365"/>
                  <a:pt x="264079" y="4044"/>
                </a:cubicBezTo>
                <a:cubicBezTo>
                  <a:pt x="270254" y="5725"/>
                  <a:pt x="275632" y="8525"/>
                  <a:pt x="280213" y="12383"/>
                </a:cubicBezTo>
                <a:cubicBezTo>
                  <a:pt x="284795" y="16179"/>
                  <a:pt x="288381" y="21282"/>
                  <a:pt x="290970" y="27629"/>
                </a:cubicBezTo>
                <a:cubicBezTo>
                  <a:pt x="293560" y="34039"/>
                  <a:pt x="294855" y="41942"/>
                  <a:pt x="294855" y="51401"/>
                </a:cubicBezTo>
                <a:cubicBezTo>
                  <a:pt x="294855" y="63908"/>
                  <a:pt x="292564" y="74487"/>
                  <a:pt x="287982" y="83075"/>
                </a:cubicBezTo>
                <a:cubicBezTo>
                  <a:pt x="283500" y="91538"/>
                  <a:pt x="277325" y="97885"/>
                  <a:pt x="269457" y="102179"/>
                </a:cubicBezTo>
                <a:cubicBezTo>
                  <a:pt x="261588" y="106473"/>
                  <a:pt x="252575" y="108588"/>
                  <a:pt x="242416" y="108588"/>
                </a:cubicBezTo>
                <a:lnTo>
                  <a:pt x="208055" y="108588"/>
                </a:lnTo>
                <a:lnTo>
                  <a:pt x="208055" y="1493"/>
                </a:lnTo>
                <a:close/>
                <a:moveTo>
                  <a:pt x="242416" y="95893"/>
                </a:moveTo>
                <a:cubicBezTo>
                  <a:pt x="249786" y="95893"/>
                  <a:pt x="256260" y="94400"/>
                  <a:pt x="261838" y="91413"/>
                </a:cubicBezTo>
                <a:cubicBezTo>
                  <a:pt x="267415" y="88302"/>
                  <a:pt x="271748" y="83572"/>
                  <a:pt x="274835" y="77225"/>
                </a:cubicBezTo>
                <a:cubicBezTo>
                  <a:pt x="278022" y="70754"/>
                  <a:pt x="279616" y="62477"/>
                  <a:pt x="279616" y="52458"/>
                </a:cubicBezTo>
                <a:cubicBezTo>
                  <a:pt x="279616" y="42377"/>
                  <a:pt x="278072" y="34599"/>
                  <a:pt x="274985" y="29122"/>
                </a:cubicBezTo>
                <a:cubicBezTo>
                  <a:pt x="271897" y="23646"/>
                  <a:pt x="267664" y="19851"/>
                  <a:pt x="262286" y="17610"/>
                </a:cubicBezTo>
                <a:cubicBezTo>
                  <a:pt x="257007" y="15433"/>
                  <a:pt x="250932" y="14374"/>
                  <a:pt x="244059" y="14374"/>
                </a:cubicBezTo>
                <a:lnTo>
                  <a:pt x="222098" y="14374"/>
                </a:lnTo>
                <a:lnTo>
                  <a:pt x="222098" y="95893"/>
                </a:lnTo>
                <a:lnTo>
                  <a:pt x="242416" y="95893"/>
                </a:lnTo>
                <a:close/>
                <a:moveTo>
                  <a:pt x="342369" y="110082"/>
                </a:moveTo>
                <a:cubicBezTo>
                  <a:pt x="335596" y="110082"/>
                  <a:pt x="329521" y="108153"/>
                  <a:pt x="324142" y="104233"/>
                </a:cubicBezTo>
                <a:cubicBezTo>
                  <a:pt x="318764" y="100374"/>
                  <a:pt x="314531" y="94400"/>
                  <a:pt x="311444" y="86311"/>
                </a:cubicBezTo>
                <a:cubicBezTo>
                  <a:pt x="308456" y="78159"/>
                  <a:pt x="306962" y="67705"/>
                  <a:pt x="306962" y="54947"/>
                </a:cubicBezTo>
                <a:cubicBezTo>
                  <a:pt x="306962" y="42128"/>
                  <a:pt x="308456" y="31674"/>
                  <a:pt x="311444" y="23584"/>
                </a:cubicBezTo>
                <a:cubicBezTo>
                  <a:pt x="314531" y="15557"/>
                  <a:pt x="318764" y="9645"/>
                  <a:pt x="324142" y="5849"/>
                </a:cubicBezTo>
                <a:cubicBezTo>
                  <a:pt x="329521" y="2053"/>
                  <a:pt x="335596" y="186"/>
                  <a:pt x="342369" y="186"/>
                </a:cubicBezTo>
                <a:cubicBezTo>
                  <a:pt x="349142" y="186"/>
                  <a:pt x="355167" y="2053"/>
                  <a:pt x="360446" y="5849"/>
                </a:cubicBezTo>
                <a:cubicBezTo>
                  <a:pt x="365725" y="9645"/>
                  <a:pt x="369858" y="15557"/>
                  <a:pt x="372846" y="23584"/>
                </a:cubicBezTo>
                <a:cubicBezTo>
                  <a:pt x="375834" y="31549"/>
                  <a:pt x="377328" y="41942"/>
                  <a:pt x="377328" y="54698"/>
                </a:cubicBezTo>
                <a:cubicBezTo>
                  <a:pt x="377328" y="67331"/>
                  <a:pt x="375834" y="77786"/>
                  <a:pt x="372846" y="86062"/>
                </a:cubicBezTo>
                <a:cubicBezTo>
                  <a:pt x="369858" y="94213"/>
                  <a:pt x="365725" y="100250"/>
                  <a:pt x="360446" y="104233"/>
                </a:cubicBezTo>
                <a:cubicBezTo>
                  <a:pt x="355167" y="108153"/>
                  <a:pt x="349142" y="110082"/>
                  <a:pt x="342369" y="110082"/>
                </a:cubicBezTo>
                <a:close/>
                <a:moveTo>
                  <a:pt x="342220" y="98258"/>
                </a:moveTo>
                <a:cubicBezTo>
                  <a:pt x="346702" y="98258"/>
                  <a:pt x="350486" y="96952"/>
                  <a:pt x="353574" y="94275"/>
                </a:cubicBezTo>
                <a:cubicBezTo>
                  <a:pt x="356761" y="91475"/>
                  <a:pt x="359151" y="86933"/>
                  <a:pt x="360745" y="80648"/>
                </a:cubicBezTo>
                <a:cubicBezTo>
                  <a:pt x="362438" y="74300"/>
                  <a:pt x="363285" y="65775"/>
                  <a:pt x="363285" y="55134"/>
                </a:cubicBezTo>
                <a:cubicBezTo>
                  <a:pt x="363285" y="44493"/>
                  <a:pt x="362488" y="36030"/>
                  <a:pt x="360894" y="29745"/>
                </a:cubicBezTo>
                <a:cubicBezTo>
                  <a:pt x="359301" y="23336"/>
                  <a:pt x="356911" y="18855"/>
                  <a:pt x="353723" y="16117"/>
                </a:cubicBezTo>
                <a:cubicBezTo>
                  <a:pt x="350636" y="13379"/>
                  <a:pt x="346851" y="11947"/>
                  <a:pt x="342369" y="11947"/>
                </a:cubicBezTo>
                <a:cubicBezTo>
                  <a:pt x="337887" y="11947"/>
                  <a:pt x="334053" y="13379"/>
                  <a:pt x="330865" y="16117"/>
                </a:cubicBezTo>
                <a:cubicBezTo>
                  <a:pt x="327678" y="18855"/>
                  <a:pt x="325238" y="23336"/>
                  <a:pt x="323545" y="29745"/>
                </a:cubicBezTo>
                <a:cubicBezTo>
                  <a:pt x="321852" y="36030"/>
                  <a:pt x="321005" y="44493"/>
                  <a:pt x="321005" y="55134"/>
                </a:cubicBezTo>
                <a:cubicBezTo>
                  <a:pt x="321005" y="65775"/>
                  <a:pt x="321802" y="74300"/>
                  <a:pt x="323396" y="80648"/>
                </a:cubicBezTo>
                <a:cubicBezTo>
                  <a:pt x="325089" y="86933"/>
                  <a:pt x="327529" y="91475"/>
                  <a:pt x="330716" y="94275"/>
                </a:cubicBezTo>
                <a:cubicBezTo>
                  <a:pt x="333903" y="96952"/>
                  <a:pt x="337738" y="98258"/>
                  <a:pt x="342220" y="98258"/>
                </a:cubicBezTo>
                <a:close/>
                <a:moveTo>
                  <a:pt x="424513" y="110082"/>
                </a:moveTo>
                <a:cubicBezTo>
                  <a:pt x="417740" y="110082"/>
                  <a:pt x="411664" y="108153"/>
                  <a:pt x="406286" y="104233"/>
                </a:cubicBezTo>
                <a:cubicBezTo>
                  <a:pt x="400908" y="100374"/>
                  <a:pt x="396675" y="94400"/>
                  <a:pt x="393587" y="86311"/>
                </a:cubicBezTo>
                <a:cubicBezTo>
                  <a:pt x="390600" y="78159"/>
                  <a:pt x="389106" y="67705"/>
                  <a:pt x="389106" y="54947"/>
                </a:cubicBezTo>
                <a:cubicBezTo>
                  <a:pt x="389106" y="42128"/>
                  <a:pt x="390600" y="31674"/>
                  <a:pt x="393587" y="23584"/>
                </a:cubicBezTo>
                <a:cubicBezTo>
                  <a:pt x="396675" y="15557"/>
                  <a:pt x="400908" y="9645"/>
                  <a:pt x="406286" y="5849"/>
                </a:cubicBezTo>
                <a:cubicBezTo>
                  <a:pt x="411664" y="2053"/>
                  <a:pt x="417740" y="186"/>
                  <a:pt x="424513" y="186"/>
                </a:cubicBezTo>
                <a:cubicBezTo>
                  <a:pt x="431286" y="186"/>
                  <a:pt x="437311" y="2053"/>
                  <a:pt x="442590" y="5849"/>
                </a:cubicBezTo>
                <a:cubicBezTo>
                  <a:pt x="447869" y="9645"/>
                  <a:pt x="452002" y="15557"/>
                  <a:pt x="454990" y="23584"/>
                </a:cubicBezTo>
                <a:cubicBezTo>
                  <a:pt x="457978" y="31549"/>
                  <a:pt x="459472" y="41942"/>
                  <a:pt x="459472" y="54698"/>
                </a:cubicBezTo>
                <a:cubicBezTo>
                  <a:pt x="459472" y="67331"/>
                  <a:pt x="457978" y="77786"/>
                  <a:pt x="454990" y="86062"/>
                </a:cubicBezTo>
                <a:cubicBezTo>
                  <a:pt x="452002" y="94213"/>
                  <a:pt x="447869" y="100250"/>
                  <a:pt x="442590" y="104233"/>
                </a:cubicBezTo>
                <a:cubicBezTo>
                  <a:pt x="437311" y="108153"/>
                  <a:pt x="431286" y="110082"/>
                  <a:pt x="424513" y="110082"/>
                </a:cubicBezTo>
                <a:close/>
                <a:moveTo>
                  <a:pt x="424364" y="98258"/>
                </a:moveTo>
                <a:cubicBezTo>
                  <a:pt x="428845" y="98258"/>
                  <a:pt x="432630" y="96952"/>
                  <a:pt x="435718" y="94275"/>
                </a:cubicBezTo>
                <a:cubicBezTo>
                  <a:pt x="438905" y="91475"/>
                  <a:pt x="441295" y="86933"/>
                  <a:pt x="442889" y="80648"/>
                </a:cubicBezTo>
                <a:cubicBezTo>
                  <a:pt x="444582" y="74300"/>
                  <a:pt x="445428" y="65775"/>
                  <a:pt x="445428" y="55134"/>
                </a:cubicBezTo>
                <a:cubicBezTo>
                  <a:pt x="445428" y="44493"/>
                  <a:pt x="444632" y="36030"/>
                  <a:pt x="443038" y="29745"/>
                </a:cubicBezTo>
                <a:cubicBezTo>
                  <a:pt x="441444" y="23336"/>
                  <a:pt x="439054" y="18855"/>
                  <a:pt x="435867" y="16117"/>
                </a:cubicBezTo>
                <a:cubicBezTo>
                  <a:pt x="432780" y="13379"/>
                  <a:pt x="428995" y="11947"/>
                  <a:pt x="424513" y="11947"/>
                </a:cubicBezTo>
                <a:cubicBezTo>
                  <a:pt x="420031" y="11947"/>
                  <a:pt x="416196" y="13379"/>
                  <a:pt x="413009" y="16117"/>
                </a:cubicBezTo>
                <a:cubicBezTo>
                  <a:pt x="409822" y="18855"/>
                  <a:pt x="407382" y="23336"/>
                  <a:pt x="405689" y="29745"/>
                </a:cubicBezTo>
                <a:cubicBezTo>
                  <a:pt x="403995" y="36030"/>
                  <a:pt x="403149" y="44493"/>
                  <a:pt x="403149" y="55134"/>
                </a:cubicBezTo>
                <a:cubicBezTo>
                  <a:pt x="403149" y="65775"/>
                  <a:pt x="403946" y="74300"/>
                  <a:pt x="405539" y="80648"/>
                </a:cubicBezTo>
                <a:cubicBezTo>
                  <a:pt x="407233" y="86933"/>
                  <a:pt x="409672" y="91475"/>
                  <a:pt x="412860" y="94275"/>
                </a:cubicBezTo>
                <a:cubicBezTo>
                  <a:pt x="416047" y="96952"/>
                  <a:pt x="419881" y="98258"/>
                  <a:pt x="424364" y="98258"/>
                </a:cubicBezTo>
                <a:close/>
                <a:moveTo>
                  <a:pt x="543253" y="73491"/>
                </a:moveTo>
                <a:cubicBezTo>
                  <a:pt x="543253" y="80772"/>
                  <a:pt x="541659" y="87182"/>
                  <a:pt x="538472" y="92782"/>
                </a:cubicBezTo>
                <a:cubicBezTo>
                  <a:pt x="535384" y="98258"/>
                  <a:pt x="531151" y="102490"/>
                  <a:pt x="525773" y="105601"/>
                </a:cubicBezTo>
                <a:cubicBezTo>
                  <a:pt x="520395" y="108588"/>
                  <a:pt x="514369" y="110082"/>
                  <a:pt x="507696" y="110082"/>
                </a:cubicBezTo>
                <a:cubicBezTo>
                  <a:pt x="498732" y="110082"/>
                  <a:pt x="491511" y="108091"/>
                  <a:pt x="486033" y="104108"/>
                </a:cubicBezTo>
                <a:cubicBezTo>
                  <a:pt x="480556" y="100125"/>
                  <a:pt x="476522" y="94587"/>
                  <a:pt x="473932" y="87555"/>
                </a:cubicBezTo>
                <a:cubicBezTo>
                  <a:pt x="471442" y="80461"/>
                  <a:pt x="470197" y="72372"/>
                  <a:pt x="470197" y="63161"/>
                </a:cubicBezTo>
                <a:cubicBezTo>
                  <a:pt x="470197" y="50653"/>
                  <a:pt x="471691" y="39639"/>
                  <a:pt x="474679" y="30181"/>
                </a:cubicBezTo>
                <a:cubicBezTo>
                  <a:pt x="477767" y="20722"/>
                  <a:pt x="482448" y="13379"/>
                  <a:pt x="488723" y="8089"/>
                </a:cubicBezTo>
                <a:cubicBezTo>
                  <a:pt x="495097" y="2675"/>
                  <a:pt x="503264" y="0"/>
                  <a:pt x="513224" y="0"/>
                </a:cubicBezTo>
                <a:cubicBezTo>
                  <a:pt x="521789" y="0"/>
                  <a:pt x="529309" y="1866"/>
                  <a:pt x="535783" y="5538"/>
                </a:cubicBezTo>
                <a:lnTo>
                  <a:pt x="535783" y="18855"/>
                </a:lnTo>
                <a:cubicBezTo>
                  <a:pt x="529309" y="14437"/>
                  <a:pt x="521789" y="12259"/>
                  <a:pt x="513224" y="12259"/>
                </a:cubicBezTo>
                <a:cubicBezTo>
                  <a:pt x="507049" y="12259"/>
                  <a:pt x="501870" y="13939"/>
                  <a:pt x="497687" y="17361"/>
                </a:cubicBezTo>
                <a:cubicBezTo>
                  <a:pt x="493503" y="20722"/>
                  <a:pt x="490217" y="25327"/>
                  <a:pt x="487826" y="31238"/>
                </a:cubicBezTo>
                <a:cubicBezTo>
                  <a:pt x="485535" y="37026"/>
                  <a:pt x="484141" y="43498"/>
                  <a:pt x="483643" y="50778"/>
                </a:cubicBezTo>
                <a:cubicBezTo>
                  <a:pt x="486930" y="46298"/>
                  <a:pt x="490715" y="42999"/>
                  <a:pt x="494997" y="40759"/>
                </a:cubicBezTo>
                <a:cubicBezTo>
                  <a:pt x="499280" y="38581"/>
                  <a:pt x="503961" y="37523"/>
                  <a:pt x="509041" y="37523"/>
                </a:cubicBezTo>
                <a:cubicBezTo>
                  <a:pt x="515515" y="37523"/>
                  <a:pt x="521291" y="38893"/>
                  <a:pt x="526371" y="41693"/>
                </a:cubicBezTo>
                <a:cubicBezTo>
                  <a:pt x="531550" y="44493"/>
                  <a:pt x="535634" y="48538"/>
                  <a:pt x="538621" y="53952"/>
                </a:cubicBezTo>
                <a:cubicBezTo>
                  <a:pt x="541709" y="59179"/>
                  <a:pt x="543253" y="65713"/>
                  <a:pt x="543253" y="73491"/>
                </a:cubicBezTo>
                <a:close/>
                <a:moveTo>
                  <a:pt x="507248" y="98134"/>
                </a:moveTo>
                <a:cubicBezTo>
                  <a:pt x="511132" y="98134"/>
                  <a:pt x="514718" y="97263"/>
                  <a:pt x="518004" y="95458"/>
                </a:cubicBezTo>
                <a:cubicBezTo>
                  <a:pt x="521291" y="93529"/>
                  <a:pt x="523931" y="90791"/>
                  <a:pt x="525923" y="87244"/>
                </a:cubicBezTo>
                <a:cubicBezTo>
                  <a:pt x="528014" y="83635"/>
                  <a:pt x="529060" y="79154"/>
                  <a:pt x="529060" y="73803"/>
                </a:cubicBezTo>
                <a:cubicBezTo>
                  <a:pt x="529060" y="68389"/>
                  <a:pt x="528064" y="63908"/>
                  <a:pt x="526072" y="60174"/>
                </a:cubicBezTo>
                <a:cubicBezTo>
                  <a:pt x="524080" y="56503"/>
                  <a:pt x="521540" y="53765"/>
                  <a:pt x="518453" y="51961"/>
                </a:cubicBezTo>
                <a:cubicBezTo>
                  <a:pt x="515365" y="50093"/>
                  <a:pt x="512128" y="49160"/>
                  <a:pt x="508742" y="49160"/>
                </a:cubicBezTo>
                <a:cubicBezTo>
                  <a:pt x="502168" y="49160"/>
                  <a:pt x="496641" y="51276"/>
                  <a:pt x="492159" y="55570"/>
                </a:cubicBezTo>
                <a:cubicBezTo>
                  <a:pt x="487777" y="59739"/>
                  <a:pt x="485585" y="65900"/>
                  <a:pt x="485585" y="74114"/>
                </a:cubicBezTo>
                <a:cubicBezTo>
                  <a:pt x="485585" y="81270"/>
                  <a:pt x="487527" y="87058"/>
                  <a:pt x="491412" y="91538"/>
                </a:cubicBezTo>
                <a:cubicBezTo>
                  <a:pt x="495296" y="95956"/>
                  <a:pt x="500575" y="98134"/>
                  <a:pt x="507248" y="98134"/>
                </a:cubicBezTo>
                <a:close/>
                <a:moveTo>
                  <a:pt x="552335" y="35844"/>
                </a:moveTo>
                <a:cubicBezTo>
                  <a:pt x="552335" y="28687"/>
                  <a:pt x="553879" y="22402"/>
                  <a:pt x="556966" y="17051"/>
                </a:cubicBezTo>
                <a:cubicBezTo>
                  <a:pt x="560153" y="11637"/>
                  <a:pt x="564436" y="7467"/>
                  <a:pt x="569814" y="4480"/>
                </a:cubicBezTo>
                <a:cubicBezTo>
                  <a:pt x="575193" y="1493"/>
                  <a:pt x="581218" y="0"/>
                  <a:pt x="587891" y="0"/>
                </a:cubicBezTo>
                <a:cubicBezTo>
                  <a:pt x="596855" y="0"/>
                  <a:pt x="604076" y="1929"/>
                  <a:pt x="609554" y="5849"/>
                </a:cubicBezTo>
                <a:cubicBezTo>
                  <a:pt x="615132" y="9645"/>
                  <a:pt x="619165" y="14934"/>
                  <a:pt x="621655" y="21842"/>
                </a:cubicBezTo>
                <a:cubicBezTo>
                  <a:pt x="624145" y="28563"/>
                  <a:pt x="625390" y="36466"/>
                  <a:pt x="625390" y="45426"/>
                </a:cubicBezTo>
                <a:cubicBezTo>
                  <a:pt x="625390" y="58868"/>
                  <a:pt x="623846" y="70380"/>
                  <a:pt x="620759" y="80088"/>
                </a:cubicBezTo>
                <a:cubicBezTo>
                  <a:pt x="617671" y="89733"/>
                  <a:pt x="612891" y="97138"/>
                  <a:pt x="606417" y="102303"/>
                </a:cubicBezTo>
                <a:cubicBezTo>
                  <a:pt x="600042" y="107468"/>
                  <a:pt x="591875" y="110082"/>
                  <a:pt x="581916" y="110082"/>
                </a:cubicBezTo>
                <a:cubicBezTo>
                  <a:pt x="572952" y="110082"/>
                  <a:pt x="565283" y="108215"/>
                  <a:pt x="558908" y="104543"/>
                </a:cubicBezTo>
                <a:lnTo>
                  <a:pt x="558908" y="91413"/>
                </a:lnTo>
                <a:cubicBezTo>
                  <a:pt x="565681" y="95769"/>
                  <a:pt x="573350" y="98010"/>
                  <a:pt x="581916" y="98010"/>
                </a:cubicBezTo>
                <a:cubicBezTo>
                  <a:pt x="588091" y="98010"/>
                  <a:pt x="593270" y="96267"/>
                  <a:pt x="597453" y="92907"/>
                </a:cubicBezTo>
                <a:cubicBezTo>
                  <a:pt x="601636" y="89546"/>
                  <a:pt x="604873" y="84941"/>
                  <a:pt x="607164" y="79154"/>
                </a:cubicBezTo>
                <a:cubicBezTo>
                  <a:pt x="609554" y="73367"/>
                  <a:pt x="610998" y="66896"/>
                  <a:pt x="611496" y="59739"/>
                </a:cubicBezTo>
                <a:cubicBezTo>
                  <a:pt x="608409" y="63660"/>
                  <a:pt x="604724" y="66522"/>
                  <a:pt x="600441" y="68389"/>
                </a:cubicBezTo>
                <a:cubicBezTo>
                  <a:pt x="596158" y="70193"/>
                  <a:pt x="591527" y="71127"/>
                  <a:pt x="586547" y="71127"/>
                </a:cubicBezTo>
                <a:cubicBezTo>
                  <a:pt x="580172" y="71127"/>
                  <a:pt x="574396" y="69758"/>
                  <a:pt x="569217" y="67082"/>
                </a:cubicBezTo>
                <a:cubicBezTo>
                  <a:pt x="564038" y="64406"/>
                  <a:pt x="559904" y="60424"/>
                  <a:pt x="556817" y="55134"/>
                </a:cubicBezTo>
                <a:cubicBezTo>
                  <a:pt x="553829" y="49845"/>
                  <a:pt x="552335" y="43435"/>
                  <a:pt x="552335" y="35844"/>
                </a:cubicBezTo>
                <a:close/>
                <a:moveTo>
                  <a:pt x="588340" y="12134"/>
                </a:moveTo>
                <a:cubicBezTo>
                  <a:pt x="584555" y="12134"/>
                  <a:pt x="580969" y="13006"/>
                  <a:pt x="577583" y="14810"/>
                </a:cubicBezTo>
                <a:cubicBezTo>
                  <a:pt x="574296" y="16490"/>
                  <a:pt x="571607" y="19104"/>
                  <a:pt x="569516" y="22589"/>
                </a:cubicBezTo>
                <a:cubicBezTo>
                  <a:pt x="567524" y="25949"/>
                  <a:pt x="566528" y="30305"/>
                  <a:pt x="566528" y="35532"/>
                </a:cubicBezTo>
                <a:cubicBezTo>
                  <a:pt x="566528" y="40759"/>
                  <a:pt x="567524" y="45116"/>
                  <a:pt x="569516" y="48725"/>
                </a:cubicBezTo>
                <a:cubicBezTo>
                  <a:pt x="571508" y="52271"/>
                  <a:pt x="574047" y="54947"/>
                  <a:pt x="577135" y="56752"/>
                </a:cubicBezTo>
                <a:cubicBezTo>
                  <a:pt x="580222" y="58556"/>
                  <a:pt x="583459" y="59428"/>
                  <a:pt x="586846" y="59428"/>
                </a:cubicBezTo>
                <a:cubicBezTo>
                  <a:pt x="593419" y="59428"/>
                  <a:pt x="598897" y="57437"/>
                  <a:pt x="603279" y="53329"/>
                </a:cubicBezTo>
                <a:cubicBezTo>
                  <a:pt x="607761" y="49160"/>
                  <a:pt x="610002" y="43124"/>
                  <a:pt x="610002" y="35283"/>
                </a:cubicBezTo>
                <a:cubicBezTo>
                  <a:pt x="610002" y="28313"/>
                  <a:pt x="608060" y="22713"/>
                  <a:pt x="604176" y="18544"/>
                </a:cubicBezTo>
                <a:cubicBezTo>
                  <a:pt x="600291" y="14250"/>
                  <a:pt x="595013" y="12134"/>
                  <a:pt x="588340" y="12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9" name="Полилиния 1068">
            <a:extLst>
              <a:ext uri="{FF2B5EF4-FFF2-40B4-BE49-F238E27FC236}">
                <a16:creationId xmlns:a16="http://schemas.microsoft.com/office/drawing/2014/main" id="{1D0DC3B2-D5E4-230A-0638-301BC95EBC4C}"/>
              </a:ext>
            </a:extLst>
          </p:cNvPr>
          <p:cNvSpPr/>
          <p:nvPr userDrawn="1"/>
        </p:nvSpPr>
        <p:spPr>
          <a:xfrm>
            <a:off x="16903366" y="6692525"/>
            <a:ext cx="1398954" cy="726227"/>
          </a:xfrm>
          <a:custGeom>
            <a:avLst/>
            <a:gdLst>
              <a:gd name="connsiteX0" fmla="*/ 638 w 1198727"/>
              <a:gd name="connsiteY0" fmla="*/ 1422 h 622284"/>
              <a:gd name="connsiteX1" fmla="*/ 1199366 w 1198727"/>
              <a:gd name="connsiteY1" fmla="*/ 1422 h 622284"/>
              <a:gd name="connsiteX2" fmla="*/ 1199366 w 1198727"/>
              <a:gd name="connsiteY2" fmla="*/ 623706 h 622284"/>
              <a:gd name="connsiteX3" fmla="*/ 638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422"/>
                </a:moveTo>
                <a:lnTo>
                  <a:pt x="1199366" y="1422"/>
                </a:lnTo>
                <a:lnTo>
                  <a:pt x="1199366" y="623706"/>
                </a:lnTo>
                <a:lnTo>
                  <a:pt x="638" y="623706"/>
                </a:lnTo>
                <a:close/>
              </a:path>
            </a:pathLst>
          </a:custGeom>
          <a:solidFill>
            <a:srgbClr val="FF0F8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0" name="Полилиния 1069">
            <a:extLst>
              <a:ext uri="{FF2B5EF4-FFF2-40B4-BE49-F238E27FC236}">
                <a16:creationId xmlns:a16="http://schemas.microsoft.com/office/drawing/2014/main" id="{70C71351-24EC-435E-EE62-D985008B9D44}"/>
              </a:ext>
            </a:extLst>
          </p:cNvPr>
          <p:cNvSpPr/>
          <p:nvPr userDrawn="1"/>
        </p:nvSpPr>
        <p:spPr>
          <a:xfrm>
            <a:off x="17026576" y="6994491"/>
            <a:ext cx="688413" cy="128252"/>
          </a:xfrm>
          <a:custGeom>
            <a:avLst/>
            <a:gdLst>
              <a:gd name="connsiteX0" fmla="*/ 22111 w 589883"/>
              <a:gd name="connsiteY0" fmla="*/ 108402 h 109895"/>
              <a:gd name="connsiteX1" fmla="*/ 10159 w 589883"/>
              <a:gd name="connsiteY1" fmla="*/ 108402 h 109895"/>
              <a:gd name="connsiteX2" fmla="*/ 16433 w 589883"/>
              <a:gd name="connsiteY2" fmla="*/ 77475 h 109895"/>
              <a:gd name="connsiteX3" fmla="*/ 0 w 589883"/>
              <a:gd name="connsiteY3" fmla="*/ 77475 h 109895"/>
              <a:gd name="connsiteX4" fmla="*/ 0 w 589883"/>
              <a:gd name="connsiteY4" fmla="*/ 67020 h 109895"/>
              <a:gd name="connsiteX5" fmla="*/ 18675 w 589883"/>
              <a:gd name="connsiteY5" fmla="*/ 67020 h 109895"/>
              <a:gd name="connsiteX6" fmla="*/ 24202 w 589883"/>
              <a:gd name="connsiteY6" fmla="*/ 39826 h 109895"/>
              <a:gd name="connsiteX7" fmla="*/ 4033 w 589883"/>
              <a:gd name="connsiteY7" fmla="*/ 39826 h 109895"/>
              <a:gd name="connsiteX8" fmla="*/ 4033 w 589883"/>
              <a:gd name="connsiteY8" fmla="*/ 29372 h 109895"/>
              <a:gd name="connsiteX9" fmla="*/ 26294 w 589883"/>
              <a:gd name="connsiteY9" fmla="*/ 29372 h 109895"/>
              <a:gd name="connsiteX10" fmla="*/ 32120 w 589883"/>
              <a:gd name="connsiteY10" fmla="*/ 1307 h 109895"/>
              <a:gd name="connsiteX11" fmla="*/ 44072 w 589883"/>
              <a:gd name="connsiteY11" fmla="*/ 1307 h 109895"/>
              <a:gd name="connsiteX12" fmla="*/ 38246 w 589883"/>
              <a:gd name="connsiteY12" fmla="*/ 29372 h 109895"/>
              <a:gd name="connsiteX13" fmla="*/ 60655 w 589883"/>
              <a:gd name="connsiteY13" fmla="*/ 29372 h 109895"/>
              <a:gd name="connsiteX14" fmla="*/ 66482 w 589883"/>
              <a:gd name="connsiteY14" fmla="*/ 1307 h 109895"/>
              <a:gd name="connsiteX15" fmla="*/ 78434 w 589883"/>
              <a:gd name="connsiteY15" fmla="*/ 1307 h 109895"/>
              <a:gd name="connsiteX16" fmla="*/ 72607 w 589883"/>
              <a:gd name="connsiteY16" fmla="*/ 29372 h 109895"/>
              <a:gd name="connsiteX17" fmla="*/ 89340 w 589883"/>
              <a:gd name="connsiteY17" fmla="*/ 29372 h 109895"/>
              <a:gd name="connsiteX18" fmla="*/ 89340 w 589883"/>
              <a:gd name="connsiteY18" fmla="*/ 39826 h 109895"/>
              <a:gd name="connsiteX19" fmla="*/ 70516 w 589883"/>
              <a:gd name="connsiteY19" fmla="*/ 39826 h 109895"/>
              <a:gd name="connsiteX20" fmla="*/ 64988 w 589883"/>
              <a:gd name="connsiteY20" fmla="*/ 67020 h 109895"/>
              <a:gd name="connsiteX21" fmla="*/ 85306 w 589883"/>
              <a:gd name="connsiteY21" fmla="*/ 67020 h 109895"/>
              <a:gd name="connsiteX22" fmla="*/ 85306 w 589883"/>
              <a:gd name="connsiteY22" fmla="*/ 77475 h 109895"/>
              <a:gd name="connsiteX23" fmla="*/ 62747 w 589883"/>
              <a:gd name="connsiteY23" fmla="*/ 77475 h 109895"/>
              <a:gd name="connsiteX24" fmla="*/ 56472 w 589883"/>
              <a:gd name="connsiteY24" fmla="*/ 108402 h 109895"/>
              <a:gd name="connsiteX25" fmla="*/ 44520 w 589883"/>
              <a:gd name="connsiteY25" fmla="*/ 108402 h 109895"/>
              <a:gd name="connsiteX26" fmla="*/ 50795 w 589883"/>
              <a:gd name="connsiteY26" fmla="*/ 77475 h 109895"/>
              <a:gd name="connsiteX27" fmla="*/ 28386 w 589883"/>
              <a:gd name="connsiteY27" fmla="*/ 77475 h 109895"/>
              <a:gd name="connsiteX28" fmla="*/ 22111 w 589883"/>
              <a:gd name="connsiteY28" fmla="*/ 108402 h 109895"/>
              <a:gd name="connsiteX29" fmla="*/ 30626 w 589883"/>
              <a:gd name="connsiteY29" fmla="*/ 67020 h 109895"/>
              <a:gd name="connsiteX30" fmla="*/ 53036 w 589883"/>
              <a:gd name="connsiteY30" fmla="*/ 67020 h 109895"/>
              <a:gd name="connsiteX31" fmla="*/ 58564 w 589883"/>
              <a:gd name="connsiteY31" fmla="*/ 39826 h 109895"/>
              <a:gd name="connsiteX32" fmla="*/ 36154 w 589883"/>
              <a:gd name="connsiteY32" fmla="*/ 39826 h 109895"/>
              <a:gd name="connsiteX33" fmla="*/ 30626 w 589883"/>
              <a:gd name="connsiteY33" fmla="*/ 67020 h 109895"/>
              <a:gd name="connsiteX34" fmla="*/ 107827 w 589883"/>
              <a:gd name="connsiteY34" fmla="*/ 1307 h 109895"/>
              <a:gd name="connsiteX35" fmla="*/ 173264 w 589883"/>
              <a:gd name="connsiteY35" fmla="*/ 1307 h 109895"/>
              <a:gd name="connsiteX36" fmla="*/ 173264 w 589883"/>
              <a:gd name="connsiteY36" fmla="*/ 14188 h 109895"/>
              <a:gd name="connsiteX37" fmla="*/ 121871 w 589883"/>
              <a:gd name="connsiteY37" fmla="*/ 14188 h 109895"/>
              <a:gd name="connsiteX38" fmla="*/ 121871 w 589883"/>
              <a:gd name="connsiteY38" fmla="*/ 49720 h 109895"/>
              <a:gd name="connsiteX39" fmla="*/ 165495 w 589883"/>
              <a:gd name="connsiteY39" fmla="*/ 49720 h 109895"/>
              <a:gd name="connsiteX40" fmla="*/ 165495 w 589883"/>
              <a:gd name="connsiteY40" fmla="*/ 62415 h 109895"/>
              <a:gd name="connsiteX41" fmla="*/ 121871 w 589883"/>
              <a:gd name="connsiteY41" fmla="*/ 62415 h 109895"/>
              <a:gd name="connsiteX42" fmla="*/ 121871 w 589883"/>
              <a:gd name="connsiteY42" fmla="*/ 108402 h 109895"/>
              <a:gd name="connsiteX43" fmla="*/ 107827 w 589883"/>
              <a:gd name="connsiteY43" fmla="*/ 108402 h 109895"/>
              <a:gd name="connsiteX44" fmla="*/ 107827 w 589883"/>
              <a:gd name="connsiteY44" fmla="*/ 1307 h 109895"/>
              <a:gd name="connsiteX45" fmla="*/ 192735 w 589883"/>
              <a:gd name="connsiteY45" fmla="*/ 1307 h 109895"/>
              <a:gd name="connsiteX46" fmla="*/ 258171 w 589883"/>
              <a:gd name="connsiteY46" fmla="*/ 1307 h 109895"/>
              <a:gd name="connsiteX47" fmla="*/ 258171 w 589883"/>
              <a:gd name="connsiteY47" fmla="*/ 14188 h 109895"/>
              <a:gd name="connsiteX48" fmla="*/ 206778 w 589883"/>
              <a:gd name="connsiteY48" fmla="*/ 14188 h 109895"/>
              <a:gd name="connsiteX49" fmla="*/ 206778 w 589883"/>
              <a:gd name="connsiteY49" fmla="*/ 49720 h 109895"/>
              <a:gd name="connsiteX50" fmla="*/ 250402 w 589883"/>
              <a:gd name="connsiteY50" fmla="*/ 49720 h 109895"/>
              <a:gd name="connsiteX51" fmla="*/ 250402 w 589883"/>
              <a:gd name="connsiteY51" fmla="*/ 62415 h 109895"/>
              <a:gd name="connsiteX52" fmla="*/ 206778 w 589883"/>
              <a:gd name="connsiteY52" fmla="*/ 62415 h 109895"/>
              <a:gd name="connsiteX53" fmla="*/ 206778 w 589883"/>
              <a:gd name="connsiteY53" fmla="*/ 108402 h 109895"/>
              <a:gd name="connsiteX54" fmla="*/ 192735 w 589883"/>
              <a:gd name="connsiteY54" fmla="*/ 108402 h 109895"/>
              <a:gd name="connsiteX55" fmla="*/ 192735 w 589883"/>
              <a:gd name="connsiteY55" fmla="*/ 1307 h 109895"/>
              <a:gd name="connsiteX56" fmla="*/ 306483 w 589883"/>
              <a:gd name="connsiteY56" fmla="*/ 109896 h 109895"/>
              <a:gd name="connsiteX57" fmla="*/ 288256 w 589883"/>
              <a:gd name="connsiteY57" fmla="*/ 104047 h 109895"/>
              <a:gd name="connsiteX58" fmla="*/ 275557 w 589883"/>
              <a:gd name="connsiteY58" fmla="*/ 86125 h 109895"/>
              <a:gd name="connsiteX59" fmla="*/ 271075 w 589883"/>
              <a:gd name="connsiteY59" fmla="*/ 54761 h 109895"/>
              <a:gd name="connsiteX60" fmla="*/ 275557 w 589883"/>
              <a:gd name="connsiteY60" fmla="*/ 23398 h 109895"/>
              <a:gd name="connsiteX61" fmla="*/ 288256 w 589883"/>
              <a:gd name="connsiteY61" fmla="*/ 5663 h 109895"/>
              <a:gd name="connsiteX62" fmla="*/ 306483 w 589883"/>
              <a:gd name="connsiteY62" fmla="*/ 0 h 109895"/>
              <a:gd name="connsiteX63" fmla="*/ 324560 w 589883"/>
              <a:gd name="connsiteY63" fmla="*/ 5663 h 109895"/>
              <a:gd name="connsiteX64" fmla="*/ 336960 w 589883"/>
              <a:gd name="connsiteY64" fmla="*/ 23398 h 109895"/>
              <a:gd name="connsiteX65" fmla="*/ 341441 w 589883"/>
              <a:gd name="connsiteY65" fmla="*/ 54512 h 109895"/>
              <a:gd name="connsiteX66" fmla="*/ 336960 w 589883"/>
              <a:gd name="connsiteY66" fmla="*/ 85876 h 109895"/>
              <a:gd name="connsiteX67" fmla="*/ 324560 w 589883"/>
              <a:gd name="connsiteY67" fmla="*/ 104047 h 109895"/>
              <a:gd name="connsiteX68" fmla="*/ 306483 w 589883"/>
              <a:gd name="connsiteY68" fmla="*/ 109896 h 109895"/>
              <a:gd name="connsiteX69" fmla="*/ 306333 w 589883"/>
              <a:gd name="connsiteY69" fmla="*/ 98072 h 109895"/>
              <a:gd name="connsiteX70" fmla="*/ 317687 w 589883"/>
              <a:gd name="connsiteY70" fmla="*/ 94089 h 109895"/>
              <a:gd name="connsiteX71" fmla="*/ 324858 w 589883"/>
              <a:gd name="connsiteY71" fmla="*/ 80462 h 109895"/>
              <a:gd name="connsiteX72" fmla="*/ 327398 w 589883"/>
              <a:gd name="connsiteY72" fmla="*/ 54948 h 109895"/>
              <a:gd name="connsiteX73" fmla="*/ 325008 w 589883"/>
              <a:gd name="connsiteY73" fmla="*/ 29559 h 109895"/>
              <a:gd name="connsiteX74" fmla="*/ 317837 w 589883"/>
              <a:gd name="connsiteY74" fmla="*/ 15931 h 109895"/>
              <a:gd name="connsiteX75" fmla="*/ 306483 w 589883"/>
              <a:gd name="connsiteY75" fmla="*/ 11761 h 109895"/>
              <a:gd name="connsiteX76" fmla="*/ 294979 w 589883"/>
              <a:gd name="connsiteY76" fmla="*/ 15931 h 109895"/>
              <a:gd name="connsiteX77" fmla="*/ 287659 w 589883"/>
              <a:gd name="connsiteY77" fmla="*/ 29559 h 109895"/>
              <a:gd name="connsiteX78" fmla="*/ 285119 w 589883"/>
              <a:gd name="connsiteY78" fmla="*/ 54948 h 109895"/>
              <a:gd name="connsiteX79" fmla="*/ 287509 w 589883"/>
              <a:gd name="connsiteY79" fmla="*/ 80462 h 109895"/>
              <a:gd name="connsiteX80" fmla="*/ 294830 w 589883"/>
              <a:gd name="connsiteY80" fmla="*/ 94089 h 109895"/>
              <a:gd name="connsiteX81" fmla="*/ 306333 w 589883"/>
              <a:gd name="connsiteY81" fmla="*/ 98072 h 109895"/>
              <a:gd name="connsiteX82" fmla="*/ 359786 w 589883"/>
              <a:gd name="connsiteY82" fmla="*/ 1307 h 109895"/>
              <a:gd name="connsiteX83" fmla="*/ 425223 w 589883"/>
              <a:gd name="connsiteY83" fmla="*/ 1307 h 109895"/>
              <a:gd name="connsiteX84" fmla="*/ 425223 w 589883"/>
              <a:gd name="connsiteY84" fmla="*/ 14188 h 109895"/>
              <a:gd name="connsiteX85" fmla="*/ 373830 w 589883"/>
              <a:gd name="connsiteY85" fmla="*/ 14188 h 109895"/>
              <a:gd name="connsiteX86" fmla="*/ 373830 w 589883"/>
              <a:gd name="connsiteY86" fmla="*/ 49720 h 109895"/>
              <a:gd name="connsiteX87" fmla="*/ 417454 w 589883"/>
              <a:gd name="connsiteY87" fmla="*/ 49720 h 109895"/>
              <a:gd name="connsiteX88" fmla="*/ 417454 w 589883"/>
              <a:gd name="connsiteY88" fmla="*/ 62415 h 109895"/>
              <a:gd name="connsiteX89" fmla="*/ 373830 w 589883"/>
              <a:gd name="connsiteY89" fmla="*/ 62415 h 109895"/>
              <a:gd name="connsiteX90" fmla="*/ 373830 w 589883"/>
              <a:gd name="connsiteY90" fmla="*/ 108402 h 109895"/>
              <a:gd name="connsiteX91" fmla="*/ 359786 w 589883"/>
              <a:gd name="connsiteY91" fmla="*/ 108402 h 109895"/>
              <a:gd name="connsiteX92" fmla="*/ 359786 w 589883"/>
              <a:gd name="connsiteY92" fmla="*/ 1307 h 109895"/>
              <a:gd name="connsiteX93" fmla="*/ 473683 w 589883"/>
              <a:gd name="connsiteY93" fmla="*/ 109896 h 109895"/>
              <a:gd name="connsiteX94" fmla="*/ 455009 w 589883"/>
              <a:gd name="connsiteY94" fmla="*/ 106287 h 109895"/>
              <a:gd name="connsiteX95" fmla="*/ 442310 w 589883"/>
              <a:gd name="connsiteY95" fmla="*/ 96019 h 109895"/>
              <a:gd name="connsiteX96" fmla="*/ 437678 w 589883"/>
              <a:gd name="connsiteY96" fmla="*/ 79590 h 109895"/>
              <a:gd name="connsiteX97" fmla="*/ 443057 w 589883"/>
              <a:gd name="connsiteY97" fmla="*/ 62105 h 109895"/>
              <a:gd name="connsiteX98" fmla="*/ 457847 w 589883"/>
              <a:gd name="connsiteY98" fmla="*/ 51525 h 109895"/>
              <a:gd name="connsiteX99" fmla="*/ 445895 w 589883"/>
              <a:gd name="connsiteY99" fmla="*/ 42378 h 109895"/>
              <a:gd name="connsiteX100" fmla="*/ 441563 w 589883"/>
              <a:gd name="connsiteY100" fmla="*/ 27318 h 109895"/>
              <a:gd name="connsiteX101" fmla="*/ 445746 w 589883"/>
              <a:gd name="connsiteY101" fmla="*/ 12383 h 109895"/>
              <a:gd name="connsiteX102" fmla="*/ 457249 w 589883"/>
              <a:gd name="connsiteY102" fmla="*/ 3111 h 109895"/>
              <a:gd name="connsiteX103" fmla="*/ 473683 w 589883"/>
              <a:gd name="connsiteY103" fmla="*/ 0 h 109895"/>
              <a:gd name="connsiteX104" fmla="*/ 489818 w 589883"/>
              <a:gd name="connsiteY104" fmla="*/ 3111 h 109895"/>
              <a:gd name="connsiteX105" fmla="*/ 501172 w 589883"/>
              <a:gd name="connsiteY105" fmla="*/ 12073 h 109895"/>
              <a:gd name="connsiteX106" fmla="*/ 505505 w 589883"/>
              <a:gd name="connsiteY106" fmla="*/ 27008 h 109895"/>
              <a:gd name="connsiteX107" fmla="*/ 501023 w 589883"/>
              <a:gd name="connsiteY107" fmla="*/ 42253 h 109895"/>
              <a:gd name="connsiteX108" fmla="*/ 489221 w 589883"/>
              <a:gd name="connsiteY108" fmla="*/ 51525 h 109895"/>
              <a:gd name="connsiteX109" fmla="*/ 503563 w 589883"/>
              <a:gd name="connsiteY109" fmla="*/ 61669 h 109895"/>
              <a:gd name="connsiteX110" fmla="*/ 509090 w 589883"/>
              <a:gd name="connsiteY110" fmla="*/ 79155 h 109895"/>
              <a:gd name="connsiteX111" fmla="*/ 504459 w 589883"/>
              <a:gd name="connsiteY111" fmla="*/ 95707 h 109895"/>
              <a:gd name="connsiteX112" fmla="*/ 491760 w 589883"/>
              <a:gd name="connsiteY112" fmla="*/ 106287 h 109895"/>
              <a:gd name="connsiteX113" fmla="*/ 473683 w 589883"/>
              <a:gd name="connsiteY113" fmla="*/ 109896 h 109895"/>
              <a:gd name="connsiteX114" fmla="*/ 473683 w 589883"/>
              <a:gd name="connsiteY114" fmla="*/ 46111 h 109895"/>
              <a:gd name="connsiteX115" fmla="*/ 486681 w 589883"/>
              <a:gd name="connsiteY115" fmla="*/ 41631 h 109895"/>
              <a:gd name="connsiteX116" fmla="*/ 491910 w 589883"/>
              <a:gd name="connsiteY116" fmla="*/ 28936 h 109895"/>
              <a:gd name="connsiteX117" fmla="*/ 486681 w 589883"/>
              <a:gd name="connsiteY117" fmla="*/ 16428 h 109895"/>
              <a:gd name="connsiteX118" fmla="*/ 473683 w 589883"/>
              <a:gd name="connsiteY118" fmla="*/ 11761 h 109895"/>
              <a:gd name="connsiteX119" fmla="*/ 460387 w 589883"/>
              <a:gd name="connsiteY119" fmla="*/ 16428 h 109895"/>
              <a:gd name="connsiteX120" fmla="*/ 455158 w 589883"/>
              <a:gd name="connsiteY120" fmla="*/ 28936 h 109895"/>
              <a:gd name="connsiteX121" fmla="*/ 460387 w 589883"/>
              <a:gd name="connsiteY121" fmla="*/ 41631 h 109895"/>
              <a:gd name="connsiteX122" fmla="*/ 473683 w 589883"/>
              <a:gd name="connsiteY122" fmla="*/ 46111 h 109895"/>
              <a:gd name="connsiteX123" fmla="*/ 473683 w 589883"/>
              <a:gd name="connsiteY123" fmla="*/ 98072 h 109895"/>
              <a:gd name="connsiteX124" fmla="*/ 489071 w 589883"/>
              <a:gd name="connsiteY124" fmla="*/ 92721 h 109895"/>
              <a:gd name="connsiteX125" fmla="*/ 495346 w 589883"/>
              <a:gd name="connsiteY125" fmla="*/ 77350 h 109895"/>
              <a:gd name="connsiteX126" fmla="*/ 489071 w 589883"/>
              <a:gd name="connsiteY126" fmla="*/ 62105 h 109895"/>
              <a:gd name="connsiteX127" fmla="*/ 473683 w 589883"/>
              <a:gd name="connsiteY127" fmla="*/ 56566 h 109895"/>
              <a:gd name="connsiteX128" fmla="*/ 457698 w 589883"/>
              <a:gd name="connsiteY128" fmla="*/ 62105 h 109895"/>
              <a:gd name="connsiteX129" fmla="*/ 451423 w 589883"/>
              <a:gd name="connsiteY129" fmla="*/ 77350 h 109895"/>
              <a:gd name="connsiteX130" fmla="*/ 457698 w 589883"/>
              <a:gd name="connsiteY130" fmla="*/ 92721 h 109895"/>
              <a:gd name="connsiteX131" fmla="*/ 473683 w 589883"/>
              <a:gd name="connsiteY131" fmla="*/ 98072 h 109895"/>
              <a:gd name="connsiteX132" fmla="*/ 589883 w 589883"/>
              <a:gd name="connsiteY132" fmla="*/ 13442 h 109895"/>
              <a:gd name="connsiteX133" fmla="*/ 544467 w 589883"/>
              <a:gd name="connsiteY133" fmla="*/ 108402 h 109895"/>
              <a:gd name="connsiteX134" fmla="*/ 529825 w 589883"/>
              <a:gd name="connsiteY134" fmla="*/ 108402 h 109895"/>
              <a:gd name="connsiteX135" fmla="*/ 575541 w 589883"/>
              <a:gd name="connsiteY135" fmla="*/ 14188 h 109895"/>
              <a:gd name="connsiteX136" fmla="*/ 521011 w 589883"/>
              <a:gd name="connsiteY136" fmla="*/ 14188 h 109895"/>
              <a:gd name="connsiteX137" fmla="*/ 521011 w 589883"/>
              <a:gd name="connsiteY137" fmla="*/ 1307 h 109895"/>
              <a:gd name="connsiteX138" fmla="*/ 589883 w 589883"/>
              <a:gd name="connsiteY138" fmla="*/ 1307 h 109895"/>
              <a:gd name="connsiteX139" fmla="*/ 589883 w 589883"/>
              <a:gd name="connsiteY139" fmla="*/ 1344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589883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306483" y="109896"/>
                </a:moveTo>
                <a:cubicBezTo>
                  <a:pt x="299710" y="109896"/>
                  <a:pt x="293634" y="107967"/>
                  <a:pt x="288256" y="104047"/>
                </a:cubicBezTo>
                <a:cubicBezTo>
                  <a:pt x="282878" y="100188"/>
                  <a:pt x="278645" y="94214"/>
                  <a:pt x="275557" y="86125"/>
                </a:cubicBezTo>
                <a:cubicBezTo>
                  <a:pt x="272569" y="77972"/>
                  <a:pt x="271075" y="67518"/>
                  <a:pt x="271075" y="54761"/>
                </a:cubicBezTo>
                <a:cubicBezTo>
                  <a:pt x="271075" y="41942"/>
                  <a:pt x="272569" y="31488"/>
                  <a:pt x="275557" y="23398"/>
                </a:cubicBezTo>
                <a:cubicBezTo>
                  <a:pt x="278645" y="15371"/>
                  <a:pt x="282878" y="9459"/>
                  <a:pt x="288256" y="5663"/>
                </a:cubicBezTo>
                <a:cubicBezTo>
                  <a:pt x="293634" y="1867"/>
                  <a:pt x="299710" y="0"/>
                  <a:pt x="306483" y="0"/>
                </a:cubicBezTo>
                <a:cubicBezTo>
                  <a:pt x="313255" y="0"/>
                  <a:pt x="319281" y="1867"/>
                  <a:pt x="324560" y="5663"/>
                </a:cubicBezTo>
                <a:cubicBezTo>
                  <a:pt x="329839" y="9459"/>
                  <a:pt x="333972" y="15371"/>
                  <a:pt x="336960" y="23398"/>
                </a:cubicBezTo>
                <a:cubicBezTo>
                  <a:pt x="339948" y="31363"/>
                  <a:pt x="341441" y="41756"/>
                  <a:pt x="341441" y="54512"/>
                </a:cubicBezTo>
                <a:cubicBezTo>
                  <a:pt x="341441" y="67145"/>
                  <a:pt x="339948" y="77599"/>
                  <a:pt x="336960" y="85876"/>
                </a:cubicBezTo>
                <a:cubicBezTo>
                  <a:pt x="333972" y="94027"/>
                  <a:pt x="329839" y="100064"/>
                  <a:pt x="324560" y="104047"/>
                </a:cubicBezTo>
                <a:cubicBezTo>
                  <a:pt x="319281" y="107967"/>
                  <a:pt x="313255" y="109896"/>
                  <a:pt x="306483" y="109896"/>
                </a:cubicBezTo>
                <a:close/>
                <a:moveTo>
                  <a:pt x="306333" y="98072"/>
                </a:moveTo>
                <a:cubicBezTo>
                  <a:pt x="310815" y="98072"/>
                  <a:pt x="314600" y="96766"/>
                  <a:pt x="317687" y="94089"/>
                </a:cubicBezTo>
                <a:cubicBezTo>
                  <a:pt x="320875" y="91289"/>
                  <a:pt x="323265" y="86747"/>
                  <a:pt x="324858" y="80462"/>
                </a:cubicBezTo>
                <a:cubicBezTo>
                  <a:pt x="326552" y="74114"/>
                  <a:pt x="327398" y="65589"/>
                  <a:pt x="327398" y="54948"/>
                </a:cubicBezTo>
                <a:cubicBezTo>
                  <a:pt x="327398" y="44307"/>
                  <a:pt x="326601" y="35844"/>
                  <a:pt x="325008" y="29559"/>
                </a:cubicBezTo>
                <a:cubicBezTo>
                  <a:pt x="323414" y="23150"/>
                  <a:pt x="321024" y="18669"/>
                  <a:pt x="317837" y="15931"/>
                </a:cubicBezTo>
                <a:cubicBezTo>
                  <a:pt x="314749" y="13192"/>
                  <a:pt x="310964" y="11761"/>
                  <a:pt x="306483" y="11761"/>
                </a:cubicBezTo>
                <a:cubicBezTo>
                  <a:pt x="302000" y="11761"/>
                  <a:pt x="298166" y="13192"/>
                  <a:pt x="294979" y="15931"/>
                </a:cubicBezTo>
                <a:cubicBezTo>
                  <a:pt x="291792" y="18669"/>
                  <a:pt x="289352" y="23150"/>
                  <a:pt x="287659" y="29559"/>
                </a:cubicBezTo>
                <a:cubicBezTo>
                  <a:pt x="285965" y="35844"/>
                  <a:pt x="285119" y="44307"/>
                  <a:pt x="285119" y="54948"/>
                </a:cubicBezTo>
                <a:cubicBezTo>
                  <a:pt x="285119" y="65589"/>
                  <a:pt x="285915" y="74114"/>
                  <a:pt x="287509" y="80462"/>
                </a:cubicBezTo>
                <a:cubicBezTo>
                  <a:pt x="289202" y="86747"/>
                  <a:pt x="291642" y="91289"/>
                  <a:pt x="294830" y="94089"/>
                </a:cubicBezTo>
                <a:cubicBezTo>
                  <a:pt x="298017" y="96766"/>
                  <a:pt x="301851" y="98072"/>
                  <a:pt x="306333" y="98072"/>
                </a:cubicBezTo>
                <a:close/>
                <a:moveTo>
                  <a:pt x="359786" y="1307"/>
                </a:moveTo>
                <a:lnTo>
                  <a:pt x="425223" y="1307"/>
                </a:lnTo>
                <a:lnTo>
                  <a:pt x="425223" y="14188"/>
                </a:lnTo>
                <a:lnTo>
                  <a:pt x="373830" y="14188"/>
                </a:lnTo>
                <a:lnTo>
                  <a:pt x="373830" y="49720"/>
                </a:lnTo>
                <a:lnTo>
                  <a:pt x="417454" y="49720"/>
                </a:lnTo>
                <a:lnTo>
                  <a:pt x="417454" y="62415"/>
                </a:lnTo>
                <a:lnTo>
                  <a:pt x="373830" y="62415"/>
                </a:lnTo>
                <a:lnTo>
                  <a:pt x="373830" y="108402"/>
                </a:lnTo>
                <a:lnTo>
                  <a:pt x="359786" y="108402"/>
                </a:lnTo>
                <a:lnTo>
                  <a:pt x="359786" y="1307"/>
                </a:lnTo>
                <a:close/>
                <a:moveTo>
                  <a:pt x="473683" y="109896"/>
                </a:moveTo>
                <a:cubicBezTo>
                  <a:pt x="466711" y="109896"/>
                  <a:pt x="460486" y="108714"/>
                  <a:pt x="455009" y="106287"/>
                </a:cubicBezTo>
                <a:cubicBezTo>
                  <a:pt x="449630" y="103922"/>
                  <a:pt x="445397" y="100499"/>
                  <a:pt x="442310" y="96019"/>
                </a:cubicBezTo>
                <a:cubicBezTo>
                  <a:pt x="439222" y="91414"/>
                  <a:pt x="437678" y="85938"/>
                  <a:pt x="437678" y="79590"/>
                </a:cubicBezTo>
                <a:cubicBezTo>
                  <a:pt x="437678" y="72683"/>
                  <a:pt x="439471" y="66896"/>
                  <a:pt x="443057" y="62105"/>
                </a:cubicBezTo>
                <a:cubicBezTo>
                  <a:pt x="446742" y="57251"/>
                  <a:pt x="451672" y="53703"/>
                  <a:pt x="457847" y="51525"/>
                </a:cubicBezTo>
                <a:cubicBezTo>
                  <a:pt x="452867" y="49534"/>
                  <a:pt x="448883" y="46485"/>
                  <a:pt x="445895" y="42378"/>
                </a:cubicBezTo>
                <a:cubicBezTo>
                  <a:pt x="443007" y="38333"/>
                  <a:pt x="441563" y="33293"/>
                  <a:pt x="441563" y="27318"/>
                </a:cubicBezTo>
                <a:cubicBezTo>
                  <a:pt x="441563" y="21407"/>
                  <a:pt x="442957" y="16428"/>
                  <a:pt x="445746" y="12383"/>
                </a:cubicBezTo>
                <a:cubicBezTo>
                  <a:pt x="448535" y="8277"/>
                  <a:pt x="452369" y="5228"/>
                  <a:pt x="457249" y="3111"/>
                </a:cubicBezTo>
                <a:cubicBezTo>
                  <a:pt x="462130" y="996"/>
                  <a:pt x="467608" y="0"/>
                  <a:pt x="473683" y="0"/>
                </a:cubicBezTo>
                <a:cubicBezTo>
                  <a:pt x="479659" y="0"/>
                  <a:pt x="485038" y="996"/>
                  <a:pt x="489818" y="3111"/>
                </a:cubicBezTo>
                <a:cubicBezTo>
                  <a:pt x="494599" y="5103"/>
                  <a:pt x="498384" y="8090"/>
                  <a:pt x="501172" y="12073"/>
                </a:cubicBezTo>
                <a:cubicBezTo>
                  <a:pt x="504061" y="16055"/>
                  <a:pt x="505505" y="21033"/>
                  <a:pt x="505505" y="27008"/>
                </a:cubicBezTo>
                <a:cubicBezTo>
                  <a:pt x="505505" y="33106"/>
                  <a:pt x="504011" y="38146"/>
                  <a:pt x="501023" y="42253"/>
                </a:cubicBezTo>
                <a:cubicBezTo>
                  <a:pt x="498035" y="46298"/>
                  <a:pt x="494101" y="49410"/>
                  <a:pt x="489221" y="51525"/>
                </a:cubicBezTo>
                <a:cubicBezTo>
                  <a:pt x="495196" y="53579"/>
                  <a:pt x="499977" y="57001"/>
                  <a:pt x="503563" y="61669"/>
                </a:cubicBezTo>
                <a:cubicBezTo>
                  <a:pt x="507248" y="66336"/>
                  <a:pt x="509090" y="72186"/>
                  <a:pt x="509090" y="79155"/>
                </a:cubicBezTo>
                <a:cubicBezTo>
                  <a:pt x="509090" y="85502"/>
                  <a:pt x="507547" y="91040"/>
                  <a:pt x="504459" y="95707"/>
                </a:cubicBezTo>
                <a:cubicBezTo>
                  <a:pt x="501372" y="100312"/>
                  <a:pt x="497139" y="103797"/>
                  <a:pt x="491760" y="106287"/>
                </a:cubicBezTo>
                <a:cubicBezTo>
                  <a:pt x="486482" y="108714"/>
                  <a:pt x="480456" y="109896"/>
                  <a:pt x="473683" y="109896"/>
                </a:cubicBezTo>
                <a:close/>
                <a:moveTo>
                  <a:pt x="473683" y="46111"/>
                </a:moveTo>
                <a:cubicBezTo>
                  <a:pt x="478962" y="46111"/>
                  <a:pt x="483294" y="44618"/>
                  <a:pt x="486681" y="41631"/>
                </a:cubicBezTo>
                <a:cubicBezTo>
                  <a:pt x="490167" y="38582"/>
                  <a:pt x="491910" y="34350"/>
                  <a:pt x="491910" y="28936"/>
                </a:cubicBezTo>
                <a:cubicBezTo>
                  <a:pt x="491910" y="23585"/>
                  <a:pt x="490167" y="19415"/>
                  <a:pt x="486681" y="16428"/>
                </a:cubicBezTo>
                <a:cubicBezTo>
                  <a:pt x="483294" y="13317"/>
                  <a:pt x="478962" y="11761"/>
                  <a:pt x="473683" y="11761"/>
                </a:cubicBezTo>
                <a:cubicBezTo>
                  <a:pt x="468405" y="11761"/>
                  <a:pt x="463972" y="13317"/>
                  <a:pt x="460387" y="16428"/>
                </a:cubicBezTo>
                <a:cubicBezTo>
                  <a:pt x="456901" y="19415"/>
                  <a:pt x="455158" y="23585"/>
                  <a:pt x="455158" y="28936"/>
                </a:cubicBezTo>
                <a:cubicBezTo>
                  <a:pt x="455158" y="34350"/>
                  <a:pt x="456901" y="38582"/>
                  <a:pt x="460387" y="41631"/>
                </a:cubicBezTo>
                <a:cubicBezTo>
                  <a:pt x="463972" y="44618"/>
                  <a:pt x="468405" y="46111"/>
                  <a:pt x="473683" y="46111"/>
                </a:cubicBezTo>
                <a:close/>
                <a:moveTo>
                  <a:pt x="473683" y="98072"/>
                </a:moveTo>
                <a:cubicBezTo>
                  <a:pt x="479858" y="98072"/>
                  <a:pt x="484987" y="96330"/>
                  <a:pt x="489071" y="92721"/>
                </a:cubicBezTo>
                <a:cubicBezTo>
                  <a:pt x="493254" y="89049"/>
                  <a:pt x="495346" y="83885"/>
                  <a:pt x="495346" y="77350"/>
                </a:cubicBezTo>
                <a:cubicBezTo>
                  <a:pt x="495346" y="70754"/>
                  <a:pt x="493254" y="65714"/>
                  <a:pt x="489071" y="62105"/>
                </a:cubicBezTo>
                <a:cubicBezTo>
                  <a:pt x="484987" y="58433"/>
                  <a:pt x="479858" y="56566"/>
                  <a:pt x="473683" y="56566"/>
                </a:cubicBezTo>
                <a:cubicBezTo>
                  <a:pt x="467309" y="56566"/>
                  <a:pt x="461980" y="58433"/>
                  <a:pt x="457698" y="62105"/>
                </a:cubicBezTo>
                <a:cubicBezTo>
                  <a:pt x="453515" y="65714"/>
                  <a:pt x="451423" y="70754"/>
                  <a:pt x="451423" y="77350"/>
                </a:cubicBezTo>
                <a:cubicBezTo>
                  <a:pt x="451423" y="83885"/>
                  <a:pt x="453515" y="89049"/>
                  <a:pt x="457698" y="92721"/>
                </a:cubicBezTo>
                <a:cubicBezTo>
                  <a:pt x="461980" y="96330"/>
                  <a:pt x="467309" y="98072"/>
                  <a:pt x="473683" y="98072"/>
                </a:cubicBezTo>
                <a:close/>
                <a:moveTo>
                  <a:pt x="589883" y="13442"/>
                </a:moveTo>
                <a:lnTo>
                  <a:pt x="544467" y="108402"/>
                </a:lnTo>
                <a:lnTo>
                  <a:pt x="529825" y="108402"/>
                </a:lnTo>
                <a:lnTo>
                  <a:pt x="575541" y="14188"/>
                </a:lnTo>
                <a:lnTo>
                  <a:pt x="521011" y="14188"/>
                </a:lnTo>
                <a:lnTo>
                  <a:pt x="521011" y="1307"/>
                </a:lnTo>
                <a:lnTo>
                  <a:pt x="589883" y="1307"/>
                </a:lnTo>
                <a:lnTo>
                  <a:pt x="589883" y="1344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1" name="Полилиния 1070">
            <a:extLst>
              <a:ext uri="{FF2B5EF4-FFF2-40B4-BE49-F238E27FC236}">
                <a16:creationId xmlns:a16="http://schemas.microsoft.com/office/drawing/2014/main" id="{484322D5-3751-1149-E249-53C2EBA1CE5C}"/>
              </a:ext>
            </a:extLst>
          </p:cNvPr>
          <p:cNvSpPr/>
          <p:nvPr userDrawn="1"/>
        </p:nvSpPr>
        <p:spPr>
          <a:xfrm>
            <a:off x="16903366" y="7418752"/>
            <a:ext cx="1398954" cy="726227"/>
          </a:xfrm>
          <a:custGeom>
            <a:avLst/>
            <a:gdLst>
              <a:gd name="connsiteX0" fmla="*/ 638 w 1198727"/>
              <a:gd name="connsiteY0" fmla="*/ 1522 h 622284"/>
              <a:gd name="connsiteX1" fmla="*/ 1199366 w 1198727"/>
              <a:gd name="connsiteY1" fmla="*/ 1522 h 622284"/>
              <a:gd name="connsiteX2" fmla="*/ 1199366 w 1198727"/>
              <a:gd name="connsiteY2" fmla="*/ 623806 h 622284"/>
              <a:gd name="connsiteX3" fmla="*/ 638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522"/>
                </a:moveTo>
                <a:lnTo>
                  <a:pt x="1199366" y="1522"/>
                </a:lnTo>
                <a:lnTo>
                  <a:pt x="1199366" y="623806"/>
                </a:lnTo>
                <a:lnTo>
                  <a:pt x="638" y="623806"/>
                </a:lnTo>
                <a:close/>
              </a:path>
            </a:pathLst>
          </a:custGeom>
          <a:solidFill>
            <a:srgbClr val="FF32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2" name="Полилиния 1071">
            <a:extLst>
              <a:ext uri="{FF2B5EF4-FFF2-40B4-BE49-F238E27FC236}">
                <a16:creationId xmlns:a16="http://schemas.microsoft.com/office/drawing/2014/main" id="{94783F3B-6ED1-B01F-6AE5-EF956365D2D0}"/>
              </a:ext>
            </a:extLst>
          </p:cNvPr>
          <p:cNvSpPr/>
          <p:nvPr userDrawn="1"/>
        </p:nvSpPr>
        <p:spPr>
          <a:xfrm>
            <a:off x="17026576" y="7720500"/>
            <a:ext cx="687970" cy="128468"/>
          </a:xfrm>
          <a:custGeom>
            <a:avLst/>
            <a:gdLst>
              <a:gd name="connsiteX0" fmla="*/ 22111 w 589503"/>
              <a:gd name="connsiteY0" fmla="*/ 108588 h 110081"/>
              <a:gd name="connsiteX1" fmla="*/ 10159 w 589503"/>
              <a:gd name="connsiteY1" fmla="*/ 108588 h 110081"/>
              <a:gd name="connsiteX2" fmla="*/ 16433 w 589503"/>
              <a:gd name="connsiteY2" fmla="*/ 77661 h 110081"/>
              <a:gd name="connsiteX3" fmla="*/ 0 w 589503"/>
              <a:gd name="connsiteY3" fmla="*/ 77661 h 110081"/>
              <a:gd name="connsiteX4" fmla="*/ 0 w 589503"/>
              <a:gd name="connsiteY4" fmla="*/ 67206 h 110081"/>
              <a:gd name="connsiteX5" fmla="*/ 18675 w 589503"/>
              <a:gd name="connsiteY5" fmla="*/ 67206 h 110081"/>
              <a:gd name="connsiteX6" fmla="*/ 24202 w 589503"/>
              <a:gd name="connsiteY6" fmla="*/ 40012 h 110081"/>
              <a:gd name="connsiteX7" fmla="*/ 4033 w 589503"/>
              <a:gd name="connsiteY7" fmla="*/ 40012 h 110081"/>
              <a:gd name="connsiteX8" fmla="*/ 4033 w 589503"/>
              <a:gd name="connsiteY8" fmla="*/ 29559 h 110081"/>
              <a:gd name="connsiteX9" fmla="*/ 26294 w 589503"/>
              <a:gd name="connsiteY9" fmla="*/ 29559 h 110081"/>
              <a:gd name="connsiteX10" fmla="*/ 32120 w 589503"/>
              <a:gd name="connsiteY10" fmla="*/ 1493 h 110081"/>
              <a:gd name="connsiteX11" fmla="*/ 44072 w 589503"/>
              <a:gd name="connsiteY11" fmla="*/ 1493 h 110081"/>
              <a:gd name="connsiteX12" fmla="*/ 38246 w 589503"/>
              <a:gd name="connsiteY12" fmla="*/ 29559 h 110081"/>
              <a:gd name="connsiteX13" fmla="*/ 60655 w 589503"/>
              <a:gd name="connsiteY13" fmla="*/ 29559 h 110081"/>
              <a:gd name="connsiteX14" fmla="*/ 66482 w 589503"/>
              <a:gd name="connsiteY14" fmla="*/ 1493 h 110081"/>
              <a:gd name="connsiteX15" fmla="*/ 78434 w 589503"/>
              <a:gd name="connsiteY15" fmla="*/ 1493 h 110081"/>
              <a:gd name="connsiteX16" fmla="*/ 72607 w 589503"/>
              <a:gd name="connsiteY16" fmla="*/ 29559 h 110081"/>
              <a:gd name="connsiteX17" fmla="*/ 89340 w 589503"/>
              <a:gd name="connsiteY17" fmla="*/ 29559 h 110081"/>
              <a:gd name="connsiteX18" fmla="*/ 89340 w 589503"/>
              <a:gd name="connsiteY18" fmla="*/ 40012 h 110081"/>
              <a:gd name="connsiteX19" fmla="*/ 70516 w 589503"/>
              <a:gd name="connsiteY19" fmla="*/ 40012 h 110081"/>
              <a:gd name="connsiteX20" fmla="*/ 64988 w 589503"/>
              <a:gd name="connsiteY20" fmla="*/ 67206 h 110081"/>
              <a:gd name="connsiteX21" fmla="*/ 85306 w 589503"/>
              <a:gd name="connsiteY21" fmla="*/ 67206 h 110081"/>
              <a:gd name="connsiteX22" fmla="*/ 85306 w 589503"/>
              <a:gd name="connsiteY22" fmla="*/ 77661 h 110081"/>
              <a:gd name="connsiteX23" fmla="*/ 62747 w 589503"/>
              <a:gd name="connsiteY23" fmla="*/ 77661 h 110081"/>
              <a:gd name="connsiteX24" fmla="*/ 56472 w 589503"/>
              <a:gd name="connsiteY24" fmla="*/ 108588 h 110081"/>
              <a:gd name="connsiteX25" fmla="*/ 44520 w 589503"/>
              <a:gd name="connsiteY25" fmla="*/ 108588 h 110081"/>
              <a:gd name="connsiteX26" fmla="*/ 50795 w 589503"/>
              <a:gd name="connsiteY26" fmla="*/ 77661 h 110081"/>
              <a:gd name="connsiteX27" fmla="*/ 28386 w 589503"/>
              <a:gd name="connsiteY27" fmla="*/ 77661 h 110081"/>
              <a:gd name="connsiteX28" fmla="*/ 22111 w 589503"/>
              <a:gd name="connsiteY28" fmla="*/ 108588 h 110081"/>
              <a:gd name="connsiteX29" fmla="*/ 30626 w 589503"/>
              <a:gd name="connsiteY29" fmla="*/ 67206 h 110081"/>
              <a:gd name="connsiteX30" fmla="*/ 53036 w 589503"/>
              <a:gd name="connsiteY30" fmla="*/ 67206 h 110081"/>
              <a:gd name="connsiteX31" fmla="*/ 58564 w 589503"/>
              <a:gd name="connsiteY31" fmla="*/ 40012 h 110081"/>
              <a:gd name="connsiteX32" fmla="*/ 36154 w 589503"/>
              <a:gd name="connsiteY32" fmla="*/ 40012 h 110081"/>
              <a:gd name="connsiteX33" fmla="*/ 30626 w 589503"/>
              <a:gd name="connsiteY33" fmla="*/ 67206 h 110081"/>
              <a:gd name="connsiteX34" fmla="*/ 107827 w 589503"/>
              <a:gd name="connsiteY34" fmla="*/ 1493 h 110081"/>
              <a:gd name="connsiteX35" fmla="*/ 173264 w 589503"/>
              <a:gd name="connsiteY35" fmla="*/ 1493 h 110081"/>
              <a:gd name="connsiteX36" fmla="*/ 173264 w 589503"/>
              <a:gd name="connsiteY36" fmla="*/ 14374 h 110081"/>
              <a:gd name="connsiteX37" fmla="*/ 121871 w 589503"/>
              <a:gd name="connsiteY37" fmla="*/ 14374 h 110081"/>
              <a:gd name="connsiteX38" fmla="*/ 121871 w 589503"/>
              <a:gd name="connsiteY38" fmla="*/ 49907 h 110081"/>
              <a:gd name="connsiteX39" fmla="*/ 165495 w 589503"/>
              <a:gd name="connsiteY39" fmla="*/ 49907 h 110081"/>
              <a:gd name="connsiteX40" fmla="*/ 165495 w 589503"/>
              <a:gd name="connsiteY40" fmla="*/ 62601 h 110081"/>
              <a:gd name="connsiteX41" fmla="*/ 121871 w 589503"/>
              <a:gd name="connsiteY41" fmla="*/ 62601 h 110081"/>
              <a:gd name="connsiteX42" fmla="*/ 121871 w 589503"/>
              <a:gd name="connsiteY42" fmla="*/ 108588 h 110081"/>
              <a:gd name="connsiteX43" fmla="*/ 107827 w 589503"/>
              <a:gd name="connsiteY43" fmla="*/ 108588 h 110081"/>
              <a:gd name="connsiteX44" fmla="*/ 107827 w 589503"/>
              <a:gd name="connsiteY44" fmla="*/ 1493 h 110081"/>
              <a:gd name="connsiteX45" fmla="*/ 192735 w 589503"/>
              <a:gd name="connsiteY45" fmla="*/ 1493 h 110081"/>
              <a:gd name="connsiteX46" fmla="*/ 258171 w 589503"/>
              <a:gd name="connsiteY46" fmla="*/ 1493 h 110081"/>
              <a:gd name="connsiteX47" fmla="*/ 258171 w 589503"/>
              <a:gd name="connsiteY47" fmla="*/ 14374 h 110081"/>
              <a:gd name="connsiteX48" fmla="*/ 206778 w 589503"/>
              <a:gd name="connsiteY48" fmla="*/ 14374 h 110081"/>
              <a:gd name="connsiteX49" fmla="*/ 206778 w 589503"/>
              <a:gd name="connsiteY49" fmla="*/ 49907 h 110081"/>
              <a:gd name="connsiteX50" fmla="*/ 250402 w 589503"/>
              <a:gd name="connsiteY50" fmla="*/ 49907 h 110081"/>
              <a:gd name="connsiteX51" fmla="*/ 250402 w 589503"/>
              <a:gd name="connsiteY51" fmla="*/ 62601 h 110081"/>
              <a:gd name="connsiteX52" fmla="*/ 206778 w 589503"/>
              <a:gd name="connsiteY52" fmla="*/ 62601 h 110081"/>
              <a:gd name="connsiteX53" fmla="*/ 206778 w 589503"/>
              <a:gd name="connsiteY53" fmla="*/ 108588 h 110081"/>
              <a:gd name="connsiteX54" fmla="*/ 192735 w 589503"/>
              <a:gd name="connsiteY54" fmla="*/ 108588 h 110081"/>
              <a:gd name="connsiteX55" fmla="*/ 192735 w 589503"/>
              <a:gd name="connsiteY55" fmla="*/ 1493 h 110081"/>
              <a:gd name="connsiteX56" fmla="*/ 289899 w 589503"/>
              <a:gd name="connsiteY56" fmla="*/ 58992 h 110081"/>
              <a:gd name="connsiteX57" fmla="*/ 289899 w 589503"/>
              <a:gd name="connsiteY57" fmla="*/ 46298 h 110081"/>
              <a:gd name="connsiteX58" fmla="*/ 304242 w 589503"/>
              <a:gd name="connsiteY58" fmla="*/ 46298 h 110081"/>
              <a:gd name="connsiteX59" fmla="*/ 317837 w 589503"/>
              <a:gd name="connsiteY59" fmla="*/ 41817 h 110081"/>
              <a:gd name="connsiteX60" fmla="*/ 323215 w 589503"/>
              <a:gd name="connsiteY60" fmla="*/ 28812 h 110081"/>
              <a:gd name="connsiteX61" fmla="*/ 318285 w 589503"/>
              <a:gd name="connsiteY61" fmla="*/ 16864 h 110081"/>
              <a:gd name="connsiteX62" fmla="*/ 304092 w 589503"/>
              <a:gd name="connsiteY62" fmla="*/ 12383 h 110081"/>
              <a:gd name="connsiteX63" fmla="*/ 289451 w 589503"/>
              <a:gd name="connsiteY63" fmla="*/ 15246 h 110081"/>
              <a:gd name="connsiteX64" fmla="*/ 275408 w 589503"/>
              <a:gd name="connsiteY64" fmla="*/ 24331 h 110081"/>
              <a:gd name="connsiteX65" fmla="*/ 275408 w 589503"/>
              <a:gd name="connsiteY65" fmla="*/ 9707 h 110081"/>
              <a:gd name="connsiteX66" fmla="*/ 304242 w 589503"/>
              <a:gd name="connsiteY66" fmla="*/ 0 h 110081"/>
              <a:gd name="connsiteX67" fmla="*/ 328294 w 589503"/>
              <a:gd name="connsiteY67" fmla="*/ 7779 h 110081"/>
              <a:gd name="connsiteX68" fmla="*/ 337109 w 589503"/>
              <a:gd name="connsiteY68" fmla="*/ 28065 h 110081"/>
              <a:gd name="connsiteX69" fmla="*/ 331432 w 589503"/>
              <a:gd name="connsiteY69" fmla="*/ 44244 h 110081"/>
              <a:gd name="connsiteX70" fmla="*/ 318136 w 589503"/>
              <a:gd name="connsiteY70" fmla="*/ 52147 h 110081"/>
              <a:gd name="connsiteX71" fmla="*/ 329639 w 589503"/>
              <a:gd name="connsiteY71" fmla="*/ 56441 h 110081"/>
              <a:gd name="connsiteX72" fmla="*/ 338304 w 589503"/>
              <a:gd name="connsiteY72" fmla="*/ 65153 h 110081"/>
              <a:gd name="connsiteX73" fmla="*/ 341591 w 589503"/>
              <a:gd name="connsiteY73" fmla="*/ 77661 h 110081"/>
              <a:gd name="connsiteX74" fmla="*/ 336661 w 589503"/>
              <a:gd name="connsiteY74" fmla="*/ 94836 h 110081"/>
              <a:gd name="connsiteX75" fmla="*/ 323066 w 589503"/>
              <a:gd name="connsiteY75" fmla="*/ 106224 h 110081"/>
              <a:gd name="connsiteX76" fmla="*/ 303196 w 589503"/>
              <a:gd name="connsiteY76" fmla="*/ 110082 h 110081"/>
              <a:gd name="connsiteX77" fmla="*/ 272719 w 589503"/>
              <a:gd name="connsiteY77" fmla="*/ 100997 h 110081"/>
              <a:gd name="connsiteX78" fmla="*/ 272719 w 589503"/>
              <a:gd name="connsiteY78" fmla="*/ 86062 h 110081"/>
              <a:gd name="connsiteX79" fmla="*/ 286463 w 589503"/>
              <a:gd name="connsiteY79" fmla="*/ 94711 h 110081"/>
              <a:gd name="connsiteX80" fmla="*/ 303345 w 589503"/>
              <a:gd name="connsiteY80" fmla="*/ 97823 h 110081"/>
              <a:gd name="connsiteX81" fmla="*/ 320675 w 589503"/>
              <a:gd name="connsiteY81" fmla="*/ 92596 h 110081"/>
              <a:gd name="connsiteX82" fmla="*/ 327100 w 589503"/>
              <a:gd name="connsiteY82" fmla="*/ 77972 h 110081"/>
              <a:gd name="connsiteX83" fmla="*/ 321273 w 589503"/>
              <a:gd name="connsiteY83" fmla="*/ 64095 h 110081"/>
              <a:gd name="connsiteX84" fmla="*/ 303644 w 589503"/>
              <a:gd name="connsiteY84" fmla="*/ 58992 h 110081"/>
              <a:gd name="connsiteX85" fmla="*/ 289899 w 589503"/>
              <a:gd name="connsiteY85" fmla="*/ 58992 h 110081"/>
              <a:gd name="connsiteX86" fmla="*/ 422832 w 589503"/>
              <a:gd name="connsiteY86" fmla="*/ 108588 h 110081"/>
              <a:gd name="connsiteX87" fmla="*/ 354558 w 589503"/>
              <a:gd name="connsiteY87" fmla="*/ 108588 h 110081"/>
              <a:gd name="connsiteX88" fmla="*/ 354558 w 589503"/>
              <a:gd name="connsiteY88" fmla="*/ 94400 h 110081"/>
              <a:gd name="connsiteX89" fmla="*/ 380702 w 589503"/>
              <a:gd name="connsiteY89" fmla="*/ 72433 h 110081"/>
              <a:gd name="connsiteX90" fmla="*/ 396687 w 589503"/>
              <a:gd name="connsiteY90" fmla="*/ 56628 h 110081"/>
              <a:gd name="connsiteX91" fmla="*/ 404755 w 589503"/>
              <a:gd name="connsiteY91" fmla="*/ 43933 h 110081"/>
              <a:gd name="connsiteX92" fmla="*/ 407146 w 589503"/>
              <a:gd name="connsiteY92" fmla="*/ 32109 h 110081"/>
              <a:gd name="connsiteX93" fmla="*/ 401618 w 589503"/>
              <a:gd name="connsiteY93" fmla="*/ 17610 h 110081"/>
              <a:gd name="connsiteX94" fmla="*/ 386379 w 589503"/>
              <a:gd name="connsiteY94" fmla="*/ 12383 h 110081"/>
              <a:gd name="connsiteX95" fmla="*/ 357396 w 589503"/>
              <a:gd name="connsiteY95" fmla="*/ 27194 h 110081"/>
              <a:gd name="connsiteX96" fmla="*/ 357396 w 589503"/>
              <a:gd name="connsiteY96" fmla="*/ 12134 h 110081"/>
              <a:gd name="connsiteX97" fmla="*/ 386827 w 589503"/>
              <a:gd name="connsiteY97" fmla="*/ 0 h 110081"/>
              <a:gd name="connsiteX98" fmla="*/ 412225 w 589503"/>
              <a:gd name="connsiteY98" fmla="*/ 8401 h 110081"/>
              <a:gd name="connsiteX99" fmla="*/ 421637 w 589503"/>
              <a:gd name="connsiteY99" fmla="*/ 30803 h 110081"/>
              <a:gd name="connsiteX100" fmla="*/ 419247 w 589503"/>
              <a:gd name="connsiteY100" fmla="*/ 44804 h 110081"/>
              <a:gd name="connsiteX101" fmla="*/ 411179 w 589503"/>
              <a:gd name="connsiteY101" fmla="*/ 58681 h 110081"/>
              <a:gd name="connsiteX102" fmla="*/ 395492 w 589503"/>
              <a:gd name="connsiteY102" fmla="*/ 74860 h 110081"/>
              <a:gd name="connsiteX103" fmla="*/ 370095 w 589503"/>
              <a:gd name="connsiteY103" fmla="*/ 95769 h 110081"/>
              <a:gd name="connsiteX104" fmla="*/ 422832 w 589503"/>
              <a:gd name="connsiteY104" fmla="*/ 95769 h 110081"/>
              <a:gd name="connsiteX105" fmla="*/ 422832 w 589503"/>
              <a:gd name="connsiteY105" fmla="*/ 108588 h 110081"/>
              <a:gd name="connsiteX106" fmla="*/ 434305 w 589503"/>
              <a:gd name="connsiteY106" fmla="*/ 35844 h 110081"/>
              <a:gd name="connsiteX107" fmla="*/ 438936 w 589503"/>
              <a:gd name="connsiteY107" fmla="*/ 17051 h 110081"/>
              <a:gd name="connsiteX108" fmla="*/ 451784 w 589503"/>
              <a:gd name="connsiteY108" fmla="*/ 4480 h 110081"/>
              <a:gd name="connsiteX109" fmla="*/ 469861 w 589503"/>
              <a:gd name="connsiteY109" fmla="*/ 0 h 110081"/>
              <a:gd name="connsiteX110" fmla="*/ 491524 w 589503"/>
              <a:gd name="connsiteY110" fmla="*/ 5849 h 110081"/>
              <a:gd name="connsiteX111" fmla="*/ 503625 w 589503"/>
              <a:gd name="connsiteY111" fmla="*/ 21842 h 110081"/>
              <a:gd name="connsiteX112" fmla="*/ 507360 w 589503"/>
              <a:gd name="connsiteY112" fmla="*/ 45426 h 110081"/>
              <a:gd name="connsiteX113" fmla="*/ 502729 w 589503"/>
              <a:gd name="connsiteY113" fmla="*/ 80088 h 110081"/>
              <a:gd name="connsiteX114" fmla="*/ 488386 w 589503"/>
              <a:gd name="connsiteY114" fmla="*/ 102303 h 110081"/>
              <a:gd name="connsiteX115" fmla="*/ 463885 w 589503"/>
              <a:gd name="connsiteY115" fmla="*/ 110082 h 110081"/>
              <a:gd name="connsiteX116" fmla="*/ 440878 w 589503"/>
              <a:gd name="connsiteY116" fmla="*/ 104543 h 110081"/>
              <a:gd name="connsiteX117" fmla="*/ 440878 w 589503"/>
              <a:gd name="connsiteY117" fmla="*/ 91413 h 110081"/>
              <a:gd name="connsiteX118" fmla="*/ 463885 w 589503"/>
              <a:gd name="connsiteY118" fmla="*/ 98010 h 110081"/>
              <a:gd name="connsiteX119" fmla="*/ 479423 w 589503"/>
              <a:gd name="connsiteY119" fmla="*/ 92907 h 110081"/>
              <a:gd name="connsiteX120" fmla="*/ 489133 w 589503"/>
              <a:gd name="connsiteY120" fmla="*/ 79154 h 110081"/>
              <a:gd name="connsiteX121" fmla="*/ 493466 w 589503"/>
              <a:gd name="connsiteY121" fmla="*/ 59739 h 110081"/>
              <a:gd name="connsiteX122" fmla="*/ 482411 w 589503"/>
              <a:gd name="connsiteY122" fmla="*/ 68389 h 110081"/>
              <a:gd name="connsiteX123" fmla="*/ 468516 w 589503"/>
              <a:gd name="connsiteY123" fmla="*/ 71127 h 110081"/>
              <a:gd name="connsiteX124" fmla="*/ 451186 w 589503"/>
              <a:gd name="connsiteY124" fmla="*/ 67082 h 110081"/>
              <a:gd name="connsiteX125" fmla="*/ 438786 w 589503"/>
              <a:gd name="connsiteY125" fmla="*/ 55134 h 110081"/>
              <a:gd name="connsiteX126" fmla="*/ 434305 w 589503"/>
              <a:gd name="connsiteY126" fmla="*/ 35844 h 110081"/>
              <a:gd name="connsiteX127" fmla="*/ 470309 w 589503"/>
              <a:gd name="connsiteY127" fmla="*/ 12134 h 110081"/>
              <a:gd name="connsiteX128" fmla="*/ 459553 w 589503"/>
              <a:gd name="connsiteY128" fmla="*/ 14810 h 110081"/>
              <a:gd name="connsiteX129" fmla="*/ 451485 w 589503"/>
              <a:gd name="connsiteY129" fmla="*/ 22589 h 110081"/>
              <a:gd name="connsiteX130" fmla="*/ 448497 w 589503"/>
              <a:gd name="connsiteY130" fmla="*/ 35532 h 110081"/>
              <a:gd name="connsiteX131" fmla="*/ 451485 w 589503"/>
              <a:gd name="connsiteY131" fmla="*/ 48725 h 110081"/>
              <a:gd name="connsiteX132" fmla="*/ 459105 w 589503"/>
              <a:gd name="connsiteY132" fmla="*/ 56752 h 110081"/>
              <a:gd name="connsiteX133" fmla="*/ 468815 w 589503"/>
              <a:gd name="connsiteY133" fmla="*/ 59428 h 110081"/>
              <a:gd name="connsiteX134" fmla="*/ 485249 w 589503"/>
              <a:gd name="connsiteY134" fmla="*/ 53329 h 110081"/>
              <a:gd name="connsiteX135" fmla="*/ 491972 w 589503"/>
              <a:gd name="connsiteY135" fmla="*/ 35283 h 110081"/>
              <a:gd name="connsiteX136" fmla="*/ 486146 w 589503"/>
              <a:gd name="connsiteY136" fmla="*/ 18544 h 110081"/>
              <a:gd name="connsiteX137" fmla="*/ 470309 w 589503"/>
              <a:gd name="connsiteY137" fmla="*/ 12134 h 110081"/>
              <a:gd name="connsiteX138" fmla="*/ 589504 w 589503"/>
              <a:gd name="connsiteY138" fmla="*/ 73491 h 110081"/>
              <a:gd name="connsiteX139" fmla="*/ 584723 w 589503"/>
              <a:gd name="connsiteY139" fmla="*/ 92782 h 110081"/>
              <a:gd name="connsiteX140" fmla="*/ 572024 w 589503"/>
              <a:gd name="connsiteY140" fmla="*/ 105601 h 110081"/>
              <a:gd name="connsiteX141" fmla="*/ 553947 w 589503"/>
              <a:gd name="connsiteY141" fmla="*/ 110082 h 110081"/>
              <a:gd name="connsiteX142" fmla="*/ 532284 w 589503"/>
              <a:gd name="connsiteY142" fmla="*/ 104108 h 110081"/>
              <a:gd name="connsiteX143" fmla="*/ 520183 w 589503"/>
              <a:gd name="connsiteY143" fmla="*/ 87555 h 110081"/>
              <a:gd name="connsiteX144" fmla="*/ 516448 w 589503"/>
              <a:gd name="connsiteY144" fmla="*/ 63161 h 110081"/>
              <a:gd name="connsiteX145" fmla="*/ 520930 w 589503"/>
              <a:gd name="connsiteY145" fmla="*/ 30181 h 110081"/>
              <a:gd name="connsiteX146" fmla="*/ 534974 w 589503"/>
              <a:gd name="connsiteY146" fmla="*/ 8089 h 110081"/>
              <a:gd name="connsiteX147" fmla="*/ 559475 w 589503"/>
              <a:gd name="connsiteY147" fmla="*/ 0 h 110081"/>
              <a:gd name="connsiteX148" fmla="*/ 582034 w 589503"/>
              <a:gd name="connsiteY148" fmla="*/ 5538 h 110081"/>
              <a:gd name="connsiteX149" fmla="*/ 582034 w 589503"/>
              <a:gd name="connsiteY149" fmla="*/ 18855 h 110081"/>
              <a:gd name="connsiteX150" fmla="*/ 559475 w 589503"/>
              <a:gd name="connsiteY150" fmla="*/ 12259 h 110081"/>
              <a:gd name="connsiteX151" fmla="*/ 543937 w 589503"/>
              <a:gd name="connsiteY151" fmla="*/ 17361 h 110081"/>
              <a:gd name="connsiteX152" fmla="*/ 534077 w 589503"/>
              <a:gd name="connsiteY152" fmla="*/ 31238 h 110081"/>
              <a:gd name="connsiteX153" fmla="*/ 529894 w 589503"/>
              <a:gd name="connsiteY153" fmla="*/ 50778 h 110081"/>
              <a:gd name="connsiteX154" fmla="*/ 541248 w 589503"/>
              <a:gd name="connsiteY154" fmla="*/ 40759 h 110081"/>
              <a:gd name="connsiteX155" fmla="*/ 555291 w 589503"/>
              <a:gd name="connsiteY155" fmla="*/ 37523 h 110081"/>
              <a:gd name="connsiteX156" fmla="*/ 572622 w 589503"/>
              <a:gd name="connsiteY156" fmla="*/ 41693 h 110081"/>
              <a:gd name="connsiteX157" fmla="*/ 584872 w 589503"/>
              <a:gd name="connsiteY157" fmla="*/ 53952 h 110081"/>
              <a:gd name="connsiteX158" fmla="*/ 589504 w 589503"/>
              <a:gd name="connsiteY158" fmla="*/ 73491 h 110081"/>
              <a:gd name="connsiteX159" fmla="*/ 553499 w 589503"/>
              <a:gd name="connsiteY159" fmla="*/ 98134 h 110081"/>
              <a:gd name="connsiteX160" fmla="*/ 564255 w 589503"/>
              <a:gd name="connsiteY160" fmla="*/ 95458 h 110081"/>
              <a:gd name="connsiteX161" fmla="*/ 572174 w 589503"/>
              <a:gd name="connsiteY161" fmla="*/ 87244 h 110081"/>
              <a:gd name="connsiteX162" fmla="*/ 575311 w 589503"/>
              <a:gd name="connsiteY162" fmla="*/ 73803 h 110081"/>
              <a:gd name="connsiteX163" fmla="*/ 572323 w 589503"/>
              <a:gd name="connsiteY163" fmla="*/ 60174 h 110081"/>
              <a:gd name="connsiteX164" fmla="*/ 564704 w 589503"/>
              <a:gd name="connsiteY164" fmla="*/ 51961 h 110081"/>
              <a:gd name="connsiteX165" fmla="*/ 554993 w 589503"/>
              <a:gd name="connsiteY165" fmla="*/ 49160 h 110081"/>
              <a:gd name="connsiteX166" fmla="*/ 538410 w 589503"/>
              <a:gd name="connsiteY166" fmla="*/ 55570 h 110081"/>
              <a:gd name="connsiteX167" fmla="*/ 531836 w 589503"/>
              <a:gd name="connsiteY167" fmla="*/ 74114 h 110081"/>
              <a:gd name="connsiteX168" fmla="*/ 537663 w 589503"/>
              <a:gd name="connsiteY168" fmla="*/ 91538 h 110081"/>
              <a:gd name="connsiteX169" fmla="*/ 553499 w 589503"/>
              <a:gd name="connsiteY169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</a:cxnLst>
            <a:rect l="l" t="t" r="r" b="b"/>
            <a:pathLst>
              <a:path w="58950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89899" y="58992"/>
                </a:moveTo>
                <a:lnTo>
                  <a:pt x="289899" y="46298"/>
                </a:lnTo>
                <a:lnTo>
                  <a:pt x="304242" y="46298"/>
                </a:lnTo>
                <a:cubicBezTo>
                  <a:pt x="309819" y="46298"/>
                  <a:pt x="314351" y="44804"/>
                  <a:pt x="317837" y="41817"/>
                </a:cubicBezTo>
                <a:cubicBezTo>
                  <a:pt x="321423" y="38768"/>
                  <a:pt x="323215" y="34412"/>
                  <a:pt x="323215" y="28812"/>
                </a:cubicBezTo>
                <a:cubicBezTo>
                  <a:pt x="323215" y="23771"/>
                  <a:pt x="321572" y="19788"/>
                  <a:pt x="318285" y="16864"/>
                </a:cubicBezTo>
                <a:cubicBezTo>
                  <a:pt x="314998" y="13877"/>
                  <a:pt x="310267" y="12383"/>
                  <a:pt x="304092" y="12383"/>
                </a:cubicBezTo>
                <a:cubicBezTo>
                  <a:pt x="298913" y="12383"/>
                  <a:pt x="294033" y="13379"/>
                  <a:pt x="289451" y="15246"/>
                </a:cubicBezTo>
                <a:cubicBezTo>
                  <a:pt x="284969" y="17113"/>
                  <a:pt x="280288" y="20162"/>
                  <a:pt x="275408" y="24331"/>
                </a:cubicBezTo>
                <a:lnTo>
                  <a:pt x="275408" y="9707"/>
                </a:lnTo>
                <a:cubicBezTo>
                  <a:pt x="283376" y="3235"/>
                  <a:pt x="292987" y="0"/>
                  <a:pt x="304242" y="0"/>
                </a:cubicBezTo>
                <a:cubicBezTo>
                  <a:pt x="314500" y="0"/>
                  <a:pt x="322518" y="2613"/>
                  <a:pt x="328294" y="7779"/>
                </a:cubicBezTo>
                <a:cubicBezTo>
                  <a:pt x="334171" y="12943"/>
                  <a:pt x="337109" y="19726"/>
                  <a:pt x="337109" y="28065"/>
                </a:cubicBezTo>
                <a:cubicBezTo>
                  <a:pt x="337109" y="34848"/>
                  <a:pt x="335217" y="40262"/>
                  <a:pt x="331432" y="44244"/>
                </a:cubicBezTo>
                <a:cubicBezTo>
                  <a:pt x="327747" y="48227"/>
                  <a:pt x="323315" y="50840"/>
                  <a:pt x="318136" y="52147"/>
                </a:cubicBezTo>
                <a:cubicBezTo>
                  <a:pt x="322319" y="52707"/>
                  <a:pt x="326153" y="54201"/>
                  <a:pt x="329639" y="56441"/>
                </a:cubicBezTo>
                <a:cubicBezTo>
                  <a:pt x="333225" y="58681"/>
                  <a:pt x="336113" y="61543"/>
                  <a:pt x="338304" y="65153"/>
                </a:cubicBezTo>
                <a:cubicBezTo>
                  <a:pt x="340495" y="68700"/>
                  <a:pt x="341591" y="72869"/>
                  <a:pt x="341591" y="77661"/>
                </a:cubicBezTo>
                <a:cubicBezTo>
                  <a:pt x="341591" y="84257"/>
                  <a:pt x="339948" y="89982"/>
                  <a:pt x="336661" y="94836"/>
                </a:cubicBezTo>
                <a:cubicBezTo>
                  <a:pt x="333374" y="99752"/>
                  <a:pt x="328842" y="103486"/>
                  <a:pt x="323066" y="106224"/>
                </a:cubicBezTo>
                <a:cubicBezTo>
                  <a:pt x="317389" y="108775"/>
                  <a:pt x="310765" y="110082"/>
                  <a:pt x="303196" y="110082"/>
                </a:cubicBezTo>
                <a:cubicBezTo>
                  <a:pt x="290049" y="110082"/>
                  <a:pt x="279890" y="107033"/>
                  <a:pt x="272719" y="100997"/>
                </a:cubicBezTo>
                <a:lnTo>
                  <a:pt x="272719" y="86062"/>
                </a:lnTo>
                <a:cubicBezTo>
                  <a:pt x="276504" y="89733"/>
                  <a:pt x="281085" y="92596"/>
                  <a:pt x="286463" y="94711"/>
                </a:cubicBezTo>
                <a:cubicBezTo>
                  <a:pt x="291842" y="96765"/>
                  <a:pt x="297469" y="97823"/>
                  <a:pt x="303345" y="97823"/>
                </a:cubicBezTo>
                <a:cubicBezTo>
                  <a:pt x="310716" y="97823"/>
                  <a:pt x="316492" y="96080"/>
                  <a:pt x="320675" y="92596"/>
                </a:cubicBezTo>
                <a:cubicBezTo>
                  <a:pt x="324958" y="89048"/>
                  <a:pt x="327100" y="84132"/>
                  <a:pt x="327100" y="77972"/>
                </a:cubicBezTo>
                <a:cubicBezTo>
                  <a:pt x="327100" y="71998"/>
                  <a:pt x="325157" y="67393"/>
                  <a:pt x="321273" y="64095"/>
                </a:cubicBezTo>
                <a:cubicBezTo>
                  <a:pt x="317488" y="60673"/>
                  <a:pt x="311612" y="58992"/>
                  <a:pt x="303644" y="58992"/>
                </a:cubicBezTo>
                <a:lnTo>
                  <a:pt x="289899" y="58992"/>
                </a:lnTo>
                <a:close/>
                <a:moveTo>
                  <a:pt x="422832" y="108588"/>
                </a:moveTo>
                <a:lnTo>
                  <a:pt x="354558" y="108588"/>
                </a:lnTo>
                <a:lnTo>
                  <a:pt x="354558" y="94400"/>
                </a:lnTo>
                <a:cubicBezTo>
                  <a:pt x="365214" y="85812"/>
                  <a:pt x="373929" y="78532"/>
                  <a:pt x="380702" y="72433"/>
                </a:cubicBezTo>
                <a:cubicBezTo>
                  <a:pt x="387574" y="66397"/>
                  <a:pt x="392903" y="61108"/>
                  <a:pt x="396687" y="56628"/>
                </a:cubicBezTo>
                <a:cubicBezTo>
                  <a:pt x="400572" y="52023"/>
                  <a:pt x="403261" y="47791"/>
                  <a:pt x="404755" y="43933"/>
                </a:cubicBezTo>
                <a:cubicBezTo>
                  <a:pt x="406348" y="40012"/>
                  <a:pt x="407146" y="36092"/>
                  <a:pt x="407146" y="32109"/>
                </a:cubicBezTo>
                <a:cubicBezTo>
                  <a:pt x="407146" y="25949"/>
                  <a:pt x="405303" y="21095"/>
                  <a:pt x="401618" y="17610"/>
                </a:cubicBezTo>
                <a:cubicBezTo>
                  <a:pt x="397932" y="14125"/>
                  <a:pt x="392853" y="12383"/>
                  <a:pt x="386379" y="12383"/>
                </a:cubicBezTo>
                <a:cubicBezTo>
                  <a:pt x="376021" y="12383"/>
                  <a:pt x="366360" y="17361"/>
                  <a:pt x="357396" y="27194"/>
                </a:cubicBezTo>
                <a:lnTo>
                  <a:pt x="357396" y="12134"/>
                </a:lnTo>
                <a:cubicBezTo>
                  <a:pt x="365663" y="4044"/>
                  <a:pt x="375473" y="0"/>
                  <a:pt x="386827" y="0"/>
                </a:cubicBezTo>
                <a:cubicBezTo>
                  <a:pt x="397584" y="0"/>
                  <a:pt x="406050" y="2800"/>
                  <a:pt x="412225" y="8401"/>
                </a:cubicBezTo>
                <a:cubicBezTo>
                  <a:pt x="418500" y="13877"/>
                  <a:pt x="421637" y="21344"/>
                  <a:pt x="421637" y="30803"/>
                </a:cubicBezTo>
                <a:cubicBezTo>
                  <a:pt x="421637" y="35657"/>
                  <a:pt x="420840" y="40324"/>
                  <a:pt x="419247" y="44804"/>
                </a:cubicBezTo>
                <a:cubicBezTo>
                  <a:pt x="417753" y="49222"/>
                  <a:pt x="415063" y="53827"/>
                  <a:pt x="411179" y="58681"/>
                </a:cubicBezTo>
                <a:cubicBezTo>
                  <a:pt x="407394" y="63473"/>
                  <a:pt x="402165" y="68887"/>
                  <a:pt x="395492" y="74860"/>
                </a:cubicBezTo>
                <a:cubicBezTo>
                  <a:pt x="388819" y="80835"/>
                  <a:pt x="380353" y="87804"/>
                  <a:pt x="370095" y="95769"/>
                </a:cubicBezTo>
                <a:lnTo>
                  <a:pt x="422832" y="95769"/>
                </a:lnTo>
                <a:lnTo>
                  <a:pt x="422832" y="108588"/>
                </a:lnTo>
                <a:close/>
                <a:moveTo>
                  <a:pt x="434305" y="35844"/>
                </a:moveTo>
                <a:cubicBezTo>
                  <a:pt x="434305" y="28687"/>
                  <a:pt x="435848" y="22402"/>
                  <a:pt x="438936" y="17051"/>
                </a:cubicBezTo>
                <a:cubicBezTo>
                  <a:pt x="442123" y="11637"/>
                  <a:pt x="446406" y="7467"/>
                  <a:pt x="451784" y="4480"/>
                </a:cubicBezTo>
                <a:cubicBezTo>
                  <a:pt x="457162" y="1493"/>
                  <a:pt x="463188" y="0"/>
                  <a:pt x="469861" y="0"/>
                </a:cubicBezTo>
                <a:cubicBezTo>
                  <a:pt x="478825" y="0"/>
                  <a:pt x="486046" y="1929"/>
                  <a:pt x="491524" y="5849"/>
                </a:cubicBezTo>
                <a:cubicBezTo>
                  <a:pt x="497101" y="9645"/>
                  <a:pt x="501135" y="14934"/>
                  <a:pt x="503625" y="21842"/>
                </a:cubicBezTo>
                <a:cubicBezTo>
                  <a:pt x="506115" y="28563"/>
                  <a:pt x="507360" y="36466"/>
                  <a:pt x="507360" y="45426"/>
                </a:cubicBezTo>
                <a:cubicBezTo>
                  <a:pt x="507360" y="58868"/>
                  <a:pt x="505816" y="70380"/>
                  <a:pt x="502729" y="80088"/>
                </a:cubicBezTo>
                <a:cubicBezTo>
                  <a:pt x="499641" y="89733"/>
                  <a:pt x="494861" y="97138"/>
                  <a:pt x="488386" y="102303"/>
                </a:cubicBezTo>
                <a:cubicBezTo>
                  <a:pt x="482012" y="107468"/>
                  <a:pt x="473845" y="110082"/>
                  <a:pt x="463885" y="110082"/>
                </a:cubicBezTo>
                <a:cubicBezTo>
                  <a:pt x="454922" y="110082"/>
                  <a:pt x="447252" y="108215"/>
                  <a:pt x="440878" y="104543"/>
                </a:cubicBezTo>
                <a:lnTo>
                  <a:pt x="440878" y="91413"/>
                </a:lnTo>
                <a:cubicBezTo>
                  <a:pt x="447651" y="95769"/>
                  <a:pt x="455320" y="98010"/>
                  <a:pt x="463885" y="98010"/>
                </a:cubicBezTo>
                <a:cubicBezTo>
                  <a:pt x="470060" y="98010"/>
                  <a:pt x="475239" y="96267"/>
                  <a:pt x="479423" y="92907"/>
                </a:cubicBezTo>
                <a:cubicBezTo>
                  <a:pt x="483606" y="89546"/>
                  <a:pt x="486843" y="84941"/>
                  <a:pt x="489133" y="79154"/>
                </a:cubicBezTo>
                <a:cubicBezTo>
                  <a:pt x="491524" y="73367"/>
                  <a:pt x="492968" y="66896"/>
                  <a:pt x="493466" y="59739"/>
                </a:cubicBezTo>
                <a:cubicBezTo>
                  <a:pt x="490378" y="63660"/>
                  <a:pt x="486693" y="66522"/>
                  <a:pt x="482411" y="68389"/>
                </a:cubicBezTo>
                <a:cubicBezTo>
                  <a:pt x="478128" y="70193"/>
                  <a:pt x="473497" y="71127"/>
                  <a:pt x="468516" y="71127"/>
                </a:cubicBezTo>
                <a:cubicBezTo>
                  <a:pt x="462142" y="71127"/>
                  <a:pt x="456366" y="69758"/>
                  <a:pt x="451186" y="67082"/>
                </a:cubicBezTo>
                <a:cubicBezTo>
                  <a:pt x="446007" y="64406"/>
                  <a:pt x="441874" y="60424"/>
                  <a:pt x="438786" y="55134"/>
                </a:cubicBezTo>
                <a:cubicBezTo>
                  <a:pt x="435799" y="49845"/>
                  <a:pt x="434305" y="43435"/>
                  <a:pt x="434305" y="35844"/>
                </a:cubicBezTo>
                <a:close/>
                <a:moveTo>
                  <a:pt x="470309" y="12134"/>
                </a:moveTo>
                <a:cubicBezTo>
                  <a:pt x="466525" y="12134"/>
                  <a:pt x="462939" y="13006"/>
                  <a:pt x="459553" y="14810"/>
                </a:cubicBezTo>
                <a:cubicBezTo>
                  <a:pt x="456266" y="16490"/>
                  <a:pt x="453577" y="19104"/>
                  <a:pt x="451485" y="22589"/>
                </a:cubicBezTo>
                <a:cubicBezTo>
                  <a:pt x="449493" y="25949"/>
                  <a:pt x="448497" y="30305"/>
                  <a:pt x="448497" y="35532"/>
                </a:cubicBezTo>
                <a:cubicBezTo>
                  <a:pt x="448497" y="40759"/>
                  <a:pt x="449493" y="45116"/>
                  <a:pt x="451485" y="48725"/>
                </a:cubicBezTo>
                <a:cubicBezTo>
                  <a:pt x="453477" y="52271"/>
                  <a:pt x="456017" y="54947"/>
                  <a:pt x="459105" y="56752"/>
                </a:cubicBezTo>
                <a:cubicBezTo>
                  <a:pt x="462192" y="58556"/>
                  <a:pt x="465429" y="59428"/>
                  <a:pt x="468815" y="59428"/>
                </a:cubicBezTo>
                <a:cubicBezTo>
                  <a:pt x="475389" y="59428"/>
                  <a:pt x="480867" y="57437"/>
                  <a:pt x="485249" y="53329"/>
                </a:cubicBezTo>
                <a:cubicBezTo>
                  <a:pt x="489731" y="49160"/>
                  <a:pt x="491972" y="43124"/>
                  <a:pt x="491972" y="35283"/>
                </a:cubicBezTo>
                <a:cubicBezTo>
                  <a:pt x="491972" y="28313"/>
                  <a:pt x="490030" y="22713"/>
                  <a:pt x="486146" y="18544"/>
                </a:cubicBezTo>
                <a:cubicBezTo>
                  <a:pt x="482261" y="14250"/>
                  <a:pt x="476983" y="12134"/>
                  <a:pt x="470309" y="12134"/>
                </a:cubicBezTo>
                <a:close/>
                <a:moveTo>
                  <a:pt x="589504" y="73491"/>
                </a:moveTo>
                <a:cubicBezTo>
                  <a:pt x="589504" y="80772"/>
                  <a:pt x="587910" y="87182"/>
                  <a:pt x="584723" y="92782"/>
                </a:cubicBezTo>
                <a:cubicBezTo>
                  <a:pt x="581635" y="98258"/>
                  <a:pt x="577402" y="102490"/>
                  <a:pt x="572024" y="105601"/>
                </a:cubicBezTo>
                <a:cubicBezTo>
                  <a:pt x="566646" y="108588"/>
                  <a:pt x="560620" y="110082"/>
                  <a:pt x="553947" y="110082"/>
                </a:cubicBezTo>
                <a:cubicBezTo>
                  <a:pt x="544983" y="110082"/>
                  <a:pt x="537762" y="108091"/>
                  <a:pt x="532284" y="104108"/>
                </a:cubicBezTo>
                <a:cubicBezTo>
                  <a:pt x="526806" y="100125"/>
                  <a:pt x="522773" y="94587"/>
                  <a:pt x="520183" y="87555"/>
                </a:cubicBezTo>
                <a:cubicBezTo>
                  <a:pt x="517693" y="80461"/>
                  <a:pt x="516448" y="72372"/>
                  <a:pt x="516448" y="63161"/>
                </a:cubicBezTo>
                <a:cubicBezTo>
                  <a:pt x="516448" y="50653"/>
                  <a:pt x="517942" y="39639"/>
                  <a:pt x="520930" y="30181"/>
                </a:cubicBezTo>
                <a:cubicBezTo>
                  <a:pt x="524018" y="20722"/>
                  <a:pt x="528699" y="13379"/>
                  <a:pt x="534974" y="8089"/>
                </a:cubicBezTo>
                <a:cubicBezTo>
                  <a:pt x="541348" y="2675"/>
                  <a:pt x="549515" y="0"/>
                  <a:pt x="559475" y="0"/>
                </a:cubicBezTo>
                <a:cubicBezTo>
                  <a:pt x="568040" y="0"/>
                  <a:pt x="575560" y="1866"/>
                  <a:pt x="582034" y="5538"/>
                </a:cubicBezTo>
                <a:lnTo>
                  <a:pt x="582034" y="18855"/>
                </a:lnTo>
                <a:cubicBezTo>
                  <a:pt x="575560" y="14437"/>
                  <a:pt x="568040" y="12259"/>
                  <a:pt x="559475" y="12259"/>
                </a:cubicBezTo>
                <a:cubicBezTo>
                  <a:pt x="553300" y="12259"/>
                  <a:pt x="548121" y="13939"/>
                  <a:pt x="543937" y="17361"/>
                </a:cubicBezTo>
                <a:cubicBezTo>
                  <a:pt x="539754" y="20722"/>
                  <a:pt x="536467" y="25327"/>
                  <a:pt x="534077" y="31238"/>
                </a:cubicBezTo>
                <a:cubicBezTo>
                  <a:pt x="531786" y="37026"/>
                  <a:pt x="530392" y="43498"/>
                  <a:pt x="529894" y="50778"/>
                </a:cubicBezTo>
                <a:cubicBezTo>
                  <a:pt x="533181" y="46298"/>
                  <a:pt x="536966" y="42999"/>
                  <a:pt x="541248" y="40759"/>
                </a:cubicBezTo>
                <a:cubicBezTo>
                  <a:pt x="545531" y="38581"/>
                  <a:pt x="550212" y="37523"/>
                  <a:pt x="555291" y="37523"/>
                </a:cubicBezTo>
                <a:cubicBezTo>
                  <a:pt x="561766" y="37523"/>
                  <a:pt x="567542" y="38893"/>
                  <a:pt x="572622" y="41693"/>
                </a:cubicBezTo>
                <a:cubicBezTo>
                  <a:pt x="577801" y="44493"/>
                  <a:pt x="581884" y="48538"/>
                  <a:pt x="584872" y="53952"/>
                </a:cubicBezTo>
                <a:cubicBezTo>
                  <a:pt x="587960" y="59179"/>
                  <a:pt x="589504" y="65713"/>
                  <a:pt x="589504" y="73491"/>
                </a:cubicBezTo>
                <a:close/>
                <a:moveTo>
                  <a:pt x="553499" y="98134"/>
                </a:moveTo>
                <a:cubicBezTo>
                  <a:pt x="557383" y="98134"/>
                  <a:pt x="560969" y="97263"/>
                  <a:pt x="564255" y="95458"/>
                </a:cubicBezTo>
                <a:cubicBezTo>
                  <a:pt x="567542" y="93529"/>
                  <a:pt x="570182" y="90791"/>
                  <a:pt x="572174" y="87244"/>
                </a:cubicBezTo>
                <a:cubicBezTo>
                  <a:pt x="574265" y="83635"/>
                  <a:pt x="575311" y="79154"/>
                  <a:pt x="575311" y="73803"/>
                </a:cubicBezTo>
                <a:cubicBezTo>
                  <a:pt x="575311" y="68389"/>
                  <a:pt x="574315" y="63908"/>
                  <a:pt x="572323" y="60174"/>
                </a:cubicBezTo>
                <a:cubicBezTo>
                  <a:pt x="570331" y="56503"/>
                  <a:pt x="567791" y="53765"/>
                  <a:pt x="564704" y="51961"/>
                </a:cubicBezTo>
                <a:cubicBezTo>
                  <a:pt x="561616" y="50093"/>
                  <a:pt x="558379" y="49160"/>
                  <a:pt x="554993" y="49160"/>
                </a:cubicBezTo>
                <a:cubicBezTo>
                  <a:pt x="548419" y="49160"/>
                  <a:pt x="542891" y="51276"/>
                  <a:pt x="538410" y="55570"/>
                </a:cubicBezTo>
                <a:cubicBezTo>
                  <a:pt x="534028" y="59739"/>
                  <a:pt x="531836" y="65900"/>
                  <a:pt x="531836" y="74114"/>
                </a:cubicBezTo>
                <a:cubicBezTo>
                  <a:pt x="531836" y="81270"/>
                  <a:pt x="533778" y="87058"/>
                  <a:pt x="537663" y="91538"/>
                </a:cubicBezTo>
                <a:cubicBezTo>
                  <a:pt x="541547" y="95956"/>
                  <a:pt x="546826" y="98134"/>
                  <a:pt x="553499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3" name="Полилиния 1072">
            <a:extLst>
              <a:ext uri="{FF2B5EF4-FFF2-40B4-BE49-F238E27FC236}">
                <a16:creationId xmlns:a16="http://schemas.microsoft.com/office/drawing/2014/main" id="{E2A3F3C9-AC0D-E39E-74A4-E5E618384EE4}"/>
              </a:ext>
            </a:extLst>
          </p:cNvPr>
          <p:cNvSpPr/>
          <p:nvPr userDrawn="1"/>
        </p:nvSpPr>
        <p:spPr>
          <a:xfrm>
            <a:off x="16903366" y="8144980"/>
            <a:ext cx="1398954" cy="726227"/>
          </a:xfrm>
          <a:custGeom>
            <a:avLst/>
            <a:gdLst>
              <a:gd name="connsiteX0" fmla="*/ 638 w 1198727"/>
              <a:gd name="connsiteY0" fmla="*/ 1622 h 622284"/>
              <a:gd name="connsiteX1" fmla="*/ 1199366 w 1198727"/>
              <a:gd name="connsiteY1" fmla="*/ 1622 h 622284"/>
              <a:gd name="connsiteX2" fmla="*/ 1199366 w 1198727"/>
              <a:gd name="connsiteY2" fmla="*/ 623906 h 622284"/>
              <a:gd name="connsiteX3" fmla="*/ 638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622"/>
                </a:moveTo>
                <a:lnTo>
                  <a:pt x="1199366" y="1622"/>
                </a:lnTo>
                <a:lnTo>
                  <a:pt x="1199366" y="623906"/>
                </a:lnTo>
                <a:lnTo>
                  <a:pt x="638" y="623906"/>
                </a:lnTo>
                <a:close/>
              </a:path>
            </a:pathLst>
          </a:custGeom>
          <a:solidFill>
            <a:srgbClr val="FF64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4" name="Полилиния 1073">
            <a:extLst>
              <a:ext uri="{FF2B5EF4-FFF2-40B4-BE49-F238E27FC236}">
                <a16:creationId xmlns:a16="http://schemas.microsoft.com/office/drawing/2014/main" id="{2DAC0658-04F8-B1E1-0031-8532C4744BE7}"/>
              </a:ext>
            </a:extLst>
          </p:cNvPr>
          <p:cNvSpPr/>
          <p:nvPr userDrawn="1"/>
        </p:nvSpPr>
        <p:spPr>
          <a:xfrm>
            <a:off x="17026576" y="8446726"/>
            <a:ext cx="704482" cy="128468"/>
          </a:xfrm>
          <a:custGeom>
            <a:avLst/>
            <a:gdLst>
              <a:gd name="connsiteX0" fmla="*/ 22111 w 603652"/>
              <a:gd name="connsiteY0" fmla="*/ 108588 h 110081"/>
              <a:gd name="connsiteX1" fmla="*/ 10159 w 603652"/>
              <a:gd name="connsiteY1" fmla="*/ 108588 h 110081"/>
              <a:gd name="connsiteX2" fmla="*/ 16433 w 603652"/>
              <a:gd name="connsiteY2" fmla="*/ 77661 h 110081"/>
              <a:gd name="connsiteX3" fmla="*/ 0 w 603652"/>
              <a:gd name="connsiteY3" fmla="*/ 77661 h 110081"/>
              <a:gd name="connsiteX4" fmla="*/ 0 w 603652"/>
              <a:gd name="connsiteY4" fmla="*/ 67206 h 110081"/>
              <a:gd name="connsiteX5" fmla="*/ 18675 w 603652"/>
              <a:gd name="connsiteY5" fmla="*/ 67206 h 110081"/>
              <a:gd name="connsiteX6" fmla="*/ 24202 w 603652"/>
              <a:gd name="connsiteY6" fmla="*/ 40012 h 110081"/>
              <a:gd name="connsiteX7" fmla="*/ 4033 w 603652"/>
              <a:gd name="connsiteY7" fmla="*/ 40012 h 110081"/>
              <a:gd name="connsiteX8" fmla="*/ 4033 w 603652"/>
              <a:gd name="connsiteY8" fmla="*/ 29559 h 110081"/>
              <a:gd name="connsiteX9" fmla="*/ 26294 w 603652"/>
              <a:gd name="connsiteY9" fmla="*/ 29559 h 110081"/>
              <a:gd name="connsiteX10" fmla="*/ 32120 w 603652"/>
              <a:gd name="connsiteY10" fmla="*/ 1493 h 110081"/>
              <a:gd name="connsiteX11" fmla="*/ 44072 w 603652"/>
              <a:gd name="connsiteY11" fmla="*/ 1493 h 110081"/>
              <a:gd name="connsiteX12" fmla="*/ 38246 w 603652"/>
              <a:gd name="connsiteY12" fmla="*/ 29559 h 110081"/>
              <a:gd name="connsiteX13" fmla="*/ 60655 w 603652"/>
              <a:gd name="connsiteY13" fmla="*/ 29559 h 110081"/>
              <a:gd name="connsiteX14" fmla="*/ 66482 w 603652"/>
              <a:gd name="connsiteY14" fmla="*/ 1493 h 110081"/>
              <a:gd name="connsiteX15" fmla="*/ 78434 w 603652"/>
              <a:gd name="connsiteY15" fmla="*/ 1493 h 110081"/>
              <a:gd name="connsiteX16" fmla="*/ 72607 w 603652"/>
              <a:gd name="connsiteY16" fmla="*/ 29559 h 110081"/>
              <a:gd name="connsiteX17" fmla="*/ 89340 w 603652"/>
              <a:gd name="connsiteY17" fmla="*/ 29559 h 110081"/>
              <a:gd name="connsiteX18" fmla="*/ 89340 w 603652"/>
              <a:gd name="connsiteY18" fmla="*/ 40012 h 110081"/>
              <a:gd name="connsiteX19" fmla="*/ 70516 w 603652"/>
              <a:gd name="connsiteY19" fmla="*/ 40012 h 110081"/>
              <a:gd name="connsiteX20" fmla="*/ 64988 w 603652"/>
              <a:gd name="connsiteY20" fmla="*/ 67206 h 110081"/>
              <a:gd name="connsiteX21" fmla="*/ 85306 w 603652"/>
              <a:gd name="connsiteY21" fmla="*/ 67206 h 110081"/>
              <a:gd name="connsiteX22" fmla="*/ 85306 w 603652"/>
              <a:gd name="connsiteY22" fmla="*/ 77661 h 110081"/>
              <a:gd name="connsiteX23" fmla="*/ 62747 w 603652"/>
              <a:gd name="connsiteY23" fmla="*/ 77661 h 110081"/>
              <a:gd name="connsiteX24" fmla="*/ 56472 w 603652"/>
              <a:gd name="connsiteY24" fmla="*/ 108588 h 110081"/>
              <a:gd name="connsiteX25" fmla="*/ 44520 w 603652"/>
              <a:gd name="connsiteY25" fmla="*/ 108588 h 110081"/>
              <a:gd name="connsiteX26" fmla="*/ 50795 w 603652"/>
              <a:gd name="connsiteY26" fmla="*/ 77661 h 110081"/>
              <a:gd name="connsiteX27" fmla="*/ 28386 w 603652"/>
              <a:gd name="connsiteY27" fmla="*/ 77661 h 110081"/>
              <a:gd name="connsiteX28" fmla="*/ 22111 w 603652"/>
              <a:gd name="connsiteY28" fmla="*/ 108588 h 110081"/>
              <a:gd name="connsiteX29" fmla="*/ 30626 w 603652"/>
              <a:gd name="connsiteY29" fmla="*/ 67206 h 110081"/>
              <a:gd name="connsiteX30" fmla="*/ 53036 w 603652"/>
              <a:gd name="connsiteY30" fmla="*/ 67206 h 110081"/>
              <a:gd name="connsiteX31" fmla="*/ 58564 w 603652"/>
              <a:gd name="connsiteY31" fmla="*/ 40012 h 110081"/>
              <a:gd name="connsiteX32" fmla="*/ 36154 w 603652"/>
              <a:gd name="connsiteY32" fmla="*/ 40012 h 110081"/>
              <a:gd name="connsiteX33" fmla="*/ 30626 w 603652"/>
              <a:gd name="connsiteY33" fmla="*/ 67206 h 110081"/>
              <a:gd name="connsiteX34" fmla="*/ 107827 w 603652"/>
              <a:gd name="connsiteY34" fmla="*/ 1493 h 110081"/>
              <a:gd name="connsiteX35" fmla="*/ 173264 w 603652"/>
              <a:gd name="connsiteY35" fmla="*/ 1493 h 110081"/>
              <a:gd name="connsiteX36" fmla="*/ 173264 w 603652"/>
              <a:gd name="connsiteY36" fmla="*/ 14374 h 110081"/>
              <a:gd name="connsiteX37" fmla="*/ 121871 w 603652"/>
              <a:gd name="connsiteY37" fmla="*/ 14374 h 110081"/>
              <a:gd name="connsiteX38" fmla="*/ 121871 w 603652"/>
              <a:gd name="connsiteY38" fmla="*/ 49907 h 110081"/>
              <a:gd name="connsiteX39" fmla="*/ 165495 w 603652"/>
              <a:gd name="connsiteY39" fmla="*/ 49907 h 110081"/>
              <a:gd name="connsiteX40" fmla="*/ 165495 w 603652"/>
              <a:gd name="connsiteY40" fmla="*/ 62601 h 110081"/>
              <a:gd name="connsiteX41" fmla="*/ 121871 w 603652"/>
              <a:gd name="connsiteY41" fmla="*/ 62601 h 110081"/>
              <a:gd name="connsiteX42" fmla="*/ 121871 w 603652"/>
              <a:gd name="connsiteY42" fmla="*/ 108588 h 110081"/>
              <a:gd name="connsiteX43" fmla="*/ 107827 w 603652"/>
              <a:gd name="connsiteY43" fmla="*/ 108588 h 110081"/>
              <a:gd name="connsiteX44" fmla="*/ 107827 w 603652"/>
              <a:gd name="connsiteY44" fmla="*/ 1493 h 110081"/>
              <a:gd name="connsiteX45" fmla="*/ 192735 w 603652"/>
              <a:gd name="connsiteY45" fmla="*/ 1493 h 110081"/>
              <a:gd name="connsiteX46" fmla="*/ 258171 w 603652"/>
              <a:gd name="connsiteY46" fmla="*/ 1493 h 110081"/>
              <a:gd name="connsiteX47" fmla="*/ 258171 w 603652"/>
              <a:gd name="connsiteY47" fmla="*/ 14374 h 110081"/>
              <a:gd name="connsiteX48" fmla="*/ 206778 w 603652"/>
              <a:gd name="connsiteY48" fmla="*/ 14374 h 110081"/>
              <a:gd name="connsiteX49" fmla="*/ 206778 w 603652"/>
              <a:gd name="connsiteY49" fmla="*/ 49907 h 110081"/>
              <a:gd name="connsiteX50" fmla="*/ 250402 w 603652"/>
              <a:gd name="connsiteY50" fmla="*/ 49907 h 110081"/>
              <a:gd name="connsiteX51" fmla="*/ 250402 w 603652"/>
              <a:gd name="connsiteY51" fmla="*/ 62601 h 110081"/>
              <a:gd name="connsiteX52" fmla="*/ 206778 w 603652"/>
              <a:gd name="connsiteY52" fmla="*/ 62601 h 110081"/>
              <a:gd name="connsiteX53" fmla="*/ 206778 w 603652"/>
              <a:gd name="connsiteY53" fmla="*/ 108588 h 110081"/>
              <a:gd name="connsiteX54" fmla="*/ 192735 w 603652"/>
              <a:gd name="connsiteY54" fmla="*/ 108588 h 110081"/>
              <a:gd name="connsiteX55" fmla="*/ 192735 w 603652"/>
              <a:gd name="connsiteY55" fmla="*/ 1493 h 110081"/>
              <a:gd name="connsiteX56" fmla="*/ 343085 w 603652"/>
              <a:gd name="connsiteY56" fmla="*/ 73491 h 110081"/>
              <a:gd name="connsiteX57" fmla="*/ 338304 w 603652"/>
              <a:gd name="connsiteY57" fmla="*/ 92782 h 110081"/>
              <a:gd name="connsiteX58" fmla="*/ 325606 w 603652"/>
              <a:gd name="connsiteY58" fmla="*/ 105601 h 110081"/>
              <a:gd name="connsiteX59" fmla="*/ 307528 w 603652"/>
              <a:gd name="connsiteY59" fmla="*/ 110082 h 110081"/>
              <a:gd name="connsiteX60" fmla="*/ 285866 w 603652"/>
              <a:gd name="connsiteY60" fmla="*/ 104108 h 110081"/>
              <a:gd name="connsiteX61" fmla="*/ 273765 w 603652"/>
              <a:gd name="connsiteY61" fmla="*/ 87555 h 110081"/>
              <a:gd name="connsiteX62" fmla="*/ 270030 w 603652"/>
              <a:gd name="connsiteY62" fmla="*/ 63161 h 110081"/>
              <a:gd name="connsiteX63" fmla="*/ 274512 w 603652"/>
              <a:gd name="connsiteY63" fmla="*/ 30181 h 110081"/>
              <a:gd name="connsiteX64" fmla="*/ 288555 w 603652"/>
              <a:gd name="connsiteY64" fmla="*/ 8089 h 110081"/>
              <a:gd name="connsiteX65" fmla="*/ 313056 w 603652"/>
              <a:gd name="connsiteY65" fmla="*/ 0 h 110081"/>
              <a:gd name="connsiteX66" fmla="*/ 335615 w 603652"/>
              <a:gd name="connsiteY66" fmla="*/ 5538 h 110081"/>
              <a:gd name="connsiteX67" fmla="*/ 335615 w 603652"/>
              <a:gd name="connsiteY67" fmla="*/ 18855 h 110081"/>
              <a:gd name="connsiteX68" fmla="*/ 313056 w 603652"/>
              <a:gd name="connsiteY68" fmla="*/ 12259 h 110081"/>
              <a:gd name="connsiteX69" fmla="*/ 297519 w 603652"/>
              <a:gd name="connsiteY69" fmla="*/ 17361 h 110081"/>
              <a:gd name="connsiteX70" fmla="*/ 287659 w 603652"/>
              <a:gd name="connsiteY70" fmla="*/ 31238 h 110081"/>
              <a:gd name="connsiteX71" fmla="*/ 283476 w 603652"/>
              <a:gd name="connsiteY71" fmla="*/ 50778 h 110081"/>
              <a:gd name="connsiteX72" fmla="*/ 294830 w 603652"/>
              <a:gd name="connsiteY72" fmla="*/ 40759 h 110081"/>
              <a:gd name="connsiteX73" fmla="*/ 308873 w 603652"/>
              <a:gd name="connsiteY73" fmla="*/ 37523 h 110081"/>
              <a:gd name="connsiteX74" fmla="*/ 326203 w 603652"/>
              <a:gd name="connsiteY74" fmla="*/ 41693 h 110081"/>
              <a:gd name="connsiteX75" fmla="*/ 338454 w 603652"/>
              <a:gd name="connsiteY75" fmla="*/ 53952 h 110081"/>
              <a:gd name="connsiteX76" fmla="*/ 343085 w 603652"/>
              <a:gd name="connsiteY76" fmla="*/ 73491 h 110081"/>
              <a:gd name="connsiteX77" fmla="*/ 307080 w 603652"/>
              <a:gd name="connsiteY77" fmla="*/ 98134 h 110081"/>
              <a:gd name="connsiteX78" fmla="*/ 317837 w 603652"/>
              <a:gd name="connsiteY78" fmla="*/ 95458 h 110081"/>
              <a:gd name="connsiteX79" fmla="*/ 325755 w 603652"/>
              <a:gd name="connsiteY79" fmla="*/ 87244 h 110081"/>
              <a:gd name="connsiteX80" fmla="*/ 328892 w 603652"/>
              <a:gd name="connsiteY80" fmla="*/ 73803 h 110081"/>
              <a:gd name="connsiteX81" fmla="*/ 325904 w 603652"/>
              <a:gd name="connsiteY81" fmla="*/ 60174 h 110081"/>
              <a:gd name="connsiteX82" fmla="*/ 318285 w 603652"/>
              <a:gd name="connsiteY82" fmla="*/ 51961 h 110081"/>
              <a:gd name="connsiteX83" fmla="*/ 308574 w 603652"/>
              <a:gd name="connsiteY83" fmla="*/ 49160 h 110081"/>
              <a:gd name="connsiteX84" fmla="*/ 291991 w 603652"/>
              <a:gd name="connsiteY84" fmla="*/ 55570 h 110081"/>
              <a:gd name="connsiteX85" fmla="*/ 285417 w 603652"/>
              <a:gd name="connsiteY85" fmla="*/ 74114 h 110081"/>
              <a:gd name="connsiteX86" fmla="*/ 291244 w 603652"/>
              <a:gd name="connsiteY86" fmla="*/ 91538 h 110081"/>
              <a:gd name="connsiteX87" fmla="*/ 307080 w 603652"/>
              <a:gd name="connsiteY87" fmla="*/ 98134 h 110081"/>
              <a:gd name="connsiteX88" fmla="*/ 410731 w 603652"/>
              <a:gd name="connsiteY88" fmla="*/ 108588 h 110081"/>
              <a:gd name="connsiteX89" fmla="*/ 397584 w 603652"/>
              <a:gd name="connsiteY89" fmla="*/ 108588 h 110081"/>
              <a:gd name="connsiteX90" fmla="*/ 397584 w 603652"/>
              <a:gd name="connsiteY90" fmla="*/ 83199 h 110081"/>
              <a:gd name="connsiteX91" fmla="*/ 351271 w 603652"/>
              <a:gd name="connsiteY91" fmla="*/ 83199 h 110081"/>
              <a:gd name="connsiteX92" fmla="*/ 351271 w 603652"/>
              <a:gd name="connsiteY92" fmla="*/ 73927 h 110081"/>
              <a:gd name="connsiteX93" fmla="*/ 393102 w 603652"/>
              <a:gd name="connsiteY93" fmla="*/ 1493 h 110081"/>
              <a:gd name="connsiteX94" fmla="*/ 410731 w 603652"/>
              <a:gd name="connsiteY94" fmla="*/ 1493 h 110081"/>
              <a:gd name="connsiteX95" fmla="*/ 410731 w 603652"/>
              <a:gd name="connsiteY95" fmla="*/ 71873 h 110081"/>
              <a:gd name="connsiteX96" fmla="*/ 425223 w 603652"/>
              <a:gd name="connsiteY96" fmla="*/ 71873 h 110081"/>
              <a:gd name="connsiteX97" fmla="*/ 425223 w 603652"/>
              <a:gd name="connsiteY97" fmla="*/ 83199 h 110081"/>
              <a:gd name="connsiteX98" fmla="*/ 410731 w 603652"/>
              <a:gd name="connsiteY98" fmla="*/ 83199 h 110081"/>
              <a:gd name="connsiteX99" fmla="*/ 410731 w 603652"/>
              <a:gd name="connsiteY99" fmla="*/ 108588 h 110081"/>
              <a:gd name="connsiteX100" fmla="*/ 364866 w 603652"/>
              <a:gd name="connsiteY100" fmla="*/ 71873 h 110081"/>
              <a:gd name="connsiteX101" fmla="*/ 397584 w 603652"/>
              <a:gd name="connsiteY101" fmla="*/ 71873 h 110081"/>
              <a:gd name="connsiteX102" fmla="*/ 397584 w 603652"/>
              <a:gd name="connsiteY102" fmla="*/ 16117 h 110081"/>
              <a:gd name="connsiteX103" fmla="*/ 364866 w 603652"/>
              <a:gd name="connsiteY103" fmla="*/ 71873 h 110081"/>
              <a:gd name="connsiteX104" fmla="*/ 441924 w 603652"/>
              <a:gd name="connsiteY104" fmla="*/ 1493 h 110081"/>
              <a:gd name="connsiteX105" fmla="*/ 478227 w 603652"/>
              <a:gd name="connsiteY105" fmla="*/ 1493 h 110081"/>
              <a:gd name="connsiteX106" fmla="*/ 504970 w 603652"/>
              <a:gd name="connsiteY106" fmla="*/ 7467 h 110081"/>
              <a:gd name="connsiteX107" fmla="*/ 514232 w 603652"/>
              <a:gd name="connsiteY107" fmla="*/ 27629 h 110081"/>
              <a:gd name="connsiteX108" fmla="*/ 508406 w 603652"/>
              <a:gd name="connsiteY108" fmla="*/ 45116 h 110081"/>
              <a:gd name="connsiteX109" fmla="*/ 492869 w 603652"/>
              <a:gd name="connsiteY109" fmla="*/ 53018 h 110081"/>
              <a:gd name="connsiteX110" fmla="*/ 511693 w 603652"/>
              <a:gd name="connsiteY110" fmla="*/ 60361 h 110081"/>
              <a:gd name="connsiteX111" fmla="*/ 518117 w 603652"/>
              <a:gd name="connsiteY111" fmla="*/ 77661 h 110081"/>
              <a:gd name="connsiteX112" fmla="*/ 512888 w 603652"/>
              <a:gd name="connsiteY112" fmla="*/ 95583 h 110081"/>
              <a:gd name="connsiteX113" fmla="*/ 498546 w 603652"/>
              <a:gd name="connsiteY113" fmla="*/ 105601 h 110081"/>
              <a:gd name="connsiteX114" fmla="*/ 477929 w 603652"/>
              <a:gd name="connsiteY114" fmla="*/ 108588 h 110081"/>
              <a:gd name="connsiteX115" fmla="*/ 441924 w 603652"/>
              <a:gd name="connsiteY115" fmla="*/ 108588 h 110081"/>
              <a:gd name="connsiteX116" fmla="*/ 441924 w 603652"/>
              <a:gd name="connsiteY116" fmla="*/ 1493 h 110081"/>
              <a:gd name="connsiteX117" fmla="*/ 477182 w 603652"/>
              <a:gd name="connsiteY117" fmla="*/ 47231 h 110081"/>
              <a:gd name="connsiteX118" fmla="*/ 493615 w 603652"/>
              <a:gd name="connsiteY118" fmla="*/ 42751 h 110081"/>
              <a:gd name="connsiteX119" fmla="*/ 500039 w 603652"/>
              <a:gd name="connsiteY119" fmla="*/ 28376 h 110081"/>
              <a:gd name="connsiteX120" fmla="*/ 494362 w 603652"/>
              <a:gd name="connsiteY120" fmla="*/ 17361 h 110081"/>
              <a:gd name="connsiteX121" fmla="*/ 478227 w 603652"/>
              <a:gd name="connsiteY121" fmla="*/ 14374 h 110081"/>
              <a:gd name="connsiteX122" fmla="*/ 455967 w 603652"/>
              <a:gd name="connsiteY122" fmla="*/ 14374 h 110081"/>
              <a:gd name="connsiteX123" fmla="*/ 455967 w 603652"/>
              <a:gd name="connsiteY123" fmla="*/ 47231 h 110081"/>
              <a:gd name="connsiteX124" fmla="*/ 477182 w 603652"/>
              <a:gd name="connsiteY124" fmla="*/ 47231 h 110081"/>
              <a:gd name="connsiteX125" fmla="*/ 477929 w 603652"/>
              <a:gd name="connsiteY125" fmla="*/ 95893 h 110081"/>
              <a:gd name="connsiteX126" fmla="*/ 496305 w 603652"/>
              <a:gd name="connsiteY126" fmla="*/ 92035 h 110081"/>
              <a:gd name="connsiteX127" fmla="*/ 503326 w 603652"/>
              <a:gd name="connsiteY127" fmla="*/ 77972 h 110081"/>
              <a:gd name="connsiteX128" fmla="*/ 496753 w 603652"/>
              <a:gd name="connsiteY128" fmla="*/ 63908 h 110081"/>
              <a:gd name="connsiteX129" fmla="*/ 476285 w 603652"/>
              <a:gd name="connsiteY129" fmla="*/ 59926 h 110081"/>
              <a:gd name="connsiteX130" fmla="*/ 455967 w 603652"/>
              <a:gd name="connsiteY130" fmla="*/ 59926 h 110081"/>
              <a:gd name="connsiteX131" fmla="*/ 455967 w 603652"/>
              <a:gd name="connsiteY131" fmla="*/ 95893 h 110081"/>
              <a:gd name="connsiteX132" fmla="*/ 477929 w 603652"/>
              <a:gd name="connsiteY132" fmla="*/ 95893 h 110081"/>
              <a:gd name="connsiteX133" fmla="*/ 589161 w 603652"/>
              <a:gd name="connsiteY133" fmla="*/ 108588 h 110081"/>
              <a:gd name="connsiteX134" fmla="*/ 576014 w 603652"/>
              <a:gd name="connsiteY134" fmla="*/ 108588 h 110081"/>
              <a:gd name="connsiteX135" fmla="*/ 576014 w 603652"/>
              <a:gd name="connsiteY135" fmla="*/ 83199 h 110081"/>
              <a:gd name="connsiteX136" fmla="*/ 529701 w 603652"/>
              <a:gd name="connsiteY136" fmla="*/ 83199 h 110081"/>
              <a:gd name="connsiteX137" fmla="*/ 529701 w 603652"/>
              <a:gd name="connsiteY137" fmla="*/ 73927 h 110081"/>
              <a:gd name="connsiteX138" fmla="*/ 571532 w 603652"/>
              <a:gd name="connsiteY138" fmla="*/ 1493 h 110081"/>
              <a:gd name="connsiteX139" fmla="*/ 589161 w 603652"/>
              <a:gd name="connsiteY139" fmla="*/ 1493 h 110081"/>
              <a:gd name="connsiteX140" fmla="*/ 589161 w 603652"/>
              <a:gd name="connsiteY140" fmla="*/ 71873 h 110081"/>
              <a:gd name="connsiteX141" fmla="*/ 603653 w 603652"/>
              <a:gd name="connsiteY141" fmla="*/ 71873 h 110081"/>
              <a:gd name="connsiteX142" fmla="*/ 603653 w 603652"/>
              <a:gd name="connsiteY142" fmla="*/ 83199 h 110081"/>
              <a:gd name="connsiteX143" fmla="*/ 589161 w 603652"/>
              <a:gd name="connsiteY143" fmla="*/ 83199 h 110081"/>
              <a:gd name="connsiteX144" fmla="*/ 589161 w 603652"/>
              <a:gd name="connsiteY144" fmla="*/ 108588 h 110081"/>
              <a:gd name="connsiteX145" fmla="*/ 543296 w 603652"/>
              <a:gd name="connsiteY145" fmla="*/ 71873 h 110081"/>
              <a:gd name="connsiteX146" fmla="*/ 576014 w 603652"/>
              <a:gd name="connsiteY146" fmla="*/ 71873 h 110081"/>
              <a:gd name="connsiteX147" fmla="*/ 576014 w 603652"/>
              <a:gd name="connsiteY147" fmla="*/ 16117 h 110081"/>
              <a:gd name="connsiteX148" fmla="*/ 543296 w 603652"/>
              <a:gd name="connsiteY148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603652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343085" y="73491"/>
                </a:moveTo>
                <a:cubicBezTo>
                  <a:pt x="343085" y="80772"/>
                  <a:pt x="341492" y="87182"/>
                  <a:pt x="338304" y="92782"/>
                </a:cubicBezTo>
                <a:cubicBezTo>
                  <a:pt x="335217" y="98258"/>
                  <a:pt x="330984" y="102490"/>
                  <a:pt x="325606" y="105601"/>
                </a:cubicBezTo>
                <a:cubicBezTo>
                  <a:pt x="320227" y="108588"/>
                  <a:pt x="314201" y="110082"/>
                  <a:pt x="307528" y="110082"/>
                </a:cubicBezTo>
                <a:cubicBezTo>
                  <a:pt x="298564" y="110082"/>
                  <a:pt x="291344" y="108091"/>
                  <a:pt x="285866" y="104108"/>
                </a:cubicBezTo>
                <a:cubicBezTo>
                  <a:pt x="280388" y="100125"/>
                  <a:pt x="276354" y="94587"/>
                  <a:pt x="273765" y="87555"/>
                </a:cubicBezTo>
                <a:cubicBezTo>
                  <a:pt x="271275" y="80461"/>
                  <a:pt x="270030" y="72372"/>
                  <a:pt x="270030" y="63161"/>
                </a:cubicBezTo>
                <a:cubicBezTo>
                  <a:pt x="270030" y="50653"/>
                  <a:pt x="271523" y="39639"/>
                  <a:pt x="274512" y="30181"/>
                </a:cubicBezTo>
                <a:cubicBezTo>
                  <a:pt x="277599" y="20722"/>
                  <a:pt x="282280" y="13379"/>
                  <a:pt x="288555" y="8089"/>
                </a:cubicBezTo>
                <a:cubicBezTo>
                  <a:pt x="294929" y="2675"/>
                  <a:pt x="303096" y="0"/>
                  <a:pt x="313056" y="0"/>
                </a:cubicBezTo>
                <a:cubicBezTo>
                  <a:pt x="321622" y="0"/>
                  <a:pt x="329141" y="1866"/>
                  <a:pt x="335615" y="5538"/>
                </a:cubicBezTo>
                <a:lnTo>
                  <a:pt x="335615" y="18855"/>
                </a:lnTo>
                <a:cubicBezTo>
                  <a:pt x="329141" y="14437"/>
                  <a:pt x="321622" y="12259"/>
                  <a:pt x="313056" y="12259"/>
                </a:cubicBezTo>
                <a:cubicBezTo>
                  <a:pt x="306881" y="12259"/>
                  <a:pt x="301702" y="13939"/>
                  <a:pt x="297519" y="17361"/>
                </a:cubicBezTo>
                <a:cubicBezTo>
                  <a:pt x="293336" y="20722"/>
                  <a:pt x="290049" y="25327"/>
                  <a:pt x="287659" y="31238"/>
                </a:cubicBezTo>
                <a:cubicBezTo>
                  <a:pt x="285368" y="37026"/>
                  <a:pt x="283973" y="43498"/>
                  <a:pt x="283476" y="50778"/>
                </a:cubicBezTo>
                <a:cubicBezTo>
                  <a:pt x="286762" y="46298"/>
                  <a:pt x="290547" y="42999"/>
                  <a:pt x="294830" y="40759"/>
                </a:cubicBezTo>
                <a:cubicBezTo>
                  <a:pt x="299112" y="38581"/>
                  <a:pt x="303793" y="37523"/>
                  <a:pt x="308873" y="37523"/>
                </a:cubicBezTo>
                <a:cubicBezTo>
                  <a:pt x="315347" y="37523"/>
                  <a:pt x="321124" y="38893"/>
                  <a:pt x="326203" y="41693"/>
                </a:cubicBezTo>
                <a:cubicBezTo>
                  <a:pt x="331382" y="44493"/>
                  <a:pt x="335466" y="48538"/>
                  <a:pt x="338454" y="53952"/>
                </a:cubicBezTo>
                <a:cubicBezTo>
                  <a:pt x="341541" y="59179"/>
                  <a:pt x="343085" y="65713"/>
                  <a:pt x="343085" y="73491"/>
                </a:cubicBezTo>
                <a:close/>
                <a:moveTo>
                  <a:pt x="307080" y="98134"/>
                </a:moveTo>
                <a:cubicBezTo>
                  <a:pt x="310964" y="98134"/>
                  <a:pt x="314550" y="97263"/>
                  <a:pt x="317837" y="95458"/>
                </a:cubicBezTo>
                <a:cubicBezTo>
                  <a:pt x="321124" y="93529"/>
                  <a:pt x="323763" y="90791"/>
                  <a:pt x="325755" y="87244"/>
                </a:cubicBezTo>
                <a:cubicBezTo>
                  <a:pt x="327847" y="83635"/>
                  <a:pt x="328892" y="79154"/>
                  <a:pt x="328892" y="73803"/>
                </a:cubicBezTo>
                <a:cubicBezTo>
                  <a:pt x="328892" y="68389"/>
                  <a:pt x="327896" y="63908"/>
                  <a:pt x="325904" y="60174"/>
                </a:cubicBezTo>
                <a:cubicBezTo>
                  <a:pt x="323912" y="56503"/>
                  <a:pt x="321372" y="53765"/>
                  <a:pt x="318285" y="51961"/>
                </a:cubicBezTo>
                <a:cubicBezTo>
                  <a:pt x="315198" y="50093"/>
                  <a:pt x="311961" y="49160"/>
                  <a:pt x="308574" y="49160"/>
                </a:cubicBezTo>
                <a:cubicBezTo>
                  <a:pt x="302000" y="49160"/>
                  <a:pt x="296473" y="51276"/>
                  <a:pt x="291991" y="55570"/>
                </a:cubicBezTo>
                <a:cubicBezTo>
                  <a:pt x="287609" y="59739"/>
                  <a:pt x="285417" y="65900"/>
                  <a:pt x="285417" y="74114"/>
                </a:cubicBezTo>
                <a:cubicBezTo>
                  <a:pt x="285417" y="81270"/>
                  <a:pt x="287360" y="87058"/>
                  <a:pt x="291244" y="91538"/>
                </a:cubicBezTo>
                <a:cubicBezTo>
                  <a:pt x="295128" y="95956"/>
                  <a:pt x="300407" y="98134"/>
                  <a:pt x="307080" y="98134"/>
                </a:cubicBezTo>
                <a:close/>
                <a:moveTo>
                  <a:pt x="410731" y="108588"/>
                </a:moveTo>
                <a:lnTo>
                  <a:pt x="397584" y="108588"/>
                </a:lnTo>
                <a:lnTo>
                  <a:pt x="397584" y="83199"/>
                </a:lnTo>
                <a:lnTo>
                  <a:pt x="351271" y="83199"/>
                </a:lnTo>
                <a:lnTo>
                  <a:pt x="351271" y="73927"/>
                </a:lnTo>
                <a:lnTo>
                  <a:pt x="393102" y="1493"/>
                </a:lnTo>
                <a:lnTo>
                  <a:pt x="410731" y="1493"/>
                </a:lnTo>
                <a:lnTo>
                  <a:pt x="410731" y="71873"/>
                </a:lnTo>
                <a:lnTo>
                  <a:pt x="425223" y="71873"/>
                </a:lnTo>
                <a:lnTo>
                  <a:pt x="425223" y="83199"/>
                </a:lnTo>
                <a:lnTo>
                  <a:pt x="410731" y="83199"/>
                </a:lnTo>
                <a:lnTo>
                  <a:pt x="410731" y="108588"/>
                </a:lnTo>
                <a:close/>
                <a:moveTo>
                  <a:pt x="364866" y="71873"/>
                </a:moveTo>
                <a:lnTo>
                  <a:pt x="397584" y="71873"/>
                </a:lnTo>
                <a:lnTo>
                  <a:pt x="397584" y="16117"/>
                </a:lnTo>
                <a:lnTo>
                  <a:pt x="364866" y="71873"/>
                </a:lnTo>
                <a:close/>
                <a:moveTo>
                  <a:pt x="441924" y="1493"/>
                </a:moveTo>
                <a:lnTo>
                  <a:pt x="478227" y="1493"/>
                </a:lnTo>
                <a:cubicBezTo>
                  <a:pt x="489980" y="1493"/>
                  <a:pt x="498894" y="3484"/>
                  <a:pt x="504970" y="7467"/>
                </a:cubicBezTo>
                <a:cubicBezTo>
                  <a:pt x="511145" y="11450"/>
                  <a:pt x="514232" y="18170"/>
                  <a:pt x="514232" y="27629"/>
                </a:cubicBezTo>
                <a:cubicBezTo>
                  <a:pt x="514232" y="35283"/>
                  <a:pt x="512290" y="41133"/>
                  <a:pt x="508406" y="45116"/>
                </a:cubicBezTo>
                <a:cubicBezTo>
                  <a:pt x="504521" y="48974"/>
                  <a:pt x="499342" y="51649"/>
                  <a:pt x="492869" y="53018"/>
                </a:cubicBezTo>
                <a:cubicBezTo>
                  <a:pt x="501135" y="54014"/>
                  <a:pt x="507410" y="56441"/>
                  <a:pt x="511693" y="60361"/>
                </a:cubicBezTo>
                <a:cubicBezTo>
                  <a:pt x="515975" y="64157"/>
                  <a:pt x="518117" y="69882"/>
                  <a:pt x="518117" y="77661"/>
                </a:cubicBezTo>
                <a:cubicBezTo>
                  <a:pt x="518117" y="85066"/>
                  <a:pt x="516374" y="91040"/>
                  <a:pt x="512888" y="95583"/>
                </a:cubicBezTo>
                <a:cubicBezTo>
                  <a:pt x="509402" y="100188"/>
                  <a:pt x="504621" y="103486"/>
                  <a:pt x="498546" y="105601"/>
                </a:cubicBezTo>
                <a:cubicBezTo>
                  <a:pt x="492470" y="107592"/>
                  <a:pt x="485598" y="108588"/>
                  <a:pt x="477929" y="108588"/>
                </a:cubicBezTo>
                <a:lnTo>
                  <a:pt x="441924" y="108588"/>
                </a:lnTo>
                <a:lnTo>
                  <a:pt x="441924" y="1493"/>
                </a:lnTo>
                <a:close/>
                <a:moveTo>
                  <a:pt x="477182" y="47231"/>
                </a:moveTo>
                <a:cubicBezTo>
                  <a:pt x="483954" y="47231"/>
                  <a:pt x="489432" y="45738"/>
                  <a:pt x="493615" y="42751"/>
                </a:cubicBezTo>
                <a:cubicBezTo>
                  <a:pt x="497898" y="39639"/>
                  <a:pt x="500039" y="34848"/>
                  <a:pt x="500039" y="28376"/>
                </a:cubicBezTo>
                <a:cubicBezTo>
                  <a:pt x="500039" y="22900"/>
                  <a:pt x="498147" y="19228"/>
                  <a:pt x="494362" y="17361"/>
                </a:cubicBezTo>
                <a:cubicBezTo>
                  <a:pt x="490577" y="15370"/>
                  <a:pt x="485199" y="14374"/>
                  <a:pt x="478227" y="14374"/>
                </a:cubicBezTo>
                <a:lnTo>
                  <a:pt x="455967" y="14374"/>
                </a:lnTo>
                <a:lnTo>
                  <a:pt x="455967" y="47231"/>
                </a:lnTo>
                <a:lnTo>
                  <a:pt x="477182" y="47231"/>
                </a:lnTo>
                <a:close/>
                <a:moveTo>
                  <a:pt x="477929" y="95893"/>
                </a:moveTo>
                <a:cubicBezTo>
                  <a:pt x="485498" y="95893"/>
                  <a:pt x="491623" y="94587"/>
                  <a:pt x="496305" y="92035"/>
                </a:cubicBezTo>
                <a:cubicBezTo>
                  <a:pt x="500986" y="89422"/>
                  <a:pt x="503326" y="84755"/>
                  <a:pt x="503326" y="77972"/>
                </a:cubicBezTo>
                <a:cubicBezTo>
                  <a:pt x="503326" y="71189"/>
                  <a:pt x="501135" y="66522"/>
                  <a:pt x="496753" y="63908"/>
                </a:cubicBezTo>
                <a:cubicBezTo>
                  <a:pt x="492470" y="61233"/>
                  <a:pt x="485647" y="59926"/>
                  <a:pt x="476285" y="59926"/>
                </a:cubicBezTo>
                <a:lnTo>
                  <a:pt x="455967" y="59926"/>
                </a:lnTo>
                <a:lnTo>
                  <a:pt x="455967" y="95893"/>
                </a:lnTo>
                <a:lnTo>
                  <a:pt x="477929" y="95893"/>
                </a:lnTo>
                <a:close/>
                <a:moveTo>
                  <a:pt x="589161" y="108588"/>
                </a:moveTo>
                <a:lnTo>
                  <a:pt x="576014" y="108588"/>
                </a:lnTo>
                <a:lnTo>
                  <a:pt x="576014" y="83199"/>
                </a:lnTo>
                <a:lnTo>
                  <a:pt x="529701" y="83199"/>
                </a:lnTo>
                <a:lnTo>
                  <a:pt x="529701" y="73927"/>
                </a:lnTo>
                <a:lnTo>
                  <a:pt x="571532" y="1493"/>
                </a:lnTo>
                <a:lnTo>
                  <a:pt x="589161" y="1493"/>
                </a:lnTo>
                <a:lnTo>
                  <a:pt x="589161" y="71873"/>
                </a:lnTo>
                <a:lnTo>
                  <a:pt x="603653" y="71873"/>
                </a:lnTo>
                <a:lnTo>
                  <a:pt x="603653" y="83199"/>
                </a:lnTo>
                <a:lnTo>
                  <a:pt x="589161" y="83199"/>
                </a:lnTo>
                <a:lnTo>
                  <a:pt x="589161" y="108588"/>
                </a:lnTo>
                <a:close/>
                <a:moveTo>
                  <a:pt x="543296" y="71873"/>
                </a:moveTo>
                <a:lnTo>
                  <a:pt x="576014" y="71873"/>
                </a:lnTo>
                <a:lnTo>
                  <a:pt x="576014" y="16117"/>
                </a:lnTo>
                <a:lnTo>
                  <a:pt x="543296" y="7187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5" name="Полилиния 1074">
            <a:extLst>
              <a:ext uri="{FF2B5EF4-FFF2-40B4-BE49-F238E27FC236}">
                <a16:creationId xmlns:a16="http://schemas.microsoft.com/office/drawing/2014/main" id="{7201EEDA-65C9-73F1-9EDA-2BD6AAFE2F3F}"/>
              </a:ext>
            </a:extLst>
          </p:cNvPr>
          <p:cNvSpPr/>
          <p:nvPr userDrawn="1"/>
        </p:nvSpPr>
        <p:spPr>
          <a:xfrm>
            <a:off x="16903366" y="8871205"/>
            <a:ext cx="1398954" cy="726227"/>
          </a:xfrm>
          <a:custGeom>
            <a:avLst/>
            <a:gdLst>
              <a:gd name="connsiteX0" fmla="*/ 638 w 1198727"/>
              <a:gd name="connsiteY0" fmla="*/ 1722 h 622284"/>
              <a:gd name="connsiteX1" fmla="*/ 1199366 w 1198727"/>
              <a:gd name="connsiteY1" fmla="*/ 1722 h 622284"/>
              <a:gd name="connsiteX2" fmla="*/ 1199366 w 1198727"/>
              <a:gd name="connsiteY2" fmla="*/ 624006 h 622284"/>
              <a:gd name="connsiteX3" fmla="*/ 638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722"/>
                </a:moveTo>
                <a:lnTo>
                  <a:pt x="1199366" y="1722"/>
                </a:lnTo>
                <a:lnTo>
                  <a:pt x="1199366" y="624006"/>
                </a:lnTo>
                <a:lnTo>
                  <a:pt x="638" y="624006"/>
                </a:lnTo>
                <a:close/>
              </a:path>
            </a:pathLst>
          </a:custGeom>
          <a:solidFill>
            <a:srgbClr val="FF91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6" name="Полилиния 1075">
            <a:extLst>
              <a:ext uri="{FF2B5EF4-FFF2-40B4-BE49-F238E27FC236}">
                <a16:creationId xmlns:a16="http://schemas.microsoft.com/office/drawing/2014/main" id="{02040F0F-8AF4-DAF7-5593-A8F5B9EE5CF6}"/>
              </a:ext>
            </a:extLst>
          </p:cNvPr>
          <p:cNvSpPr/>
          <p:nvPr userDrawn="1"/>
        </p:nvSpPr>
        <p:spPr>
          <a:xfrm>
            <a:off x="17026576" y="9172951"/>
            <a:ext cx="707860" cy="128468"/>
          </a:xfrm>
          <a:custGeom>
            <a:avLst/>
            <a:gdLst>
              <a:gd name="connsiteX0" fmla="*/ 22111 w 606547"/>
              <a:gd name="connsiteY0" fmla="*/ 108588 h 110081"/>
              <a:gd name="connsiteX1" fmla="*/ 10159 w 606547"/>
              <a:gd name="connsiteY1" fmla="*/ 108588 h 110081"/>
              <a:gd name="connsiteX2" fmla="*/ 16433 w 606547"/>
              <a:gd name="connsiteY2" fmla="*/ 77661 h 110081"/>
              <a:gd name="connsiteX3" fmla="*/ 0 w 606547"/>
              <a:gd name="connsiteY3" fmla="*/ 77661 h 110081"/>
              <a:gd name="connsiteX4" fmla="*/ 0 w 606547"/>
              <a:gd name="connsiteY4" fmla="*/ 67206 h 110081"/>
              <a:gd name="connsiteX5" fmla="*/ 18675 w 606547"/>
              <a:gd name="connsiteY5" fmla="*/ 67206 h 110081"/>
              <a:gd name="connsiteX6" fmla="*/ 24202 w 606547"/>
              <a:gd name="connsiteY6" fmla="*/ 40012 h 110081"/>
              <a:gd name="connsiteX7" fmla="*/ 4033 w 606547"/>
              <a:gd name="connsiteY7" fmla="*/ 40012 h 110081"/>
              <a:gd name="connsiteX8" fmla="*/ 4033 w 606547"/>
              <a:gd name="connsiteY8" fmla="*/ 29559 h 110081"/>
              <a:gd name="connsiteX9" fmla="*/ 26294 w 606547"/>
              <a:gd name="connsiteY9" fmla="*/ 29559 h 110081"/>
              <a:gd name="connsiteX10" fmla="*/ 32120 w 606547"/>
              <a:gd name="connsiteY10" fmla="*/ 1493 h 110081"/>
              <a:gd name="connsiteX11" fmla="*/ 44072 w 606547"/>
              <a:gd name="connsiteY11" fmla="*/ 1493 h 110081"/>
              <a:gd name="connsiteX12" fmla="*/ 38246 w 606547"/>
              <a:gd name="connsiteY12" fmla="*/ 29559 h 110081"/>
              <a:gd name="connsiteX13" fmla="*/ 60655 w 606547"/>
              <a:gd name="connsiteY13" fmla="*/ 29559 h 110081"/>
              <a:gd name="connsiteX14" fmla="*/ 66482 w 606547"/>
              <a:gd name="connsiteY14" fmla="*/ 1493 h 110081"/>
              <a:gd name="connsiteX15" fmla="*/ 78434 w 606547"/>
              <a:gd name="connsiteY15" fmla="*/ 1493 h 110081"/>
              <a:gd name="connsiteX16" fmla="*/ 72607 w 606547"/>
              <a:gd name="connsiteY16" fmla="*/ 29559 h 110081"/>
              <a:gd name="connsiteX17" fmla="*/ 89340 w 606547"/>
              <a:gd name="connsiteY17" fmla="*/ 29559 h 110081"/>
              <a:gd name="connsiteX18" fmla="*/ 89340 w 606547"/>
              <a:gd name="connsiteY18" fmla="*/ 40012 h 110081"/>
              <a:gd name="connsiteX19" fmla="*/ 70516 w 606547"/>
              <a:gd name="connsiteY19" fmla="*/ 40012 h 110081"/>
              <a:gd name="connsiteX20" fmla="*/ 64988 w 606547"/>
              <a:gd name="connsiteY20" fmla="*/ 67206 h 110081"/>
              <a:gd name="connsiteX21" fmla="*/ 85306 w 606547"/>
              <a:gd name="connsiteY21" fmla="*/ 67206 h 110081"/>
              <a:gd name="connsiteX22" fmla="*/ 85306 w 606547"/>
              <a:gd name="connsiteY22" fmla="*/ 77661 h 110081"/>
              <a:gd name="connsiteX23" fmla="*/ 62747 w 606547"/>
              <a:gd name="connsiteY23" fmla="*/ 77661 h 110081"/>
              <a:gd name="connsiteX24" fmla="*/ 56472 w 606547"/>
              <a:gd name="connsiteY24" fmla="*/ 108588 h 110081"/>
              <a:gd name="connsiteX25" fmla="*/ 44520 w 606547"/>
              <a:gd name="connsiteY25" fmla="*/ 108588 h 110081"/>
              <a:gd name="connsiteX26" fmla="*/ 50795 w 606547"/>
              <a:gd name="connsiteY26" fmla="*/ 77661 h 110081"/>
              <a:gd name="connsiteX27" fmla="*/ 28386 w 606547"/>
              <a:gd name="connsiteY27" fmla="*/ 77661 h 110081"/>
              <a:gd name="connsiteX28" fmla="*/ 22111 w 606547"/>
              <a:gd name="connsiteY28" fmla="*/ 108588 h 110081"/>
              <a:gd name="connsiteX29" fmla="*/ 30626 w 606547"/>
              <a:gd name="connsiteY29" fmla="*/ 67206 h 110081"/>
              <a:gd name="connsiteX30" fmla="*/ 53036 w 606547"/>
              <a:gd name="connsiteY30" fmla="*/ 67206 h 110081"/>
              <a:gd name="connsiteX31" fmla="*/ 58564 w 606547"/>
              <a:gd name="connsiteY31" fmla="*/ 40012 h 110081"/>
              <a:gd name="connsiteX32" fmla="*/ 36154 w 606547"/>
              <a:gd name="connsiteY32" fmla="*/ 40012 h 110081"/>
              <a:gd name="connsiteX33" fmla="*/ 30626 w 606547"/>
              <a:gd name="connsiteY33" fmla="*/ 67206 h 110081"/>
              <a:gd name="connsiteX34" fmla="*/ 107827 w 606547"/>
              <a:gd name="connsiteY34" fmla="*/ 1493 h 110081"/>
              <a:gd name="connsiteX35" fmla="*/ 173264 w 606547"/>
              <a:gd name="connsiteY35" fmla="*/ 1493 h 110081"/>
              <a:gd name="connsiteX36" fmla="*/ 173264 w 606547"/>
              <a:gd name="connsiteY36" fmla="*/ 14374 h 110081"/>
              <a:gd name="connsiteX37" fmla="*/ 121871 w 606547"/>
              <a:gd name="connsiteY37" fmla="*/ 14374 h 110081"/>
              <a:gd name="connsiteX38" fmla="*/ 121871 w 606547"/>
              <a:gd name="connsiteY38" fmla="*/ 49907 h 110081"/>
              <a:gd name="connsiteX39" fmla="*/ 165495 w 606547"/>
              <a:gd name="connsiteY39" fmla="*/ 49907 h 110081"/>
              <a:gd name="connsiteX40" fmla="*/ 165495 w 606547"/>
              <a:gd name="connsiteY40" fmla="*/ 62601 h 110081"/>
              <a:gd name="connsiteX41" fmla="*/ 121871 w 606547"/>
              <a:gd name="connsiteY41" fmla="*/ 62601 h 110081"/>
              <a:gd name="connsiteX42" fmla="*/ 121871 w 606547"/>
              <a:gd name="connsiteY42" fmla="*/ 108588 h 110081"/>
              <a:gd name="connsiteX43" fmla="*/ 107827 w 606547"/>
              <a:gd name="connsiteY43" fmla="*/ 108588 h 110081"/>
              <a:gd name="connsiteX44" fmla="*/ 107827 w 606547"/>
              <a:gd name="connsiteY44" fmla="*/ 1493 h 110081"/>
              <a:gd name="connsiteX45" fmla="*/ 192735 w 606547"/>
              <a:gd name="connsiteY45" fmla="*/ 1493 h 110081"/>
              <a:gd name="connsiteX46" fmla="*/ 258171 w 606547"/>
              <a:gd name="connsiteY46" fmla="*/ 1493 h 110081"/>
              <a:gd name="connsiteX47" fmla="*/ 258171 w 606547"/>
              <a:gd name="connsiteY47" fmla="*/ 14374 h 110081"/>
              <a:gd name="connsiteX48" fmla="*/ 206778 w 606547"/>
              <a:gd name="connsiteY48" fmla="*/ 14374 h 110081"/>
              <a:gd name="connsiteX49" fmla="*/ 206778 w 606547"/>
              <a:gd name="connsiteY49" fmla="*/ 49907 h 110081"/>
              <a:gd name="connsiteX50" fmla="*/ 250402 w 606547"/>
              <a:gd name="connsiteY50" fmla="*/ 49907 h 110081"/>
              <a:gd name="connsiteX51" fmla="*/ 250402 w 606547"/>
              <a:gd name="connsiteY51" fmla="*/ 62601 h 110081"/>
              <a:gd name="connsiteX52" fmla="*/ 206778 w 606547"/>
              <a:gd name="connsiteY52" fmla="*/ 62601 h 110081"/>
              <a:gd name="connsiteX53" fmla="*/ 206778 w 606547"/>
              <a:gd name="connsiteY53" fmla="*/ 108588 h 110081"/>
              <a:gd name="connsiteX54" fmla="*/ 192735 w 606547"/>
              <a:gd name="connsiteY54" fmla="*/ 108588 h 110081"/>
              <a:gd name="connsiteX55" fmla="*/ 192735 w 606547"/>
              <a:gd name="connsiteY55" fmla="*/ 1493 h 110081"/>
              <a:gd name="connsiteX56" fmla="*/ 270030 w 606547"/>
              <a:gd name="connsiteY56" fmla="*/ 35844 h 110081"/>
              <a:gd name="connsiteX57" fmla="*/ 274661 w 606547"/>
              <a:gd name="connsiteY57" fmla="*/ 17051 h 110081"/>
              <a:gd name="connsiteX58" fmla="*/ 287509 w 606547"/>
              <a:gd name="connsiteY58" fmla="*/ 4480 h 110081"/>
              <a:gd name="connsiteX59" fmla="*/ 305586 w 606547"/>
              <a:gd name="connsiteY59" fmla="*/ 0 h 110081"/>
              <a:gd name="connsiteX60" fmla="*/ 327249 w 606547"/>
              <a:gd name="connsiteY60" fmla="*/ 5849 h 110081"/>
              <a:gd name="connsiteX61" fmla="*/ 339350 w 606547"/>
              <a:gd name="connsiteY61" fmla="*/ 21842 h 110081"/>
              <a:gd name="connsiteX62" fmla="*/ 343085 w 606547"/>
              <a:gd name="connsiteY62" fmla="*/ 45426 h 110081"/>
              <a:gd name="connsiteX63" fmla="*/ 338454 w 606547"/>
              <a:gd name="connsiteY63" fmla="*/ 80088 h 110081"/>
              <a:gd name="connsiteX64" fmla="*/ 324111 w 606547"/>
              <a:gd name="connsiteY64" fmla="*/ 102303 h 110081"/>
              <a:gd name="connsiteX65" fmla="*/ 299610 w 606547"/>
              <a:gd name="connsiteY65" fmla="*/ 110082 h 110081"/>
              <a:gd name="connsiteX66" fmla="*/ 276603 w 606547"/>
              <a:gd name="connsiteY66" fmla="*/ 104543 h 110081"/>
              <a:gd name="connsiteX67" fmla="*/ 276603 w 606547"/>
              <a:gd name="connsiteY67" fmla="*/ 91413 h 110081"/>
              <a:gd name="connsiteX68" fmla="*/ 299610 w 606547"/>
              <a:gd name="connsiteY68" fmla="*/ 98010 h 110081"/>
              <a:gd name="connsiteX69" fmla="*/ 315147 w 606547"/>
              <a:gd name="connsiteY69" fmla="*/ 92907 h 110081"/>
              <a:gd name="connsiteX70" fmla="*/ 324858 w 606547"/>
              <a:gd name="connsiteY70" fmla="*/ 79154 h 110081"/>
              <a:gd name="connsiteX71" fmla="*/ 329191 w 606547"/>
              <a:gd name="connsiteY71" fmla="*/ 59739 h 110081"/>
              <a:gd name="connsiteX72" fmla="*/ 318136 w 606547"/>
              <a:gd name="connsiteY72" fmla="*/ 68389 h 110081"/>
              <a:gd name="connsiteX73" fmla="*/ 304242 w 606547"/>
              <a:gd name="connsiteY73" fmla="*/ 71127 h 110081"/>
              <a:gd name="connsiteX74" fmla="*/ 286912 w 606547"/>
              <a:gd name="connsiteY74" fmla="*/ 67082 h 110081"/>
              <a:gd name="connsiteX75" fmla="*/ 274512 w 606547"/>
              <a:gd name="connsiteY75" fmla="*/ 55134 h 110081"/>
              <a:gd name="connsiteX76" fmla="*/ 270030 w 606547"/>
              <a:gd name="connsiteY76" fmla="*/ 35844 h 110081"/>
              <a:gd name="connsiteX77" fmla="*/ 306034 w 606547"/>
              <a:gd name="connsiteY77" fmla="*/ 12134 h 110081"/>
              <a:gd name="connsiteX78" fmla="*/ 295278 w 606547"/>
              <a:gd name="connsiteY78" fmla="*/ 14810 h 110081"/>
              <a:gd name="connsiteX79" fmla="*/ 287210 w 606547"/>
              <a:gd name="connsiteY79" fmla="*/ 22589 h 110081"/>
              <a:gd name="connsiteX80" fmla="*/ 284222 w 606547"/>
              <a:gd name="connsiteY80" fmla="*/ 35532 h 110081"/>
              <a:gd name="connsiteX81" fmla="*/ 287210 w 606547"/>
              <a:gd name="connsiteY81" fmla="*/ 48725 h 110081"/>
              <a:gd name="connsiteX82" fmla="*/ 294830 w 606547"/>
              <a:gd name="connsiteY82" fmla="*/ 56752 h 110081"/>
              <a:gd name="connsiteX83" fmla="*/ 304540 w 606547"/>
              <a:gd name="connsiteY83" fmla="*/ 59428 h 110081"/>
              <a:gd name="connsiteX84" fmla="*/ 320974 w 606547"/>
              <a:gd name="connsiteY84" fmla="*/ 53329 h 110081"/>
              <a:gd name="connsiteX85" fmla="*/ 327697 w 606547"/>
              <a:gd name="connsiteY85" fmla="*/ 35283 h 110081"/>
              <a:gd name="connsiteX86" fmla="*/ 321870 w 606547"/>
              <a:gd name="connsiteY86" fmla="*/ 18544 h 110081"/>
              <a:gd name="connsiteX87" fmla="*/ 306034 w 606547"/>
              <a:gd name="connsiteY87" fmla="*/ 12134 h 110081"/>
              <a:gd name="connsiteX88" fmla="*/ 402813 w 606547"/>
              <a:gd name="connsiteY88" fmla="*/ 108588 h 110081"/>
              <a:gd name="connsiteX89" fmla="*/ 389218 w 606547"/>
              <a:gd name="connsiteY89" fmla="*/ 108588 h 110081"/>
              <a:gd name="connsiteX90" fmla="*/ 389218 w 606547"/>
              <a:gd name="connsiteY90" fmla="*/ 18357 h 110081"/>
              <a:gd name="connsiteX91" fmla="*/ 359637 w 606547"/>
              <a:gd name="connsiteY91" fmla="*/ 41071 h 110081"/>
              <a:gd name="connsiteX92" fmla="*/ 359637 w 606547"/>
              <a:gd name="connsiteY92" fmla="*/ 26011 h 110081"/>
              <a:gd name="connsiteX93" fmla="*/ 391459 w 606547"/>
              <a:gd name="connsiteY93" fmla="*/ 1493 h 110081"/>
              <a:gd name="connsiteX94" fmla="*/ 402813 w 606547"/>
              <a:gd name="connsiteY94" fmla="*/ 1493 h 110081"/>
              <a:gd name="connsiteX95" fmla="*/ 402813 w 606547"/>
              <a:gd name="connsiteY95" fmla="*/ 108588 h 110081"/>
              <a:gd name="connsiteX96" fmla="*/ 488386 w 606547"/>
              <a:gd name="connsiteY96" fmla="*/ 110082 h 110081"/>
              <a:gd name="connsiteX97" fmla="*/ 460599 w 606547"/>
              <a:gd name="connsiteY97" fmla="*/ 103486 h 110081"/>
              <a:gd name="connsiteX98" fmla="*/ 442222 w 606547"/>
              <a:gd name="connsiteY98" fmla="*/ 84693 h 110081"/>
              <a:gd name="connsiteX99" fmla="*/ 435649 w 606547"/>
              <a:gd name="connsiteY99" fmla="*/ 55134 h 110081"/>
              <a:gd name="connsiteX100" fmla="*/ 449244 w 606547"/>
              <a:gd name="connsiteY100" fmla="*/ 14810 h 110081"/>
              <a:gd name="connsiteX101" fmla="*/ 488088 w 606547"/>
              <a:gd name="connsiteY101" fmla="*/ 186 h 110081"/>
              <a:gd name="connsiteX102" fmla="*/ 506015 w 606547"/>
              <a:gd name="connsiteY102" fmla="*/ 2240 h 110081"/>
              <a:gd name="connsiteX103" fmla="*/ 520656 w 606547"/>
              <a:gd name="connsiteY103" fmla="*/ 7902 h 110081"/>
              <a:gd name="connsiteX104" fmla="*/ 520656 w 606547"/>
              <a:gd name="connsiteY104" fmla="*/ 21344 h 110081"/>
              <a:gd name="connsiteX105" fmla="*/ 505567 w 606547"/>
              <a:gd name="connsiteY105" fmla="*/ 15121 h 110081"/>
              <a:gd name="connsiteX106" fmla="*/ 487938 w 606547"/>
              <a:gd name="connsiteY106" fmla="*/ 12881 h 110081"/>
              <a:gd name="connsiteX107" fmla="*/ 460001 w 606547"/>
              <a:gd name="connsiteY107" fmla="*/ 23459 h 110081"/>
              <a:gd name="connsiteX108" fmla="*/ 450888 w 606547"/>
              <a:gd name="connsiteY108" fmla="*/ 55134 h 110081"/>
              <a:gd name="connsiteX109" fmla="*/ 460748 w 606547"/>
              <a:gd name="connsiteY109" fmla="*/ 86933 h 110081"/>
              <a:gd name="connsiteX110" fmla="*/ 489582 w 606547"/>
              <a:gd name="connsiteY110" fmla="*/ 97387 h 110081"/>
              <a:gd name="connsiteX111" fmla="*/ 520656 w 606547"/>
              <a:gd name="connsiteY111" fmla="*/ 87555 h 110081"/>
              <a:gd name="connsiteX112" fmla="*/ 520656 w 606547"/>
              <a:gd name="connsiteY112" fmla="*/ 100997 h 110081"/>
              <a:gd name="connsiteX113" fmla="*/ 506762 w 606547"/>
              <a:gd name="connsiteY113" fmla="*/ 107717 h 110081"/>
              <a:gd name="connsiteX114" fmla="*/ 488386 w 606547"/>
              <a:gd name="connsiteY114" fmla="*/ 110082 h 110081"/>
              <a:gd name="connsiteX115" fmla="*/ 571140 w 606547"/>
              <a:gd name="connsiteY115" fmla="*/ 110082 h 110081"/>
              <a:gd name="connsiteX116" fmla="*/ 552466 w 606547"/>
              <a:gd name="connsiteY116" fmla="*/ 106473 h 110081"/>
              <a:gd name="connsiteX117" fmla="*/ 539767 w 606547"/>
              <a:gd name="connsiteY117" fmla="*/ 96205 h 110081"/>
              <a:gd name="connsiteX118" fmla="*/ 535135 w 606547"/>
              <a:gd name="connsiteY118" fmla="*/ 79777 h 110081"/>
              <a:gd name="connsiteX119" fmla="*/ 540514 w 606547"/>
              <a:gd name="connsiteY119" fmla="*/ 62291 h 110081"/>
              <a:gd name="connsiteX120" fmla="*/ 555304 w 606547"/>
              <a:gd name="connsiteY120" fmla="*/ 51711 h 110081"/>
              <a:gd name="connsiteX121" fmla="*/ 543352 w 606547"/>
              <a:gd name="connsiteY121" fmla="*/ 42564 h 110081"/>
              <a:gd name="connsiteX122" fmla="*/ 539020 w 606547"/>
              <a:gd name="connsiteY122" fmla="*/ 27504 h 110081"/>
              <a:gd name="connsiteX123" fmla="*/ 543203 w 606547"/>
              <a:gd name="connsiteY123" fmla="*/ 12570 h 110081"/>
              <a:gd name="connsiteX124" fmla="*/ 554706 w 606547"/>
              <a:gd name="connsiteY124" fmla="*/ 3298 h 110081"/>
              <a:gd name="connsiteX125" fmla="*/ 571140 w 606547"/>
              <a:gd name="connsiteY125" fmla="*/ 186 h 110081"/>
              <a:gd name="connsiteX126" fmla="*/ 587275 w 606547"/>
              <a:gd name="connsiteY126" fmla="*/ 3298 h 110081"/>
              <a:gd name="connsiteX127" fmla="*/ 598629 w 606547"/>
              <a:gd name="connsiteY127" fmla="*/ 12259 h 110081"/>
              <a:gd name="connsiteX128" fmla="*/ 602962 w 606547"/>
              <a:gd name="connsiteY128" fmla="*/ 27194 h 110081"/>
              <a:gd name="connsiteX129" fmla="*/ 598480 w 606547"/>
              <a:gd name="connsiteY129" fmla="*/ 42439 h 110081"/>
              <a:gd name="connsiteX130" fmla="*/ 586678 w 606547"/>
              <a:gd name="connsiteY130" fmla="*/ 51711 h 110081"/>
              <a:gd name="connsiteX131" fmla="*/ 601020 w 606547"/>
              <a:gd name="connsiteY131" fmla="*/ 61855 h 110081"/>
              <a:gd name="connsiteX132" fmla="*/ 606547 w 606547"/>
              <a:gd name="connsiteY132" fmla="*/ 79341 h 110081"/>
              <a:gd name="connsiteX133" fmla="*/ 601916 w 606547"/>
              <a:gd name="connsiteY133" fmla="*/ 95893 h 110081"/>
              <a:gd name="connsiteX134" fmla="*/ 589217 w 606547"/>
              <a:gd name="connsiteY134" fmla="*/ 106473 h 110081"/>
              <a:gd name="connsiteX135" fmla="*/ 571140 w 606547"/>
              <a:gd name="connsiteY135" fmla="*/ 110082 h 110081"/>
              <a:gd name="connsiteX136" fmla="*/ 571140 w 606547"/>
              <a:gd name="connsiteY136" fmla="*/ 46298 h 110081"/>
              <a:gd name="connsiteX137" fmla="*/ 584138 w 606547"/>
              <a:gd name="connsiteY137" fmla="*/ 41817 h 110081"/>
              <a:gd name="connsiteX138" fmla="*/ 589367 w 606547"/>
              <a:gd name="connsiteY138" fmla="*/ 29122 h 110081"/>
              <a:gd name="connsiteX139" fmla="*/ 584138 w 606547"/>
              <a:gd name="connsiteY139" fmla="*/ 16615 h 110081"/>
              <a:gd name="connsiteX140" fmla="*/ 571140 w 606547"/>
              <a:gd name="connsiteY140" fmla="*/ 11947 h 110081"/>
              <a:gd name="connsiteX141" fmla="*/ 557844 w 606547"/>
              <a:gd name="connsiteY141" fmla="*/ 16615 h 110081"/>
              <a:gd name="connsiteX142" fmla="*/ 552615 w 606547"/>
              <a:gd name="connsiteY142" fmla="*/ 29122 h 110081"/>
              <a:gd name="connsiteX143" fmla="*/ 557844 w 606547"/>
              <a:gd name="connsiteY143" fmla="*/ 41817 h 110081"/>
              <a:gd name="connsiteX144" fmla="*/ 571140 w 606547"/>
              <a:gd name="connsiteY144" fmla="*/ 46298 h 110081"/>
              <a:gd name="connsiteX145" fmla="*/ 571140 w 606547"/>
              <a:gd name="connsiteY145" fmla="*/ 98258 h 110081"/>
              <a:gd name="connsiteX146" fmla="*/ 586528 w 606547"/>
              <a:gd name="connsiteY146" fmla="*/ 92907 h 110081"/>
              <a:gd name="connsiteX147" fmla="*/ 592803 w 606547"/>
              <a:gd name="connsiteY147" fmla="*/ 77536 h 110081"/>
              <a:gd name="connsiteX148" fmla="*/ 586528 w 606547"/>
              <a:gd name="connsiteY148" fmla="*/ 62291 h 110081"/>
              <a:gd name="connsiteX149" fmla="*/ 571140 w 606547"/>
              <a:gd name="connsiteY149" fmla="*/ 56752 h 110081"/>
              <a:gd name="connsiteX150" fmla="*/ 555155 w 606547"/>
              <a:gd name="connsiteY150" fmla="*/ 62291 h 110081"/>
              <a:gd name="connsiteX151" fmla="*/ 548880 w 606547"/>
              <a:gd name="connsiteY151" fmla="*/ 77536 h 110081"/>
              <a:gd name="connsiteX152" fmla="*/ 555155 w 606547"/>
              <a:gd name="connsiteY152" fmla="*/ 92907 h 110081"/>
              <a:gd name="connsiteX153" fmla="*/ 571140 w 606547"/>
              <a:gd name="connsiteY153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0654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0030" y="35844"/>
                </a:moveTo>
                <a:cubicBezTo>
                  <a:pt x="270030" y="28687"/>
                  <a:pt x="271573" y="22402"/>
                  <a:pt x="274661" y="17051"/>
                </a:cubicBezTo>
                <a:cubicBezTo>
                  <a:pt x="277848" y="11637"/>
                  <a:pt x="282131" y="7467"/>
                  <a:pt x="287509" y="4480"/>
                </a:cubicBezTo>
                <a:cubicBezTo>
                  <a:pt x="292887" y="1493"/>
                  <a:pt x="298913" y="0"/>
                  <a:pt x="305586" y="0"/>
                </a:cubicBezTo>
                <a:cubicBezTo>
                  <a:pt x="314550" y="0"/>
                  <a:pt x="321771" y="1929"/>
                  <a:pt x="327249" y="5849"/>
                </a:cubicBezTo>
                <a:cubicBezTo>
                  <a:pt x="332826" y="9645"/>
                  <a:pt x="336860" y="14934"/>
                  <a:pt x="339350" y="21842"/>
                </a:cubicBezTo>
                <a:cubicBezTo>
                  <a:pt x="341840" y="28563"/>
                  <a:pt x="343085" y="36466"/>
                  <a:pt x="343085" y="45426"/>
                </a:cubicBezTo>
                <a:cubicBezTo>
                  <a:pt x="343085" y="58868"/>
                  <a:pt x="341541" y="70380"/>
                  <a:pt x="338454" y="80088"/>
                </a:cubicBezTo>
                <a:cubicBezTo>
                  <a:pt x="335366" y="89733"/>
                  <a:pt x="330585" y="97138"/>
                  <a:pt x="324111" y="102303"/>
                </a:cubicBezTo>
                <a:cubicBezTo>
                  <a:pt x="317737" y="107468"/>
                  <a:pt x="309570" y="110082"/>
                  <a:pt x="299610" y="110082"/>
                </a:cubicBezTo>
                <a:cubicBezTo>
                  <a:pt x="290646" y="110082"/>
                  <a:pt x="282977" y="108215"/>
                  <a:pt x="276603" y="104543"/>
                </a:cubicBezTo>
                <a:lnTo>
                  <a:pt x="276603" y="91413"/>
                </a:lnTo>
                <a:cubicBezTo>
                  <a:pt x="283376" y="95769"/>
                  <a:pt x="291045" y="98010"/>
                  <a:pt x="299610" y="98010"/>
                </a:cubicBezTo>
                <a:cubicBezTo>
                  <a:pt x="305785" y="98010"/>
                  <a:pt x="310964" y="96267"/>
                  <a:pt x="315147" y="92907"/>
                </a:cubicBezTo>
                <a:cubicBezTo>
                  <a:pt x="319331" y="89546"/>
                  <a:pt x="322568" y="84941"/>
                  <a:pt x="324858" y="79154"/>
                </a:cubicBezTo>
                <a:cubicBezTo>
                  <a:pt x="327249" y="73367"/>
                  <a:pt x="328693" y="66896"/>
                  <a:pt x="329191" y="59739"/>
                </a:cubicBezTo>
                <a:cubicBezTo>
                  <a:pt x="326103" y="63660"/>
                  <a:pt x="322418" y="66522"/>
                  <a:pt x="318136" y="68389"/>
                </a:cubicBezTo>
                <a:cubicBezTo>
                  <a:pt x="313853" y="70193"/>
                  <a:pt x="309222" y="71127"/>
                  <a:pt x="304242" y="71127"/>
                </a:cubicBezTo>
                <a:cubicBezTo>
                  <a:pt x="297867" y="71127"/>
                  <a:pt x="292091" y="69758"/>
                  <a:pt x="286912" y="67082"/>
                </a:cubicBezTo>
                <a:cubicBezTo>
                  <a:pt x="281732" y="64406"/>
                  <a:pt x="277599" y="60424"/>
                  <a:pt x="274512" y="55134"/>
                </a:cubicBezTo>
                <a:cubicBezTo>
                  <a:pt x="271523" y="49845"/>
                  <a:pt x="270030" y="43435"/>
                  <a:pt x="270030" y="35844"/>
                </a:cubicBezTo>
                <a:close/>
                <a:moveTo>
                  <a:pt x="306034" y="12134"/>
                </a:moveTo>
                <a:cubicBezTo>
                  <a:pt x="302250" y="12134"/>
                  <a:pt x="298664" y="13006"/>
                  <a:pt x="295278" y="14810"/>
                </a:cubicBezTo>
                <a:cubicBezTo>
                  <a:pt x="291991" y="16490"/>
                  <a:pt x="289302" y="19104"/>
                  <a:pt x="287210" y="22589"/>
                </a:cubicBezTo>
                <a:cubicBezTo>
                  <a:pt x="285218" y="25949"/>
                  <a:pt x="284222" y="30305"/>
                  <a:pt x="284222" y="35532"/>
                </a:cubicBezTo>
                <a:cubicBezTo>
                  <a:pt x="284222" y="40759"/>
                  <a:pt x="285218" y="45116"/>
                  <a:pt x="287210" y="48725"/>
                </a:cubicBezTo>
                <a:cubicBezTo>
                  <a:pt x="289202" y="52271"/>
                  <a:pt x="291742" y="54947"/>
                  <a:pt x="294830" y="56752"/>
                </a:cubicBezTo>
                <a:cubicBezTo>
                  <a:pt x="297917" y="58556"/>
                  <a:pt x="301154" y="59428"/>
                  <a:pt x="304540" y="59428"/>
                </a:cubicBezTo>
                <a:cubicBezTo>
                  <a:pt x="311114" y="59428"/>
                  <a:pt x="316592" y="57437"/>
                  <a:pt x="320974" y="53329"/>
                </a:cubicBezTo>
                <a:cubicBezTo>
                  <a:pt x="325456" y="49160"/>
                  <a:pt x="327697" y="43124"/>
                  <a:pt x="327697" y="35283"/>
                </a:cubicBezTo>
                <a:cubicBezTo>
                  <a:pt x="327697" y="28313"/>
                  <a:pt x="325755" y="22713"/>
                  <a:pt x="321870" y="18544"/>
                </a:cubicBezTo>
                <a:cubicBezTo>
                  <a:pt x="317986" y="14250"/>
                  <a:pt x="312708" y="12134"/>
                  <a:pt x="306034" y="12134"/>
                </a:cubicBezTo>
                <a:close/>
                <a:moveTo>
                  <a:pt x="402813" y="108588"/>
                </a:moveTo>
                <a:lnTo>
                  <a:pt x="389218" y="108588"/>
                </a:lnTo>
                <a:lnTo>
                  <a:pt x="389218" y="18357"/>
                </a:lnTo>
                <a:lnTo>
                  <a:pt x="359637" y="41071"/>
                </a:lnTo>
                <a:lnTo>
                  <a:pt x="359637" y="26011"/>
                </a:lnTo>
                <a:lnTo>
                  <a:pt x="391459" y="1493"/>
                </a:lnTo>
                <a:lnTo>
                  <a:pt x="402813" y="1493"/>
                </a:lnTo>
                <a:lnTo>
                  <a:pt x="402813" y="108588"/>
                </a:lnTo>
                <a:close/>
                <a:moveTo>
                  <a:pt x="488386" y="110082"/>
                </a:moveTo>
                <a:cubicBezTo>
                  <a:pt x="477829" y="110082"/>
                  <a:pt x="468566" y="107904"/>
                  <a:pt x="460599" y="103486"/>
                </a:cubicBezTo>
                <a:cubicBezTo>
                  <a:pt x="452730" y="99129"/>
                  <a:pt x="446605" y="92844"/>
                  <a:pt x="442222" y="84693"/>
                </a:cubicBezTo>
                <a:cubicBezTo>
                  <a:pt x="437840" y="76416"/>
                  <a:pt x="435649" y="66584"/>
                  <a:pt x="435649" y="55134"/>
                </a:cubicBezTo>
                <a:cubicBezTo>
                  <a:pt x="435649" y="37897"/>
                  <a:pt x="440181" y="24455"/>
                  <a:pt x="449244" y="14810"/>
                </a:cubicBezTo>
                <a:cubicBezTo>
                  <a:pt x="458308" y="5040"/>
                  <a:pt x="471255" y="186"/>
                  <a:pt x="488088" y="186"/>
                </a:cubicBezTo>
                <a:cubicBezTo>
                  <a:pt x="494362" y="186"/>
                  <a:pt x="500338" y="871"/>
                  <a:pt x="506015" y="2240"/>
                </a:cubicBezTo>
                <a:cubicBezTo>
                  <a:pt x="511792" y="3547"/>
                  <a:pt x="516672" y="5414"/>
                  <a:pt x="520656" y="7902"/>
                </a:cubicBezTo>
                <a:lnTo>
                  <a:pt x="520656" y="21344"/>
                </a:lnTo>
                <a:cubicBezTo>
                  <a:pt x="516374" y="18669"/>
                  <a:pt x="511344" y="16615"/>
                  <a:pt x="505567" y="15121"/>
                </a:cubicBezTo>
                <a:cubicBezTo>
                  <a:pt x="499890" y="13628"/>
                  <a:pt x="494014" y="12881"/>
                  <a:pt x="487938" y="12881"/>
                </a:cubicBezTo>
                <a:cubicBezTo>
                  <a:pt x="475389" y="12881"/>
                  <a:pt x="466076" y="16366"/>
                  <a:pt x="460001" y="23459"/>
                </a:cubicBezTo>
                <a:cubicBezTo>
                  <a:pt x="453925" y="30554"/>
                  <a:pt x="450888" y="41071"/>
                  <a:pt x="450888" y="55134"/>
                </a:cubicBezTo>
                <a:cubicBezTo>
                  <a:pt x="450888" y="69260"/>
                  <a:pt x="454175" y="79839"/>
                  <a:pt x="460748" y="86933"/>
                </a:cubicBezTo>
                <a:cubicBezTo>
                  <a:pt x="467322" y="93902"/>
                  <a:pt x="476933" y="97387"/>
                  <a:pt x="489582" y="97387"/>
                </a:cubicBezTo>
                <a:cubicBezTo>
                  <a:pt x="501533" y="97387"/>
                  <a:pt x="511892" y="94089"/>
                  <a:pt x="520656" y="87555"/>
                </a:cubicBezTo>
                <a:lnTo>
                  <a:pt x="520656" y="100997"/>
                </a:lnTo>
                <a:cubicBezTo>
                  <a:pt x="517170" y="103734"/>
                  <a:pt x="512539" y="105974"/>
                  <a:pt x="506762" y="107717"/>
                </a:cubicBezTo>
                <a:cubicBezTo>
                  <a:pt x="500986" y="109273"/>
                  <a:pt x="494861" y="110082"/>
                  <a:pt x="488386" y="110082"/>
                </a:cubicBezTo>
                <a:close/>
                <a:moveTo>
                  <a:pt x="571140" y="110082"/>
                </a:moveTo>
                <a:cubicBezTo>
                  <a:pt x="564168" y="110082"/>
                  <a:pt x="557943" y="108900"/>
                  <a:pt x="552466" y="106473"/>
                </a:cubicBezTo>
                <a:cubicBezTo>
                  <a:pt x="547087" y="104108"/>
                  <a:pt x="542854" y="100685"/>
                  <a:pt x="539767" y="96205"/>
                </a:cubicBezTo>
                <a:cubicBezTo>
                  <a:pt x="536679" y="91600"/>
                  <a:pt x="535135" y="86124"/>
                  <a:pt x="535135" y="79777"/>
                </a:cubicBezTo>
                <a:cubicBezTo>
                  <a:pt x="535135" y="72869"/>
                  <a:pt x="536928" y="67082"/>
                  <a:pt x="540514" y="62291"/>
                </a:cubicBezTo>
                <a:cubicBezTo>
                  <a:pt x="544199" y="57437"/>
                  <a:pt x="549129" y="53889"/>
                  <a:pt x="555304" y="51711"/>
                </a:cubicBezTo>
                <a:cubicBezTo>
                  <a:pt x="550324" y="49720"/>
                  <a:pt x="546340" y="46671"/>
                  <a:pt x="543352" y="42564"/>
                </a:cubicBezTo>
                <a:cubicBezTo>
                  <a:pt x="540464" y="38519"/>
                  <a:pt x="539020" y="33479"/>
                  <a:pt x="539020" y="27504"/>
                </a:cubicBezTo>
                <a:cubicBezTo>
                  <a:pt x="539020" y="21593"/>
                  <a:pt x="540414" y="16615"/>
                  <a:pt x="543203" y="12570"/>
                </a:cubicBezTo>
                <a:cubicBezTo>
                  <a:pt x="545992" y="8463"/>
                  <a:pt x="549826" y="5414"/>
                  <a:pt x="554706" y="3298"/>
                </a:cubicBezTo>
                <a:cubicBezTo>
                  <a:pt x="559587" y="1182"/>
                  <a:pt x="565065" y="186"/>
                  <a:pt x="571140" y="186"/>
                </a:cubicBezTo>
                <a:cubicBezTo>
                  <a:pt x="577116" y="186"/>
                  <a:pt x="582494" y="1182"/>
                  <a:pt x="587275" y="3298"/>
                </a:cubicBezTo>
                <a:cubicBezTo>
                  <a:pt x="592056" y="5289"/>
                  <a:pt x="595841" y="8276"/>
                  <a:pt x="598629" y="12259"/>
                </a:cubicBezTo>
                <a:cubicBezTo>
                  <a:pt x="601518" y="16242"/>
                  <a:pt x="602962" y="21219"/>
                  <a:pt x="602962" y="27194"/>
                </a:cubicBezTo>
                <a:cubicBezTo>
                  <a:pt x="602962" y="33292"/>
                  <a:pt x="601468" y="38332"/>
                  <a:pt x="598480" y="42439"/>
                </a:cubicBezTo>
                <a:cubicBezTo>
                  <a:pt x="595492" y="46484"/>
                  <a:pt x="591558" y="49596"/>
                  <a:pt x="586678" y="51711"/>
                </a:cubicBezTo>
                <a:cubicBezTo>
                  <a:pt x="592653" y="53765"/>
                  <a:pt x="597434" y="57188"/>
                  <a:pt x="601020" y="61855"/>
                </a:cubicBezTo>
                <a:cubicBezTo>
                  <a:pt x="604705" y="66522"/>
                  <a:pt x="606547" y="72372"/>
                  <a:pt x="606547" y="79341"/>
                </a:cubicBezTo>
                <a:cubicBezTo>
                  <a:pt x="606547" y="85688"/>
                  <a:pt x="605004" y="91226"/>
                  <a:pt x="601916" y="95893"/>
                </a:cubicBezTo>
                <a:cubicBezTo>
                  <a:pt x="598829" y="100498"/>
                  <a:pt x="594596" y="103983"/>
                  <a:pt x="589217" y="106473"/>
                </a:cubicBezTo>
                <a:cubicBezTo>
                  <a:pt x="583939" y="108900"/>
                  <a:pt x="577913" y="110082"/>
                  <a:pt x="571140" y="110082"/>
                </a:cubicBezTo>
                <a:close/>
                <a:moveTo>
                  <a:pt x="571140" y="46298"/>
                </a:moveTo>
                <a:cubicBezTo>
                  <a:pt x="576419" y="46298"/>
                  <a:pt x="580751" y="44804"/>
                  <a:pt x="584138" y="41817"/>
                </a:cubicBezTo>
                <a:cubicBezTo>
                  <a:pt x="587624" y="38768"/>
                  <a:pt x="589367" y="34536"/>
                  <a:pt x="589367" y="29122"/>
                </a:cubicBezTo>
                <a:cubicBezTo>
                  <a:pt x="589367" y="23771"/>
                  <a:pt x="587624" y="19601"/>
                  <a:pt x="584138" y="16615"/>
                </a:cubicBezTo>
                <a:cubicBezTo>
                  <a:pt x="580751" y="13503"/>
                  <a:pt x="576419" y="11947"/>
                  <a:pt x="571140" y="11947"/>
                </a:cubicBezTo>
                <a:cubicBezTo>
                  <a:pt x="565861" y="11947"/>
                  <a:pt x="561429" y="13503"/>
                  <a:pt x="557844" y="16615"/>
                </a:cubicBezTo>
                <a:cubicBezTo>
                  <a:pt x="554358" y="19601"/>
                  <a:pt x="552615" y="23771"/>
                  <a:pt x="552615" y="29122"/>
                </a:cubicBezTo>
                <a:cubicBezTo>
                  <a:pt x="552615" y="34536"/>
                  <a:pt x="554358" y="38768"/>
                  <a:pt x="557844" y="41817"/>
                </a:cubicBezTo>
                <a:cubicBezTo>
                  <a:pt x="561429" y="44804"/>
                  <a:pt x="565861" y="46298"/>
                  <a:pt x="571140" y="46298"/>
                </a:cubicBezTo>
                <a:close/>
                <a:moveTo>
                  <a:pt x="571140" y="98258"/>
                </a:moveTo>
                <a:cubicBezTo>
                  <a:pt x="577315" y="98258"/>
                  <a:pt x="582444" y="96516"/>
                  <a:pt x="586528" y="92907"/>
                </a:cubicBezTo>
                <a:cubicBezTo>
                  <a:pt x="590711" y="89235"/>
                  <a:pt x="592803" y="84071"/>
                  <a:pt x="592803" y="77536"/>
                </a:cubicBezTo>
                <a:cubicBezTo>
                  <a:pt x="592803" y="70940"/>
                  <a:pt x="590711" y="65900"/>
                  <a:pt x="586528" y="62291"/>
                </a:cubicBezTo>
                <a:cubicBezTo>
                  <a:pt x="582444" y="58619"/>
                  <a:pt x="577315" y="56752"/>
                  <a:pt x="571140" y="56752"/>
                </a:cubicBezTo>
                <a:cubicBezTo>
                  <a:pt x="564766" y="56752"/>
                  <a:pt x="559437" y="58619"/>
                  <a:pt x="555155" y="62291"/>
                </a:cubicBezTo>
                <a:cubicBezTo>
                  <a:pt x="550972" y="65900"/>
                  <a:pt x="548880" y="70940"/>
                  <a:pt x="548880" y="77536"/>
                </a:cubicBezTo>
                <a:cubicBezTo>
                  <a:pt x="548880" y="84071"/>
                  <a:pt x="550972" y="89235"/>
                  <a:pt x="555155" y="92907"/>
                </a:cubicBezTo>
                <a:cubicBezTo>
                  <a:pt x="559437" y="96516"/>
                  <a:pt x="564766" y="98258"/>
                  <a:pt x="571140" y="9825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7" name="Полилиния 1076">
            <a:extLst>
              <a:ext uri="{FF2B5EF4-FFF2-40B4-BE49-F238E27FC236}">
                <a16:creationId xmlns:a16="http://schemas.microsoft.com/office/drawing/2014/main" id="{D084B191-8797-BC18-1542-EF4E7DDFF293}"/>
              </a:ext>
            </a:extLst>
          </p:cNvPr>
          <p:cNvSpPr/>
          <p:nvPr userDrawn="1"/>
        </p:nvSpPr>
        <p:spPr>
          <a:xfrm>
            <a:off x="16903366" y="9597431"/>
            <a:ext cx="1398954" cy="726227"/>
          </a:xfrm>
          <a:custGeom>
            <a:avLst/>
            <a:gdLst>
              <a:gd name="connsiteX0" fmla="*/ 638 w 1198727"/>
              <a:gd name="connsiteY0" fmla="*/ 1822 h 622284"/>
              <a:gd name="connsiteX1" fmla="*/ 1199366 w 1198727"/>
              <a:gd name="connsiteY1" fmla="*/ 1822 h 622284"/>
              <a:gd name="connsiteX2" fmla="*/ 1199366 w 1198727"/>
              <a:gd name="connsiteY2" fmla="*/ 624106 h 622284"/>
              <a:gd name="connsiteX3" fmla="*/ 638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822"/>
                </a:moveTo>
                <a:lnTo>
                  <a:pt x="1199366" y="1822"/>
                </a:lnTo>
                <a:lnTo>
                  <a:pt x="1199366" y="624106"/>
                </a:lnTo>
                <a:lnTo>
                  <a:pt x="638" y="624106"/>
                </a:lnTo>
                <a:close/>
              </a:path>
            </a:pathLst>
          </a:custGeom>
          <a:solidFill>
            <a:srgbClr val="FFB9E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8" name="Полилиния 1077">
            <a:extLst>
              <a:ext uri="{FF2B5EF4-FFF2-40B4-BE49-F238E27FC236}">
                <a16:creationId xmlns:a16="http://schemas.microsoft.com/office/drawing/2014/main" id="{78D0DCF4-932A-098C-5049-E55F139D632E}"/>
              </a:ext>
            </a:extLst>
          </p:cNvPr>
          <p:cNvSpPr/>
          <p:nvPr userDrawn="1"/>
        </p:nvSpPr>
        <p:spPr>
          <a:xfrm>
            <a:off x="17026576" y="9899178"/>
            <a:ext cx="686677" cy="128468"/>
          </a:xfrm>
          <a:custGeom>
            <a:avLst/>
            <a:gdLst>
              <a:gd name="connsiteX0" fmla="*/ 22111 w 588395"/>
              <a:gd name="connsiteY0" fmla="*/ 108588 h 110081"/>
              <a:gd name="connsiteX1" fmla="*/ 10159 w 588395"/>
              <a:gd name="connsiteY1" fmla="*/ 108588 h 110081"/>
              <a:gd name="connsiteX2" fmla="*/ 16433 w 588395"/>
              <a:gd name="connsiteY2" fmla="*/ 77661 h 110081"/>
              <a:gd name="connsiteX3" fmla="*/ 0 w 588395"/>
              <a:gd name="connsiteY3" fmla="*/ 77661 h 110081"/>
              <a:gd name="connsiteX4" fmla="*/ 0 w 588395"/>
              <a:gd name="connsiteY4" fmla="*/ 67206 h 110081"/>
              <a:gd name="connsiteX5" fmla="*/ 18675 w 588395"/>
              <a:gd name="connsiteY5" fmla="*/ 67206 h 110081"/>
              <a:gd name="connsiteX6" fmla="*/ 24202 w 588395"/>
              <a:gd name="connsiteY6" fmla="*/ 40012 h 110081"/>
              <a:gd name="connsiteX7" fmla="*/ 4033 w 588395"/>
              <a:gd name="connsiteY7" fmla="*/ 40012 h 110081"/>
              <a:gd name="connsiteX8" fmla="*/ 4033 w 588395"/>
              <a:gd name="connsiteY8" fmla="*/ 29559 h 110081"/>
              <a:gd name="connsiteX9" fmla="*/ 26294 w 588395"/>
              <a:gd name="connsiteY9" fmla="*/ 29559 h 110081"/>
              <a:gd name="connsiteX10" fmla="*/ 32120 w 588395"/>
              <a:gd name="connsiteY10" fmla="*/ 1493 h 110081"/>
              <a:gd name="connsiteX11" fmla="*/ 44072 w 588395"/>
              <a:gd name="connsiteY11" fmla="*/ 1493 h 110081"/>
              <a:gd name="connsiteX12" fmla="*/ 38246 w 588395"/>
              <a:gd name="connsiteY12" fmla="*/ 29559 h 110081"/>
              <a:gd name="connsiteX13" fmla="*/ 60655 w 588395"/>
              <a:gd name="connsiteY13" fmla="*/ 29559 h 110081"/>
              <a:gd name="connsiteX14" fmla="*/ 66482 w 588395"/>
              <a:gd name="connsiteY14" fmla="*/ 1493 h 110081"/>
              <a:gd name="connsiteX15" fmla="*/ 78434 w 588395"/>
              <a:gd name="connsiteY15" fmla="*/ 1493 h 110081"/>
              <a:gd name="connsiteX16" fmla="*/ 72607 w 588395"/>
              <a:gd name="connsiteY16" fmla="*/ 29559 h 110081"/>
              <a:gd name="connsiteX17" fmla="*/ 89340 w 588395"/>
              <a:gd name="connsiteY17" fmla="*/ 29559 h 110081"/>
              <a:gd name="connsiteX18" fmla="*/ 89340 w 588395"/>
              <a:gd name="connsiteY18" fmla="*/ 40012 h 110081"/>
              <a:gd name="connsiteX19" fmla="*/ 70516 w 588395"/>
              <a:gd name="connsiteY19" fmla="*/ 40012 h 110081"/>
              <a:gd name="connsiteX20" fmla="*/ 64988 w 588395"/>
              <a:gd name="connsiteY20" fmla="*/ 67206 h 110081"/>
              <a:gd name="connsiteX21" fmla="*/ 85306 w 588395"/>
              <a:gd name="connsiteY21" fmla="*/ 67206 h 110081"/>
              <a:gd name="connsiteX22" fmla="*/ 85306 w 588395"/>
              <a:gd name="connsiteY22" fmla="*/ 77661 h 110081"/>
              <a:gd name="connsiteX23" fmla="*/ 62747 w 588395"/>
              <a:gd name="connsiteY23" fmla="*/ 77661 h 110081"/>
              <a:gd name="connsiteX24" fmla="*/ 56472 w 588395"/>
              <a:gd name="connsiteY24" fmla="*/ 108588 h 110081"/>
              <a:gd name="connsiteX25" fmla="*/ 44520 w 588395"/>
              <a:gd name="connsiteY25" fmla="*/ 108588 h 110081"/>
              <a:gd name="connsiteX26" fmla="*/ 50795 w 588395"/>
              <a:gd name="connsiteY26" fmla="*/ 77661 h 110081"/>
              <a:gd name="connsiteX27" fmla="*/ 28386 w 588395"/>
              <a:gd name="connsiteY27" fmla="*/ 77661 h 110081"/>
              <a:gd name="connsiteX28" fmla="*/ 22111 w 588395"/>
              <a:gd name="connsiteY28" fmla="*/ 108588 h 110081"/>
              <a:gd name="connsiteX29" fmla="*/ 30626 w 588395"/>
              <a:gd name="connsiteY29" fmla="*/ 67206 h 110081"/>
              <a:gd name="connsiteX30" fmla="*/ 53036 w 588395"/>
              <a:gd name="connsiteY30" fmla="*/ 67206 h 110081"/>
              <a:gd name="connsiteX31" fmla="*/ 58564 w 588395"/>
              <a:gd name="connsiteY31" fmla="*/ 40012 h 110081"/>
              <a:gd name="connsiteX32" fmla="*/ 36154 w 588395"/>
              <a:gd name="connsiteY32" fmla="*/ 40012 h 110081"/>
              <a:gd name="connsiteX33" fmla="*/ 30626 w 588395"/>
              <a:gd name="connsiteY33" fmla="*/ 67206 h 110081"/>
              <a:gd name="connsiteX34" fmla="*/ 107827 w 588395"/>
              <a:gd name="connsiteY34" fmla="*/ 1493 h 110081"/>
              <a:gd name="connsiteX35" fmla="*/ 173264 w 588395"/>
              <a:gd name="connsiteY35" fmla="*/ 1493 h 110081"/>
              <a:gd name="connsiteX36" fmla="*/ 173264 w 588395"/>
              <a:gd name="connsiteY36" fmla="*/ 14374 h 110081"/>
              <a:gd name="connsiteX37" fmla="*/ 121871 w 588395"/>
              <a:gd name="connsiteY37" fmla="*/ 14374 h 110081"/>
              <a:gd name="connsiteX38" fmla="*/ 121871 w 588395"/>
              <a:gd name="connsiteY38" fmla="*/ 49907 h 110081"/>
              <a:gd name="connsiteX39" fmla="*/ 165495 w 588395"/>
              <a:gd name="connsiteY39" fmla="*/ 49907 h 110081"/>
              <a:gd name="connsiteX40" fmla="*/ 165495 w 588395"/>
              <a:gd name="connsiteY40" fmla="*/ 62601 h 110081"/>
              <a:gd name="connsiteX41" fmla="*/ 121871 w 588395"/>
              <a:gd name="connsiteY41" fmla="*/ 62601 h 110081"/>
              <a:gd name="connsiteX42" fmla="*/ 121871 w 588395"/>
              <a:gd name="connsiteY42" fmla="*/ 108588 h 110081"/>
              <a:gd name="connsiteX43" fmla="*/ 107827 w 588395"/>
              <a:gd name="connsiteY43" fmla="*/ 108588 h 110081"/>
              <a:gd name="connsiteX44" fmla="*/ 107827 w 588395"/>
              <a:gd name="connsiteY44" fmla="*/ 1493 h 110081"/>
              <a:gd name="connsiteX45" fmla="*/ 192735 w 588395"/>
              <a:gd name="connsiteY45" fmla="*/ 1493 h 110081"/>
              <a:gd name="connsiteX46" fmla="*/ 258171 w 588395"/>
              <a:gd name="connsiteY46" fmla="*/ 1493 h 110081"/>
              <a:gd name="connsiteX47" fmla="*/ 258171 w 588395"/>
              <a:gd name="connsiteY47" fmla="*/ 14374 h 110081"/>
              <a:gd name="connsiteX48" fmla="*/ 206778 w 588395"/>
              <a:gd name="connsiteY48" fmla="*/ 14374 h 110081"/>
              <a:gd name="connsiteX49" fmla="*/ 206778 w 588395"/>
              <a:gd name="connsiteY49" fmla="*/ 49907 h 110081"/>
              <a:gd name="connsiteX50" fmla="*/ 250402 w 588395"/>
              <a:gd name="connsiteY50" fmla="*/ 49907 h 110081"/>
              <a:gd name="connsiteX51" fmla="*/ 250402 w 588395"/>
              <a:gd name="connsiteY51" fmla="*/ 62601 h 110081"/>
              <a:gd name="connsiteX52" fmla="*/ 206778 w 588395"/>
              <a:gd name="connsiteY52" fmla="*/ 62601 h 110081"/>
              <a:gd name="connsiteX53" fmla="*/ 206778 w 588395"/>
              <a:gd name="connsiteY53" fmla="*/ 108588 h 110081"/>
              <a:gd name="connsiteX54" fmla="*/ 192735 w 588395"/>
              <a:gd name="connsiteY54" fmla="*/ 108588 h 110081"/>
              <a:gd name="connsiteX55" fmla="*/ 192735 w 588395"/>
              <a:gd name="connsiteY55" fmla="*/ 1493 h 110081"/>
              <a:gd name="connsiteX56" fmla="*/ 277649 w 588395"/>
              <a:gd name="connsiteY56" fmla="*/ 1493 h 110081"/>
              <a:gd name="connsiteX57" fmla="*/ 313953 w 588395"/>
              <a:gd name="connsiteY57" fmla="*/ 1493 h 110081"/>
              <a:gd name="connsiteX58" fmla="*/ 340694 w 588395"/>
              <a:gd name="connsiteY58" fmla="*/ 7467 h 110081"/>
              <a:gd name="connsiteX59" fmla="*/ 349957 w 588395"/>
              <a:gd name="connsiteY59" fmla="*/ 27629 h 110081"/>
              <a:gd name="connsiteX60" fmla="*/ 344131 w 588395"/>
              <a:gd name="connsiteY60" fmla="*/ 45116 h 110081"/>
              <a:gd name="connsiteX61" fmla="*/ 328593 w 588395"/>
              <a:gd name="connsiteY61" fmla="*/ 53018 h 110081"/>
              <a:gd name="connsiteX62" fmla="*/ 347417 w 588395"/>
              <a:gd name="connsiteY62" fmla="*/ 60361 h 110081"/>
              <a:gd name="connsiteX63" fmla="*/ 353841 w 588395"/>
              <a:gd name="connsiteY63" fmla="*/ 77661 h 110081"/>
              <a:gd name="connsiteX64" fmla="*/ 348613 w 588395"/>
              <a:gd name="connsiteY64" fmla="*/ 95583 h 110081"/>
              <a:gd name="connsiteX65" fmla="*/ 334270 w 588395"/>
              <a:gd name="connsiteY65" fmla="*/ 105601 h 110081"/>
              <a:gd name="connsiteX66" fmla="*/ 313654 w 588395"/>
              <a:gd name="connsiteY66" fmla="*/ 108588 h 110081"/>
              <a:gd name="connsiteX67" fmla="*/ 277649 w 588395"/>
              <a:gd name="connsiteY67" fmla="*/ 108588 h 110081"/>
              <a:gd name="connsiteX68" fmla="*/ 277649 w 588395"/>
              <a:gd name="connsiteY68" fmla="*/ 1493 h 110081"/>
              <a:gd name="connsiteX69" fmla="*/ 312907 w 588395"/>
              <a:gd name="connsiteY69" fmla="*/ 47231 h 110081"/>
              <a:gd name="connsiteX70" fmla="*/ 329340 w 588395"/>
              <a:gd name="connsiteY70" fmla="*/ 42751 h 110081"/>
              <a:gd name="connsiteX71" fmla="*/ 335764 w 588395"/>
              <a:gd name="connsiteY71" fmla="*/ 28376 h 110081"/>
              <a:gd name="connsiteX72" fmla="*/ 330087 w 588395"/>
              <a:gd name="connsiteY72" fmla="*/ 17361 h 110081"/>
              <a:gd name="connsiteX73" fmla="*/ 313953 w 588395"/>
              <a:gd name="connsiteY73" fmla="*/ 14374 h 110081"/>
              <a:gd name="connsiteX74" fmla="*/ 291692 w 588395"/>
              <a:gd name="connsiteY74" fmla="*/ 14374 h 110081"/>
              <a:gd name="connsiteX75" fmla="*/ 291692 w 588395"/>
              <a:gd name="connsiteY75" fmla="*/ 47231 h 110081"/>
              <a:gd name="connsiteX76" fmla="*/ 312907 w 588395"/>
              <a:gd name="connsiteY76" fmla="*/ 47231 h 110081"/>
              <a:gd name="connsiteX77" fmla="*/ 313654 w 588395"/>
              <a:gd name="connsiteY77" fmla="*/ 95893 h 110081"/>
              <a:gd name="connsiteX78" fmla="*/ 332030 w 588395"/>
              <a:gd name="connsiteY78" fmla="*/ 92035 h 110081"/>
              <a:gd name="connsiteX79" fmla="*/ 339051 w 588395"/>
              <a:gd name="connsiteY79" fmla="*/ 77972 h 110081"/>
              <a:gd name="connsiteX80" fmla="*/ 332478 w 588395"/>
              <a:gd name="connsiteY80" fmla="*/ 63908 h 110081"/>
              <a:gd name="connsiteX81" fmla="*/ 312010 w 588395"/>
              <a:gd name="connsiteY81" fmla="*/ 59926 h 110081"/>
              <a:gd name="connsiteX82" fmla="*/ 291692 w 588395"/>
              <a:gd name="connsiteY82" fmla="*/ 59926 h 110081"/>
              <a:gd name="connsiteX83" fmla="*/ 291692 w 588395"/>
              <a:gd name="connsiteY83" fmla="*/ 95893 h 110081"/>
              <a:gd name="connsiteX84" fmla="*/ 313654 w 588395"/>
              <a:gd name="connsiteY84" fmla="*/ 95893 h 110081"/>
              <a:gd name="connsiteX85" fmla="*/ 366322 w 588395"/>
              <a:gd name="connsiteY85" fmla="*/ 35844 h 110081"/>
              <a:gd name="connsiteX86" fmla="*/ 370954 w 588395"/>
              <a:gd name="connsiteY86" fmla="*/ 17051 h 110081"/>
              <a:gd name="connsiteX87" fmla="*/ 383802 w 588395"/>
              <a:gd name="connsiteY87" fmla="*/ 4480 h 110081"/>
              <a:gd name="connsiteX88" fmla="*/ 401879 w 588395"/>
              <a:gd name="connsiteY88" fmla="*/ 0 h 110081"/>
              <a:gd name="connsiteX89" fmla="*/ 423542 w 588395"/>
              <a:gd name="connsiteY89" fmla="*/ 5849 h 110081"/>
              <a:gd name="connsiteX90" fmla="*/ 435643 w 588395"/>
              <a:gd name="connsiteY90" fmla="*/ 21842 h 110081"/>
              <a:gd name="connsiteX91" fmla="*/ 439378 w 588395"/>
              <a:gd name="connsiteY91" fmla="*/ 45426 h 110081"/>
              <a:gd name="connsiteX92" fmla="*/ 434746 w 588395"/>
              <a:gd name="connsiteY92" fmla="*/ 80088 h 110081"/>
              <a:gd name="connsiteX93" fmla="*/ 420404 w 588395"/>
              <a:gd name="connsiteY93" fmla="*/ 102303 h 110081"/>
              <a:gd name="connsiteX94" fmla="*/ 395903 w 588395"/>
              <a:gd name="connsiteY94" fmla="*/ 110082 h 110081"/>
              <a:gd name="connsiteX95" fmla="*/ 372896 w 588395"/>
              <a:gd name="connsiteY95" fmla="*/ 104543 h 110081"/>
              <a:gd name="connsiteX96" fmla="*/ 372896 w 588395"/>
              <a:gd name="connsiteY96" fmla="*/ 91413 h 110081"/>
              <a:gd name="connsiteX97" fmla="*/ 395903 w 588395"/>
              <a:gd name="connsiteY97" fmla="*/ 98010 h 110081"/>
              <a:gd name="connsiteX98" fmla="*/ 411441 w 588395"/>
              <a:gd name="connsiteY98" fmla="*/ 92907 h 110081"/>
              <a:gd name="connsiteX99" fmla="*/ 421152 w 588395"/>
              <a:gd name="connsiteY99" fmla="*/ 79154 h 110081"/>
              <a:gd name="connsiteX100" fmla="*/ 425484 w 588395"/>
              <a:gd name="connsiteY100" fmla="*/ 59739 h 110081"/>
              <a:gd name="connsiteX101" fmla="*/ 414429 w 588395"/>
              <a:gd name="connsiteY101" fmla="*/ 68389 h 110081"/>
              <a:gd name="connsiteX102" fmla="*/ 400535 w 588395"/>
              <a:gd name="connsiteY102" fmla="*/ 71127 h 110081"/>
              <a:gd name="connsiteX103" fmla="*/ 383205 w 588395"/>
              <a:gd name="connsiteY103" fmla="*/ 67082 h 110081"/>
              <a:gd name="connsiteX104" fmla="*/ 370805 w 588395"/>
              <a:gd name="connsiteY104" fmla="*/ 55134 h 110081"/>
              <a:gd name="connsiteX105" fmla="*/ 366322 w 588395"/>
              <a:gd name="connsiteY105" fmla="*/ 35844 h 110081"/>
              <a:gd name="connsiteX106" fmla="*/ 402327 w 588395"/>
              <a:gd name="connsiteY106" fmla="*/ 12134 h 110081"/>
              <a:gd name="connsiteX107" fmla="*/ 391571 w 588395"/>
              <a:gd name="connsiteY107" fmla="*/ 14810 h 110081"/>
              <a:gd name="connsiteX108" fmla="*/ 383503 w 588395"/>
              <a:gd name="connsiteY108" fmla="*/ 22589 h 110081"/>
              <a:gd name="connsiteX109" fmla="*/ 380515 w 588395"/>
              <a:gd name="connsiteY109" fmla="*/ 35532 h 110081"/>
              <a:gd name="connsiteX110" fmla="*/ 383503 w 588395"/>
              <a:gd name="connsiteY110" fmla="*/ 48725 h 110081"/>
              <a:gd name="connsiteX111" fmla="*/ 391122 w 588395"/>
              <a:gd name="connsiteY111" fmla="*/ 56752 h 110081"/>
              <a:gd name="connsiteX112" fmla="*/ 400833 w 588395"/>
              <a:gd name="connsiteY112" fmla="*/ 59428 h 110081"/>
              <a:gd name="connsiteX113" fmla="*/ 417267 w 588395"/>
              <a:gd name="connsiteY113" fmla="*/ 53329 h 110081"/>
              <a:gd name="connsiteX114" fmla="*/ 423990 w 588395"/>
              <a:gd name="connsiteY114" fmla="*/ 35283 h 110081"/>
              <a:gd name="connsiteX115" fmla="*/ 418163 w 588395"/>
              <a:gd name="connsiteY115" fmla="*/ 18544 h 110081"/>
              <a:gd name="connsiteX116" fmla="*/ 402327 w 588395"/>
              <a:gd name="connsiteY116" fmla="*/ 12134 h 110081"/>
              <a:gd name="connsiteX117" fmla="*/ 456079 w 588395"/>
              <a:gd name="connsiteY117" fmla="*/ 1493 h 110081"/>
              <a:gd name="connsiteX118" fmla="*/ 522412 w 588395"/>
              <a:gd name="connsiteY118" fmla="*/ 1493 h 110081"/>
              <a:gd name="connsiteX119" fmla="*/ 522412 w 588395"/>
              <a:gd name="connsiteY119" fmla="*/ 14374 h 110081"/>
              <a:gd name="connsiteX120" fmla="*/ 470122 w 588395"/>
              <a:gd name="connsiteY120" fmla="*/ 14374 h 110081"/>
              <a:gd name="connsiteX121" fmla="*/ 470122 w 588395"/>
              <a:gd name="connsiteY121" fmla="*/ 46734 h 110081"/>
              <a:gd name="connsiteX122" fmla="*/ 514494 w 588395"/>
              <a:gd name="connsiteY122" fmla="*/ 46734 h 110081"/>
              <a:gd name="connsiteX123" fmla="*/ 514494 w 588395"/>
              <a:gd name="connsiteY123" fmla="*/ 59428 h 110081"/>
              <a:gd name="connsiteX124" fmla="*/ 470122 w 588395"/>
              <a:gd name="connsiteY124" fmla="*/ 59428 h 110081"/>
              <a:gd name="connsiteX125" fmla="*/ 470122 w 588395"/>
              <a:gd name="connsiteY125" fmla="*/ 95893 h 110081"/>
              <a:gd name="connsiteX126" fmla="*/ 523159 w 588395"/>
              <a:gd name="connsiteY126" fmla="*/ 95893 h 110081"/>
              <a:gd name="connsiteX127" fmla="*/ 523159 w 588395"/>
              <a:gd name="connsiteY127" fmla="*/ 108588 h 110081"/>
              <a:gd name="connsiteX128" fmla="*/ 456079 w 588395"/>
              <a:gd name="connsiteY128" fmla="*/ 108588 h 110081"/>
              <a:gd name="connsiteX129" fmla="*/ 456079 w 588395"/>
              <a:gd name="connsiteY129" fmla="*/ 1493 h 110081"/>
              <a:gd name="connsiteX130" fmla="*/ 588395 w 588395"/>
              <a:gd name="connsiteY130" fmla="*/ 108588 h 110081"/>
              <a:gd name="connsiteX131" fmla="*/ 574801 w 588395"/>
              <a:gd name="connsiteY131" fmla="*/ 108588 h 110081"/>
              <a:gd name="connsiteX132" fmla="*/ 574801 w 588395"/>
              <a:gd name="connsiteY132" fmla="*/ 18357 h 110081"/>
              <a:gd name="connsiteX133" fmla="*/ 545220 w 588395"/>
              <a:gd name="connsiteY133" fmla="*/ 41071 h 110081"/>
              <a:gd name="connsiteX134" fmla="*/ 545220 w 588395"/>
              <a:gd name="connsiteY134" fmla="*/ 26011 h 110081"/>
              <a:gd name="connsiteX135" fmla="*/ 577041 w 588395"/>
              <a:gd name="connsiteY135" fmla="*/ 1493 h 110081"/>
              <a:gd name="connsiteX136" fmla="*/ 588395 w 588395"/>
              <a:gd name="connsiteY136" fmla="*/ 1493 h 110081"/>
              <a:gd name="connsiteX137" fmla="*/ 588395 w 588395"/>
              <a:gd name="connsiteY137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588395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7649" y="1493"/>
                </a:moveTo>
                <a:lnTo>
                  <a:pt x="313953" y="1493"/>
                </a:lnTo>
                <a:cubicBezTo>
                  <a:pt x="325705" y="1493"/>
                  <a:pt x="334619" y="3484"/>
                  <a:pt x="340694" y="7467"/>
                </a:cubicBezTo>
                <a:cubicBezTo>
                  <a:pt x="346870" y="11450"/>
                  <a:pt x="349957" y="18170"/>
                  <a:pt x="349957" y="27629"/>
                </a:cubicBezTo>
                <a:cubicBezTo>
                  <a:pt x="349957" y="35283"/>
                  <a:pt x="348015" y="41133"/>
                  <a:pt x="344131" y="45116"/>
                </a:cubicBezTo>
                <a:cubicBezTo>
                  <a:pt x="340247" y="48974"/>
                  <a:pt x="335067" y="51649"/>
                  <a:pt x="328593" y="53018"/>
                </a:cubicBezTo>
                <a:cubicBezTo>
                  <a:pt x="336860" y="54014"/>
                  <a:pt x="343135" y="56441"/>
                  <a:pt x="347417" y="60361"/>
                </a:cubicBezTo>
                <a:cubicBezTo>
                  <a:pt x="351700" y="64157"/>
                  <a:pt x="353841" y="69882"/>
                  <a:pt x="353841" y="77661"/>
                </a:cubicBezTo>
                <a:cubicBezTo>
                  <a:pt x="353841" y="85066"/>
                  <a:pt x="352099" y="91040"/>
                  <a:pt x="348613" y="95583"/>
                </a:cubicBezTo>
                <a:cubicBezTo>
                  <a:pt x="345127" y="100188"/>
                  <a:pt x="340346" y="103486"/>
                  <a:pt x="334270" y="105601"/>
                </a:cubicBezTo>
                <a:cubicBezTo>
                  <a:pt x="328195" y="107592"/>
                  <a:pt x="321323" y="108588"/>
                  <a:pt x="313654" y="108588"/>
                </a:cubicBezTo>
                <a:lnTo>
                  <a:pt x="277649" y="108588"/>
                </a:lnTo>
                <a:lnTo>
                  <a:pt x="277649" y="1493"/>
                </a:lnTo>
                <a:close/>
                <a:moveTo>
                  <a:pt x="312907" y="47231"/>
                </a:moveTo>
                <a:cubicBezTo>
                  <a:pt x="319679" y="47231"/>
                  <a:pt x="325157" y="45738"/>
                  <a:pt x="329340" y="42751"/>
                </a:cubicBezTo>
                <a:cubicBezTo>
                  <a:pt x="333623" y="39639"/>
                  <a:pt x="335764" y="34848"/>
                  <a:pt x="335764" y="28376"/>
                </a:cubicBezTo>
                <a:cubicBezTo>
                  <a:pt x="335764" y="22900"/>
                  <a:pt x="333872" y="19228"/>
                  <a:pt x="330087" y="17361"/>
                </a:cubicBezTo>
                <a:cubicBezTo>
                  <a:pt x="326303" y="15370"/>
                  <a:pt x="320924" y="14374"/>
                  <a:pt x="313953" y="14374"/>
                </a:cubicBezTo>
                <a:lnTo>
                  <a:pt x="291692" y="14374"/>
                </a:lnTo>
                <a:lnTo>
                  <a:pt x="291692" y="47231"/>
                </a:lnTo>
                <a:lnTo>
                  <a:pt x="312907" y="47231"/>
                </a:lnTo>
                <a:close/>
                <a:moveTo>
                  <a:pt x="313654" y="95893"/>
                </a:moveTo>
                <a:cubicBezTo>
                  <a:pt x="321223" y="95893"/>
                  <a:pt x="327348" y="94587"/>
                  <a:pt x="332030" y="92035"/>
                </a:cubicBezTo>
                <a:cubicBezTo>
                  <a:pt x="336711" y="89422"/>
                  <a:pt x="339051" y="84755"/>
                  <a:pt x="339051" y="77972"/>
                </a:cubicBezTo>
                <a:cubicBezTo>
                  <a:pt x="339051" y="71189"/>
                  <a:pt x="336860" y="66522"/>
                  <a:pt x="332478" y="63908"/>
                </a:cubicBezTo>
                <a:cubicBezTo>
                  <a:pt x="328195" y="61233"/>
                  <a:pt x="321372" y="59926"/>
                  <a:pt x="312010" y="59926"/>
                </a:cubicBezTo>
                <a:lnTo>
                  <a:pt x="291692" y="59926"/>
                </a:lnTo>
                <a:lnTo>
                  <a:pt x="291692" y="95893"/>
                </a:lnTo>
                <a:lnTo>
                  <a:pt x="313654" y="95893"/>
                </a:lnTo>
                <a:close/>
                <a:moveTo>
                  <a:pt x="366322" y="35844"/>
                </a:moveTo>
                <a:cubicBezTo>
                  <a:pt x="366322" y="28687"/>
                  <a:pt x="367866" y="22402"/>
                  <a:pt x="370954" y="17051"/>
                </a:cubicBezTo>
                <a:cubicBezTo>
                  <a:pt x="374141" y="11637"/>
                  <a:pt x="378424" y="7467"/>
                  <a:pt x="383802" y="4480"/>
                </a:cubicBezTo>
                <a:cubicBezTo>
                  <a:pt x="389180" y="1493"/>
                  <a:pt x="395206" y="0"/>
                  <a:pt x="401879" y="0"/>
                </a:cubicBezTo>
                <a:cubicBezTo>
                  <a:pt x="410843" y="0"/>
                  <a:pt x="418064" y="1929"/>
                  <a:pt x="423542" y="5849"/>
                </a:cubicBezTo>
                <a:cubicBezTo>
                  <a:pt x="429119" y="9645"/>
                  <a:pt x="433153" y="14934"/>
                  <a:pt x="435643" y="21842"/>
                </a:cubicBezTo>
                <a:cubicBezTo>
                  <a:pt x="438133" y="28563"/>
                  <a:pt x="439378" y="36466"/>
                  <a:pt x="439378" y="45426"/>
                </a:cubicBezTo>
                <a:cubicBezTo>
                  <a:pt x="439378" y="58868"/>
                  <a:pt x="437834" y="70380"/>
                  <a:pt x="434746" y="80088"/>
                </a:cubicBezTo>
                <a:cubicBezTo>
                  <a:pt x="431659" y="89733"/>
                  <a:pt x="426878" y="97138"/>
                  <a:pt x="420404" y="102303"/>
                </a:cubicBezTo>
                <a:cubicBezTo>
                  <a:pt x="414030" y="107468"/>
                  <a:pt x="405863" y="110082"/>
                  <a:pt x="395903" y="110082"/>
                </a:cubicBezTo>
                <a:cubicBezTo>
                  <a:pt x="386939" y="110082"/>
                  <a:pt x="379270" y="108215"/>
                  <a:pt x="372896" y="104543"/>
                </a:cubicBezTo>
                <a:lnTo>
                  <a:pt x="372896" y="91413"/>
                </a:lnTo>
                <a:cubicBezTo>
                  <a:pt x="379669" y="95769"/>
                  <a:pt x="387338" y="98010"/>
                  <a:pt x="395903" y="98010"/>
                </a:cubicBezTo>
                <a:cubicBezTo>
                  <a:pt x="402078" y="98010"/>
                  <a:pt x="407257" y="96267"/>
                  <a:pt x="411441" y="92907"/>
                </a:cubicBezTo>
                <a:cubicBezTo>
                  <a:pt x="415624" y="89546"/>
                  <a:pt x="418861" y="84941"/>
                  <a:pt x="421152" y="79154"/>
                </a:cubicBezTo>
                <a:cubicBezTo>
                  <a:pt x="423542" y="73367"/>
                  <a:pt x="424986" y="66896"/>
                  <a:pt x="425484" y="59739"/>
                </a:cubicBezTo>
                <a:cubicBezTo>
                  <a:pt x="422396" y="63660"/>
                  <a:pt x="418711" y="66522"/>
                  <a:pt x="414429" y="68389"/>
                </a:cubicBezTo>
                <a:cubicBezTo>
                  <a:pt x="410146" y="70193"/>
                  <a:pt x="405514" y="71127"/>
                  <a:pt x="400535" y="71127"/>
                </a:cubicBezTo>
                <a:cubicBezTo>
                  <a:pt x="394160" y="71127"/>
                  <a:pt x="388383" y="69758"/>
                  <a:pt x="383205" y="67082"/>
                </a:cubicBezTo>
                <a:cubicBezTo>
                  <a:pt x="378025" y="64406"/>
                  <a:pt x="373892" y="60424"/>
                  <a:pt x="370805" y="55134"/>
                </a:cubicBezTo>
                <a:cubicBezTo>
                  <a:pt x="367816" y="49845"/>
                  <a:pt x="366322" y="43435"/>
                  <a:pt x="366322" y="35844"/>
                </a:cubicBezTo>
                <a:close/>
                <a:moveTo>
                  <a:pt x="402327" y="12134"/>
                </a:moveTo>
                <a:cubicBezTo>
                  <a:pt x="398543" y="12134"/>
                  <a:pt x="394957" y="13006"/>
                  <a:pt x="391571" y="14810"/>
                </a:cubicBezTo>
                <a:cubicBezTo>
                  <a:pt x="388284" y="16490"/>
                  <a:pt x="385595" y="19104"/>
                  <a:pt x="383503" y="22589"/>
                </a:cubicBezTo>
                <a:cubicBezTo>
                  <a:pt x="381511" y="25949"/>
                  <a:pt x="380515" y="30305"/>
                  <a:pt x="380515" y="35532"/>
                </a:cubicBezTo>
                <a:cubicBezTo>
                  <a:pt x="380515" y="40759"/>
                  <a:pt x="381511" y="45116"/>
                  <a:pt x="383503" y="48725"/>
                </a:cubicBezTo>
                <a:cubicBezTo>
                  <a:pt x="385495" y="52271"/>
                  <a:pt x="388035" y="54947"/>
                  <a:pt x="391122" y="56752"/>
                </a:cubicBezTo>
                <a:cubicBezTo>
                  <a:pt x="394210" y="58556"/>
                  <a:pt x="397447" y="59428"/>
                  <a:pt x="400833" y="59428"/>
                </a:cubicBezTo>
                <a:cubicBezTo>
                  <a:pt x="407407" y="59428"/>
                  <a:pt x="412885" y="57437"/>
                  <a:pt x="417267" y="53329"/>
                </a:cubicBezTo>
                <a:cubicBezTo>
                  <a:pt x="421749" y="49160"/>
                  <a:pt x="423990" y="43124"/>
                  <a:pt x="423990" y="35283"/>
                </a:cubicBezTo>
                <a:cubicBezTo>
                  <a:pt x="423990" y="28313"/>
                  <a:pt x="422048" y="22713"/>
                  <a:pt x="418163" y="18544"/>
                </a:cubicBezTo>
                <a:cubicBezTo>
                  <a:pt x="414279" y="14250"/>
                  <a:pt x="409000" y="12134"/>
                  <a:pt x="402327" y="12134"/>
                </a:cubicBezTo>
                <a:close/>
                <a:moveTo>
                  <a:pt x="456079" y="1493"/>
                </a:moveTo>
                <a:lnTo>
                  <a:pt x="522412" y="1493"/>
                </a:lnTo>
                <a:lnTo>
                  <a:pt x="522412" y="14374"/>
                </a:lnTo>
                <a:lnTo>
                  <a:pt x="470122" y="14374"/>
                </a:lnTo>
                <a:lnTo>
                  <a:pt x="470122" y="46734"/>
                </a:lnTo>
                <a:lnTo>
                  <a:pt x="514494" y="46734"/>
                </a:lnTo>
                <a:lnTo>
                  <a:pt x="514494" y="59428"/>
                </a:lnTo>
                <a:lnTo>
                  <a:pt x="470122" y="59428"/>
                </a:lnTo>
                <a:lnTo>
                  <a:pt x="470122" y="95893"/>
                </a:lnTo>
                <a:lnTo>
                  <a:pt x="523159" y="95893"/>
                </a:lnTo>
                <a:lnTo>
                  <a:pt x="523159" y="108588"/>
                </a:lnTo>
                <a:lnTo>
                  <a:pt x="456079" y="108588"/>
                </a:lnTo>
                <a:lnTo>
                  <a:pt x="456079" y="1493"/>
                </a:lnTo>
                <a:close/>
                <a:moveTo>
                  <a:pt x="588395" y="108588"/>
                </a:moveTo>
                <a:lnTo>
                  <a:pt x="574801" y="108588"/>
                </a:lnTo>
                <a:lnTo>
                  <a:pt x="574801" y="18357"/>
                </a:lnTo>
                <a:lnTo>
                  <a:pt x="545220" y="41071"/>
                </a:lnTo>
                <a:lnTo>
                  <a:pt x="545220" y="26011"/>
                </a:lnTo>
                <a:lnTo>
                  <a:pt x="577041" y="1493"/>
                </a:lnTo>
                <a:lnTo>
                  <a:pt x="588395" y="1493"/>
                </a:lnTo>
                <a:lnTo>
                  <a:pt x="588395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9" name="Полилиния 1078">
            <a:extLst>
              <a:ext uri="{FF2B5EF4-FFF2-40B4-BE49-F238E27FC236}">
                <a16:creationId xmlns:a16="http://schemas.microsoft.com/office/drawing/2014/main" id="{433E5585-EB4E-32B8-B317-2519B99FBA99}"/>
              </a:ext>
            </a:extLst>
          </p:cNvPr>
          <p:cNvSpPr/>
          <p:nvPr userDrawn="1"/>
        </p:nvSpPr>
        <p:spPr>
          <a:xfrm>
            <a:off x="16903366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2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6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0" name="Полилиния 1079">
            <a:extLst>
              <a:ext uri="{FF2B5EF4-FFF2-40B4-BE49-F238E27FC236}">
                <a16:creationId xmlns:a16="http://schemas.microsoft.com/office/drawing/2014/main" id="{6142C6DA-6EDE-4DF7-6F0C-A799874BE9E5}"/>
              </a:ext>
            </a:extLst>
          </p:cNvPr>
          <p:cNvSpPr/>
          <p:nvPr userDrawn="1"/>
        </p:nvSpPr>
        <p:spPr>
          <a:xfrm>
            <a:off x="17026576" y="10625405"/>
            <a:ext cx="694669" cy="128468"/>
          </a:xfrm>
          <a:custGeom>
            <a:avLst/>
            <a:gdLst>
              <a:gd name="connsiteX0" fmla="*/ 22111 w 595243"/>
              <a:gd name="connsiteY0" fmla="*/ 108588 h 110081"/>
              <a:gd name="connsiteX1" fmla="*/ 10159 w 595243"/>
              <a:gd name="connsiteY1" fmla="*/ 108588 h 110081"/>
              <a:gd name="connsiteX2" fmla="*/ 16433 w 595243"/>
              <a:gd name="connsiteY2" fmla="*/ 77661 h 110081"/>
              <a:gd name="connsiteX3" fmla="*/ 0 w 595243"/>
              <a:gd name="connsiteY3" fmla="*/ 77661 h 110081"/>
              <a:gd name="connsiteX4" fmla="*/ 0 w 595243"/>
              <a:gd name="connsiteY4" fmla="*/ 67206 h 110081"/>
              <a:gd name="connsiteX5" fmla="*/ 18675 w 595243"/>
              <a:gd name="connsiteY5" fmla="*/ 67206 h 110081"/>
              <a:gd name="connsiteX6" fmla="*/ 24202 w 595243"/>
              <a:gd name="connsiteY6" fmla="*/ 40012 h 110081"/>
              <a:gd name="connsiteX7" fmla="*/ 4033 w 595243"/>
              <a:gd name="connsiteY7" fmla="*/ 40012 h 110081"/>
              <a:gd name="connsiteX8" fmla="*/ 4033 w 595243"/>
              <a:gd name="connsiteY8" fmla="*/ 29559 h 110081"/>
              <a:gd name="connsiteX9" fmla="*/ 26294 w 595243"/>
              <a:gd name="connsiteY9" fmla="*/ 29559 h 110081"/>
              <a:gd name="connsiteX10" fmla="*/ 32120 w 595243"/>
              <a:gd name="connsiteY10" fmla="*/ 1493 h 110081"/>
              <a:gd name="connsiteX11" fmla="*/ 44072 w 595243"/>
              <a:gd name="connsiteY11" fmla="*/ 1493 h 110081"/>
              <a:gd name="connsiteX12" fmla="*/ 38246 w 595243"/>
              <a:gd name="connsiteY12" fmla="*/ 29559 h 110081"/>
              <a:gd name="connsiteX13" fmla="*/ 60655 w 595243"/>
              <a:gd name="connsiteY13" fmla="*/ 29559 h 110081"/>
              <a:gd name="connsiteX14" fmla="*/ 66482 w 595243"/>
              <a:gd name="connsiteY14" fmla="*/ 1493 h 110081"/>
              <a:gd name="connsiteX15" fmla="*/ 78434 w 595243"/>
              <a:gd name="connsiteY15" fmla="*/ 1493 h 110081"/>
              <a:gd name="connsiteX16" fmla="*/ 72607 w 595243"/>
              <a:gd name="connsiteY16" fmla="*/ 29559 h 110081"/>
              <a:gd name="connsiteX17" fmla="*/ 89340 w 595243"/>
              <a:gd name="connsiteY17" fmla="*/ 29559 h 110081"/>
              <a:gd name="connsiteX18" fmla="*/ 89340 w 595243"/>
              <a:gd name="connsiteY18" fmla="*/ 40012 h 110081"/>
              <a:gd name="connsiteX19" fmla="*/ 70516 w 595243"/>
              <a:gd name="connsiteY19" fmla="*/ 40012 h 110081"/>
              <a:gd name="connsiteX20" fmla="*/ 64988 w 595243"/>
              <a:gd name="connsiteY20" fmla="*/ 67206 h 110081"/>
              <a:gd name="connsiteX21" fmla="*/ 85306 w 595243"/>
              <a:gd name="connsiteY21" fmla="*/ 67206 h 110081"/>
              <a:gd name="connsiteX22" fmla="*/ 85306 w 595243"/>
              <a:gd name="connsiteY22" fmla="*/ 77661 h 110081"/>
              <a:gd name="connsiteX23" fmla="*/ 62747 w 595243"/>
              <a:gd name="connsiteY23" fmla="*/ 77661 h 110081"/>
              <a:gd name="connsiteX24" fmla="*/ 56472 w 595243"/>
              <a:gd name="connsiteY24" fmla="*/ 108588 h 110081"/>
              <a:gd name="connsiteX25" fmla="*/ 44520 w 595243"/>
              <a:gd name="connsiteY25" fmla="*/ 108588 h 110081"/>
              <a:gd name="connsiteX26" fmla="*/ 50795 w 595243"/>
              <a:gd name="connsiteY26" fmla="*/ 77661 h 110081"/>
              <a:gd name="connsiteX27" fmla="*/ 28386 w 595243"/>
              <a:gd name="connsiteY27" fmla="*/ 77661 h 110081"/>
              <a:gd name="connsiteX28" fmla="*/ 22111 w 595243"/>
              <a:gd name="connsiteY28" fmla="*/ 108588 h 110081"/>
              <a:gd name="connsiteX29" fmla="*/ 30626 w 595243"/>
              <a:gd name="connsiteY29" fmla="*/ 67206 h 110081"/>
              <a:gd name="connsiteX30" fmla="*/ 53036 w 595243"/>
              <a:gd name="connsiteY30" fmla="*/ 67206 h 110081"/>
              <a:gd name="connsiteX31" fmla="*/ 58564 w 595243"/>
              <a:gd name="connsiteY31" fmla="*/ 40012 h 110081"/>
              <a:gd name="connsiteX32" fmla="*/ 36154 w 595243"/>
              <a:gd name="connsiteY32" fmla="*/ 40012 h 110081"/>
              <a:gd name="connsiteX33" fmla="*/ 30626 w 595243"/>
              <a:gd name="connsiteY33" fmla="*/ 67206 h 110081"/>
              <a:gd name="connsiteX34" fmla="*/ 107827 w 595243"/>
              <a:gd name="connsiteY34" fmla="*/ 1493 h 110081"/>
              <a:gd name="connsiteX35" fmla="*/ 173264 w 595243"/>
              <a:gd name="connsiteY35" fmla="*/ 1493 h 110081"/>
              <a:gd name="connsiteX36" fmla="*/ 173264 w 595243"/>
              <a:gd name="connsiteY36" fmla="*/ 14374 h 110081"/>
              <a:gd name="connsiteX37" fmla="*/ 121871 w 595243"/>
              <a:gd name="connsiteY37" fmla="*/ 14374 h 110081"/>
              <a:gd name="connsiteX38" fmla="*/ 121871 w 595243"/>
              <a:gd name="connsiteY38" fmla="*/ 49907 h 110081"/>
              <a:gd name="connsiteX39" fmla="*/ 165495 w 595243"/>
              <a:gd name="connsiteY39" fmla="*/ 49907 h 110081"/>
              <a:gd name="connsiteX40" fmla="*/ 165495 w 595243"/>
              <a:gd name="connsiteY40" fmla="*/ 62601 h 110081"/>
              <a:gd name="connsiteX41" fmla="*/ 121871 w 595243"/>
              <a:gd name="connsiteY41" fmla="*/ 62601 h 110081"/>
              <a:gd name="connsiteX42" fmla="*/ 121871 w 595243"/>
              <a:gd name="connsiteY42" fmla="*/ 108588 h 110081"/>
              <a:gd name="connsiteX43" fmla="*/ 107827 w 595243"/>
              <a:gd name="connsiteY43" fmla="*/ 108588 h 110081"/>
              <a:gd name="connsiteX44" fmla="*/ 107827 w 595243"/>
              <a:gd name="connsiteY44" fmla="*/ 1493 h 110081"/>
              <a:gd name="connsiteX45" fmla="*/ 192735 w 595243"/>
              <a:gd name="connsiteY45" fmla="*/ 1493 h 110081"/>
              <a:gd name="connsiteX46" fmla="*/ 258171 w 595243"/>
              <a:gd name="connsiteY46" fmla="*/ 1493 h 110081"/>
              <a:gd name="connsiteX47" fmla="*/ 258171 w 595243"/>
              <a:gd name="connsiteY47" fmla="*/ 14374 h 110081"/>
              <a:gd name="connsiteX48" fmla="*/ 206778 w 595243"/>
              <a:gd name="connsiteY48" fmla="*/ 14374 h 110081"/>
              <a:gd name="connsiteX49" fmla="*/ 206778 w 595243"/>
              <a:gd name="connsiteY49" fmla="*/ 49907 h 110081"/>
              <a:gd name="connsiteX50" fmla="*/ 250402 w 595243"/>
              <a:gd name="connsiteY50" fmla="*/ 49907 h 110081"/>
              <a:gd name="connsiteX51" fmla="*/ 250402 w 595243"/>
              <a:gd name="connsiteY51" fmla="*/ 62601 h 110081"/>
              <a:gd name="connsiteX52" fmla="*/ 206778 w 595243"/>
              <a:gd name="connsiteY52" fmla="*/ 62601 h 110081"/>
              <a:gd name="connsiteX53" fmla="*/ 206778 w 595243"/>
              <a:gd name="connsiteY53" fmla="*/ 108588 h 110081"/>
              <a:gd name="connsiteX54" fmla="*/ 192735 w 595243"/>
              <a:gd name="connsiteY54" fmla="*/ 108588 h 110081"/>
              <a:gd name="connsiteX55" fmla="*/ 192735 w 595243"/>
              <a:gd name="connsiteY55" fmla="*/ 1493 h 110081"/>
              <a:gd name="connsiteX56" fmla="*/ 277649 w 595243"/>
              <a:gd name="connsiteY56" fmla="*/ 1493 h 110081"/>
              <a:gd name="connsiteX57" fmla="*/ 343981 w 595243"/>
              <a:gd name="connsiteY57" fmla="*/ 1493 h 110081"/>
              <a:gd name="connsiteX58" fmla="*/ 343981 w 595243"/>
              <a:gd name="connsiteY58" fmla="*/ 14374 h 110081"/>
              <a:gd name="connsiteX59" fmla="*/ 291692 w 595243"/>
              <a:gd name="connsiteY59" fmla="*/ 14374 h 110081"/>
              <a:gd name="connsiteX60" fmla="*/ 291692 w 595243"/>
              <a:gd name="connsiteY60" fmla="*/ 46734 h 110081"/>
              <a:gd name="connsiteX61" fmla="*/ 336063 w 595243"/>
              <a:gd name="connsiteY61" fmla="*/ 46734 h 110081"/>
              <a:gd name="connsiteX62" fmla="*/ 336063 w 595243"/>
              <a:gd name="connsiteY62" fmla="*/ 59428 h 110081"/>
              <a:gd name="connsiteX63" fmla="*/ 291692 w 595243"/>
              <a:gd name="connsiteY63" fmla="*/ 59428 h 110081"/>
              <a:gd name="connsiteX64" fmla="*/ 291692 w 595243"/>
              <a:gd name="connsiteY64" fmla="*/ 95893 h 110081"/>
              <a:gd name="connsiteX65" fmla="*/ 344728 w 595243"/>
              <a:gd name="connsiteY65" fmla="*/ 95893 h 110081"/>
              <a:gd name="connsiteX66" fmla="*/ 344728 w 595243"/>
              <a:gd name="connsiteY66" fmla="*/ 108588 h 110081"/>
              <a:gd name="connsiteX67" fmla="*/ 277649 w 595243"/>
              <a:gd name="connsiteY67" fmla="*/ 108588 h 110081"/>
              <a:gd name="connsiteX68" fmla="*/ 277649 w 595243"/>
              <a:gd name="connsiteY68" fmla="*/ 1493 h 110081"/>
              <a:gd name="connsiteX69" fmla="*/ 432375 w 595243"/>
              <a:gd name="connsiteY69" fmla="*/ 73491 h 110081"/>
              <a:gd name="connsiteX70" fmla="*/ 427594 w 595243"/>
              <a:gd name="connsiteY70" fmla="*/ 92782 h 110081"/>
              <a:gd name="connsiteX71" fmla="*/ 414895 w 595243"/>
              <a:gd name="connsiteY71" fmla="*/ 105601 h 110081"/>
              <a:gd name="connsiteX72" fmla="*/ 396818 w 595243"/>
              <a:gd name="connsiteY72" fmla="*/ 110082 h 110081"/>
              <a:gd name="connsiteX73" fmla="*/ 375156 w 595243"/>
              <a:gd name="connsiteY73" fmla="*/ 104108 h 110081"/>
              <a:gd name="connsiteX74" fmla="*/ 363055 w 595243"/>
              <a:gd name="connsiteY74" fmla="*/ 87555 h 110081"/>
              <a:gd name="connsiteX75" fmla="*/ 359319 w 595243"/>
              <a:gd name="connsiteY75" fmla="*/ 63161 h 110081"/>
              <a:gd name="connsiteX76" fmla="*/ 363801 w 595243"/>
              <a:gd name="connsiteY76" fmla="*/ 30181 h 110081"/>
              <a:gd name="connsiteX77" fmla="*/ 377845 w 595243"/>
              <a:gd name="connsiteY77" fmla="*/ 8089 h 110081"/>
              <a:gd name="connsiteX78" fmla="*/ 402346 w 595243"/>
              <a:gd name="connsiteY78" fmla="*/ 0 h 110081"/>
              <a:gd name="connsiteX79" fmla="*/ 424905 w 595243"/>
              <a:gd name="connsiteY79" fmla="*/ 5538 h 110081"/>
              <a:gd name="connsiteX80" fmla="*/ 424905 w 595243"/>
              <a:gd name="connsiteY80" fmla="*/ 18855 h 110081"/>
              <a:gd name="connsiteX81" fmla="*/ 402346 w 595243"/>
              <a:gd name="connsiteY81" fmla="*/ 12259 h 110081"/>
              <a:gd name="connsiteX82" fmla="*/ 386809 w 595243"/>
              <a:gd name="connsiteY82" fmla="*/ 17361 h 110081"/>
              <a:gd name="connsiteX83" fmla="*/ 376948 w 595243"/>
              <a:gd name="connsiteY83" fmla="*/ 31238 h 110081"/>
              <a:gd name="connsiteX84" fmla="*/ 372765 w 595243"/>
              <a:gd name="connsiteY84" fmla="*/ 50778 h 110081"/>
              <a:gd name="connsiteX85" fmla="*/ 384119 w 595243"/>
              <a:gd name="connsiteY85" fmla="*/ 40759 h 110081"/>
              <a:gd name="connsiteX86" fmla="*/ 398163 w 595243"/>
              <a:gd name="connsiteY86" fmla="*/ 37523 h 110081"/>
              <a:gd name="connsiteX87" fmla="*/ 415493 w 595243"/>
              <a:gd name="connsiteY87" fmla="*/ 41693 h 110081"/>
              <a:gd name="connsiteX88" fmla="*/ 427743 w 595243"/>
              <a:gd name="connsiteY88" fmla="*/ 53952 h 110081"/>
              <a:gd name="connsiteX89" fmla="*/ 432375 w 595243"/>
              <a:gd name="connsiteY89" fmla="*/ 73491 h 110081"/>
              <a:gd name="connsiteX90" fmla="*/ 396370 w 595243"/>
              <a:gd name="connsiteY90" fmla="*/ 98134 h 110081"/>
              <a:gd name="connsiteX91" fmla="*/ 407127 w 595243"/>
              <a:gd name="connsiteY91" fmla="*/ 95458 h 110081"/>
              <a:gd name="connsiteX92" fmla="*/ 415045 w 595243"/>
              <a:gd name="connsiteY92" fmla="*/ 87244 h 110081"/>
              <a:gd name="connsiteX93" fmla="*/ 418182 w 595243"/>
              <a:gd name="connsiteY93" fmla="*/ 73803 h 110081"/>
              <a:gd name="connsiteX94" fmla="*/ 415194 w 595243"/>
              <a:gd name="connsiteY94" fmla="*/ 60174 h 110081"/>
              <a:gd name="connsiteX95" fmla="*/ 407575 w 595243"/>
              <a:gd name="connsiteY95" fmla="*/ 51961 h 110081"/>
              <a:gd name="connsiteX96" fmla="*/ 397864 w 595243"/>
              <a:gd name="connsiteY96" fmla="*/ 49160 h 110081"/>
              <a:gd name="connsiteX97" fmla="*/ 381281 w 595243"/>
              <a:gd name="connsiteY97" fmla="*/ 55570 h 110081"/>
              <a:gd name="connsiteX98" fmla="*/ 374708 w 595243"/>
              <a:gd name="connsiteY98" fmla="*/ 74114 h 110081"/>
              <a:gd name="connsiteX99" fmla="*/ 380534 w 595243"/>
              <a:gd name="connsiteY99" fmla="*/ 91538 h 110081"/>
              <a:gd name="connsiteX100" fmla="*/ 396370 w 595243"/>
              <a:gd name="connsiteY100" fmla="*/ 98134 h 110081"/>
              <a:gd name="connsiteX101" fmla="*/ 449076 w 595243"/>
              <a:gd name="connsiteY101" fmla="*/ 1493 h 110081"/>
              <a:gd name="connsiteX102" fmla="*/ 514512 w 595243"/>
              <a:gd name="connsiteY102" fmla="*/ 1493 h 110081"/>
              <a:gd name="connsiteX103" fmla="*/ 514512 w 595243"/>
              <a:gd name="connsiteY103" fmla="*/ 14374 h 110081"/>
              <a:gd name="connsiteX104" fmla="*/ 463119 w 595243"/>
              <a:gd name="connsiteY104" fmla="*/ 14374 h 110081"/>
              <a:gd name="connsiteX105" fmla="*/ 463119 w 595243"/>
              <a:gd name="connsiteY105" fmla="*/ 49907 h 110081"/>
              <a:gd name="connsiteX106" fmla="*/ 506744 w 595243"/>
              <a:gd name="connsiteY106" fmla="*/ 49907 h 110081"/>
              <a:gd name="connsiteX107" fmla="*/ 506744 w 595243"/>
              <a:gd name="connsiteY107" fmla="*/ 62601 h 110081"/>
              <a:gd name="connsiteX108" fmla="*/ 463119 w 595243"/>
              <a:gd name="connsiteY108" fmla="*/ 62601 h 110081"/>
              <a:gd name="connsiteX109" fmla="*/ 463119 w 595243"/>
              <a:gd name="connsiteY109" fmla="*/ 108588 h 110081"/>
              <a:gd name="connsiteX110" fmla="*/ 449076 w 595243"/>
              <a:gd name="connsiteY110" fmla="*/ 108588 h 110081"/>
              <a:gd name="connsiteX111" fmla="*/ 449076 w 595243"/>
              <a:gd name="connsiteY111" fmla="*/ 1493 h 110081"/>
              <a:gd name="connsiteX112" fmla="*/ 557894 w 595243"/>
              <a:gd name="connsiteY112" fmla="*/ 110082 h 110081"/>
              <a:gd name="connsiteX113" fmla="*/ 529359 w 595243"/>
              <a:gd name="connsiteY113" fmla="*/ 102490 h 110081"/>
              <a:gd name="connsiteX114" fmla="*/ 529359 w 595243"/>
              <a:gd name="connsiteY114" fmla="*/ 87804 h 110081"/>
              <a:gd name="connsiteX115" fmla="*/ 542506 w 595243"/>
              <a:gd name="connsiteY115" fmla="*/ 95458 h 110081"/>
              <a:gd name="connsiteX116" fmla="*/ 557894 w 595243"/>
              <a:gd name="connsiteY116" fmla="*/ 97823 h 110081"/>
              <a:gd name="connsiteX117" fmla="*/ 574925 w 595243"/>
              <a:gd name="connsiteY117" fmla="*/ 91102 h 110081"/>
              <a:gd name="connsiteX118" fmla="*/ 581050 w 595243"/>
              <a:gd name="connsiteY118" fmla="*/ 73491 h 110081"/>
              <a:gd name="connsiteX119" fmla="*/ 575074 w 595243"/>
              <a:gd name="connsiteY119" fmla="*/ 56441 h 110081"/>
              <a:gd name="connsiteX120" fmla="*/ 559985 w 595243"/>
              <a:gd name="connsiteY120" fmla="*/ 51089 h 110081"/>
              <a:gd name="connsiteX121" fmla="*/ 549378 w 595243"/>
              <a:gd name="connsiteY121" fmla="*/ 53329 h 110081"/>
              <a:gd name="connsiteX122" fmla="*/ 543253 w 595243"/>
              <a:gd name="connsiteY122" fmla="*/ 57810 h 110081"/>
              <a:gd name="connsiteX123" fmla="*/ 532347 w 595243"/>
              <a:gd name="connsiteY123" fmla="*/ 57810 h 110081"/>
              <a:gd name="connsiteX124" fmla="*/ 532347 w 595243"/>
              <a:gd name="connsiteY124" fmla="*/ 1493 h 110081"/>
              <a:gd name="connsiteX125" fmla="*/ 590313 w 595243"/>
              <a:gd name="connsiteY125" fmla="*/ 1493 h 110081"/>
              <a:gd name="connsiteX126" fmla="*/ 590313 w 595243"/>
              <a:gd name="connsiteY126" fmla="*/ 14374 h 110081"/>
              <a:gd name="connsiteX127" fmla="*/ 544597 w 595243"/>
              <a:gd name="connsiteY127" fmla="*/ 14374 h 110081"/>
              <a:gd name="connsiteX128" fmla="*/ 544597 w 595243"/>
              <a:gd name="connsiteY128" fmla="*/ 44991 h 110081"/>
              <a:gd name="connsiteX129" fmla="*/ 551918 w 595243"/>
              <a:gd name="connsiteY129" fmla="*/ 41071 h 110081"/>
              <a:gd name="connsiteX130" fmla="*/ 562226 w 595243"/>
              <a:gd name="connsiteY130" fmla="*/ 39266 h 110081"/>
              <a:gd name="connsiteX131" fmla="*/ 578959 w 595243"/>
              <a:gd name="connsiteY131" fmla="*/ 43186 h 110081"/>
              <a:gd name="connsiteX132" fmla="*/ 590761 w 595243"/>
              <a:gd name="connsiteY132" fmla="*/ 54512 h 110081"/>
              <a:gd name="connsiteX133" fmla="*/ 595243 w 595243"/>
              <a:gd name="connsiteY133" fmla="*/ 73181 h 110081"/>
              <a:gd name="connsiteX134" fmla="*/ 590612 w 595243"/>
              <a:gd name="connsiteY134" fmla="*/ 92596 h 110081"/>
              <a:gd name="connsiteX135" fmla="*/ 577764 w 595243"/>
              <a:gd name="connsiteY135" fmla="*/ 105601 h 110081"/>
              <a:gd name="connsiteX136" fmla="*/ 557894 w 595243"/>
              <a:gd name="connsiteY136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59524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7649" y="1493"/>
                </a:moveTo>
                <a:lnTo>
                  <a:pt x="343981" y="1493"/>
                </a:lnTo>
                <a:lnTo>
                  <a:pt x="343981" y="14374"/>
                </a:lnTo>
                <a:lnTo>
                  <a:pt x="291692" y="14374"/>
                </a:lnTo>
                <a:lnTo>
                  <a:pt x="291692" y="46734"/>
                </a:lnTo>
                <a:lnTo>
                  <a:pt x="336063" y="46734"/>
                </a:lnTo>
                <a:lnTo>
                  <a:pt x="336063" y="59428"/>
                </a:lnTo>
                <a:lnTo>
                  <a:pt x="291692" y="59428"/>
                </a:lnTo>
                <a:lnTo>
                  <a:pt x="291692" y="95893"/>
                </a:lnTo>
                <a:lnTo>
                  <a:pt x="344728" y="95893"/>
                </a:lnTo>
                <a:lnTo>
                  <a:pt x="344728" y="108588"/>
                </a:lnTo>
                <a:lnTo>
                  <a:pt x="277649" y="108588"/>
                </a:lnTo>
                <a:lnTo>
                  <a:pt x="277649" y="1493"/>
                </a:lnTo>
                <a:close/>
                <a:moveTo>
                  <a:pt x="432375" y="73491"/>
                </a:moveTo>
                <a:cubicBezTo>
                  <a:pt x="432375" y="80772"/>
                  <a:pt x="430781" y="87182"/>
                  <a:pt x="427594" y="92782"/>
                </a:cubicBezTo>
                <a:cubicBezTo>
                  <a:pt x="424507" y="98258"/>
                  <a:pt x="420273" y="102490"/>
                  <a:pt x="414895" y="105601"/>
                </a:cubicBezTo>
                <a:cubicBezTo>
                  <a:pt x="409517" y="108588"/>
                  <a:pt x="403491" y="110082"/>
                  <a:pt x="396818" y="110082"/>
                </a:cubicBezTo>
                <a:cubicBezTo>
                  <a:pt x="387855" y="110082"/>
                  <a:pt x="380633" y="108091"/>
                  <a:pt x="375156" y="104108"/>
                </a:cubicBezTo>
                <a:cubicBezTo>
                  <a:pt x="369678" y="100125"/>
                  <a:pt x="365644" y="94587"/>
                  <a:pt x="363055" y="87555"/>
                </a:cubicBezTo>
                <a:cubicBezTo>
                  <a:pt x="360564" y="80461"/>
                  <a:pt x="359319" y="72372"/>
                  <a:pt x="359319" y="63161"/>
                </a:cubicBezTo>
                <a:cubicBezTo>
                  <a:pt x="359319" y="50653"/>
                  <a:pt x="360813" y="39639"/>
                  <a:pt x="363801" y="30181"/>
                </a:cubicBezTo>
                <a:cubicBezTo>
                  <a:pt x="366889" y="20722"/>
                  <a:pt x="371570" y="13379"/>
                  <a:pt x="377845" y="8089"/>
                </a:cubicBezTo>
                <a:cubicBezTo>
                  <a:pt x="384219" y="2675"/>
                  <a:pt x="392386" y="0"/>
                  <a:pt x="402346" y="0"/>
                </a:cubicBezTo>
                <a:cubicBezTo>
                  <a:pt x="410911" y="0"/>
                  <a:pt x="418431" y="1866"/>
                  <a:pt x="424905" y="5538"/>
                </a:cubicBezTo>
                <a:lnTo>
                  <a:pt x="424905" y="18855"/>
                </a:lnTo>
                <a:cubicBezTo>
                  <a:pt x="418431" y="14437"/>
                  <a:pt x="410911" y="12259"/>
                  <a:pt x="402346" y="12259"/>
                </a:cubicBezTo>
                <a:cubicBezTo>
                  <a:pt x="396171" y="12259"/>
                  <a:pt x="390992" y="13939"/>
                  <a:pt x="386809" y="17361"/>
                </a:cubicBezTo>
                <a:cubicBezTo>
                  <a:pt x="382625" y="20722"/>
                  <a:pt x="379339" y="25327"/>
                  <a:pt x="376948" y="31238"/>
                </a:cubicBezTo>
                <a:cubicBezTo>
                  <a:pt x="374657" y="37026"/>
                  <a:pt x="373263" y="43498"/>
                  <a:pt x="372765" y="50778"/>
                </a:cubicBezTo>
                <a:cubicBezTo>
                  <a:pt x="376052" y="46298"/>
                  <a:pt x="379837" y="42999"/>
                  <a:pt x="384119" y="40759"/>
                </a:cubicBezTo>
                <a:cubicBezTo>
                  <a:pt x="388402" y="38581"/>
                  <a:pt x="393083" y="37523"/>
                  <a:pt x="398163" y="37523"/>
                </a:cubicBezTo>
                <a:cubicBezTo>
                  <a:pt x="404637" y="37523"/>
                  <a:pt x="410413" y="38893"/>
                  <a:pt x="415493" y="41693"/>
                </a:cubicBezTo>
                <a:cubicBezTo>
                  <a:pt x="420672" y="44493"/>
                  <a:pt x="424756" y="48538"/>
                  <a:pt x="427743" y="53952"/>
                </a:cubicBezTo>
                <a:cubicBezTo>
                  <a:pt x="430831" y="59179"/>
                  <a:pt x="432375" y="65713"/>
                  <a:pt x="432375" y="73491"/>
                </a:cubicBezTo>
                <a:close/>
                <a:moveTo>
                  <a:pt x="396370" y="98134"/>
                </a:moveTo>
                <a:cubicBezTo>
                  <a:pt x="400254" y="98134"/>
                  <a:pt x="403840" y="97263"/>
                  <a:pt x="407127" y="95458"/>
                </a:cubicBezTo>
                <a:cubicBezTo>
                  <a:pt x="410413" y="93529"/>
                  <a:pt x="413053" y="90791"/>
                  <a:pt x="415045" y="87244"/>
                </a:cubicBezTo>
                <a:cubicBezTo>
                  <a:pt x="417136" y="83635"/>
                  <a:pt x="418182" y="79154"/>
                  <a:pt x="418182" y="73803"/>
                </a:cubicBezTo>
                <a:cubicBezTo>
                  <a:pt x="418182" y="68389"/>
                  <a:pt x="417186" y="63908"/>
                  <a:pt x="415194" y="60174"/>
                </a:cubicBezTo>
                <a:cubicBezTo>
                  <a:pt x="413202" y="56503"/>
                  <a:pt x="410663" y="53765"/>
                  <a:pt x="407575" y="51961"/>
                </a:cubicBezTo>
                <a:cubicBezTo>
                  <a:pt x="404487" y="50093"/>
                  <a:pt x="401250" y="49160"/>
                  <a:pt x="397864" y="49160"/>
                </a:cubicBezTo>
                <a:cubicBezTo>
                  <a:pt x="391291" y="49160"/>
                  <a:pt x="385763" y="51276"/>
                  <a:pt x="381281" y="55570"/>
                </a:cubicBezTo>
                <a:cubicBezTo>
                  <a:pt x="376899" y="59739"/>
                  <a:pt x="374708" y="65900"/>
                  <a:pt x="374708" y="74114"/>
                </a:cubicBezTo>
                <a:cubicBezTo>
                  <a:pt x="374708" y="81270"/>
                  <a:pt x="376649" y="87058"/>
                  <a:pt x="380534" y="91538"/>
                </a:cubicBezTo>
                <a:cubicBezTo>
                  <a:pt x="384418" y="95956"/>
                  <a:pt x="389697" y="98134"/>
                  <a:pt x="396370" y="98134"/>
                </a:cubicBezTo>
                <a:close/>
                <a:moveTo>
                  <a:pt x="449076" y="1493"/>
                </a:moveTo>
                <a:lnTo>
                  <a:pt x="514512" y="1493"/>
                </a:lnTo>
                <a:lnTo>
                  <a:pt x="514512" y="14374"/>
                </a:lnTo>
                <a:lnTo>
                  <a:pt x="463119" y="14374"/>
                </a:lnTo>
                <a:lnTo>
                  <a:pt x="463119" y="49907"/>
                </a:lnTo>
                <a:lnTo>
                  <a:pt x="506744" y="49907"/>
                </a:lnTo>
                <a:lnTo>
                  <a:pt x="506744" y="62601"/>
                </a:lnTo>
                <a:lnTo>
                  <a:pt x="463119" y="62601"/>
                </a:lnTo>
                <a:lnTo>
                  <a:pt x="463119" y="108588"/>
                </a:lnTo>
                <a:lnTo>
                  <a:pt x="449076" y="108588"/>
                </a:lnTo>
                <a:lnTo>
                  <a:pt x="449076" y="1493"/>
                </a:lnTo>
                <a:close/>
                <a:moveTo>
                  <a:pt x="557894" y="110082"/>
                </a:moveTo>
                <a:cubicBezTo>
                  <a:pt x="545942" y="110082"/>
                  <a:pt x="536430" y="107530"/>
                  <a:pt x="529359" y="102490"/>
                </a:cubicBezTo>
                <a:lnTo>
                  <a:pt x="529359" y="87804"/>
                </a:lnTo>
                <a:cubicBezTo>
                  <a:pt x="533542" y="91226"/>
                  <a:pt x="537924" y="93778"/>
                  <a:pt x="542506" y="95458"/>
                </a:cubicBezTo>
                <a:cubicBezTo>
                  <a:pt x="547087" y="97014"/>
                  <a:pt x="552217" y="97823"/>
                  <a:pt x="557894" y="97823"/>
                </a:cubicBezTo>
                <a:cubicBezTo>
                  <a:pt x="565264" y="97823"/>
                  <a:pt x="570941" y="95583"/>
                  <a:pt x="574925" y="91102"/>
                </a:cubicBezTo>
                <a:cubicBezTo>
                  <a:pt x="579008" y="86621"/>
                  <a:pt x="581050" y="80772"/>
                  <a:pt x="581050" y="73491"/>
                </a:cubicBezTo>
                <a:cubicBezTo>
                  <a:pt x="581050" y="65713"/>
                  <a:pt x="579058" y="60050"/>
                  <a:pt x="575074" y="56441"/>
                </a:cubicBezTo>
                <a:cubicBezTo>
                  <a:pt x="571090" y="52894"/>
                  <a:pt x="566061" y="51089"/>
                  <a:pt x="559985" y="51089"/>
                </a:cubicBezTo>
                <a:cubicBezTo>
                  <a:pt x="555603" y="51089"/>
                  <a:pt x="552067" y="51836"/>
                  <a:pt x="549378" y="53329"/>
                </a:cubicBezTo>
                <a:cubicBezTo>
                  <a:pt x="546689" y="54698"/>
                  <a:pt x="544647" y="56192"/>
                  <a:pt x="543253" y="57810"/>
                </a:cubicBezTo>
                <a:lnTo>
                  <a:pt x="532347" y="57810"/>
                </a:lnTo>
                <a:lnTo>
                  <a:pt x="532347" y="1493"/>
                </a:lnTo>
                <a:lnTo>
                  <a:pt x="590313" y="1493"/>
                </a:lnTo>
                <a:lnTo>
                  <a:pt x="590313" y="14374"/>
                </a:lnTo>
                <a:lnTo>
                  <a:pt x="544597" y="14374"/>
                </a:lnTo>
                <a:lnTo>
                  <a:pt x="544597" y="44991"/>
                </a:lnTo>
                <a:cubicBezTo>
                  <a:pt x="546589" y="43498"/>
                  <a:pt x="549029" y="42190"/>
                  <a:pt x="551918" y="41071"/>
                </a:cubicBezTo>
                <a:cubicBezTo>
                  <a:pt x="554806" y="39888"/>
                  <a:pt x="558242" y="39266"/>
                  <a:pt x="562226" y="39266"/>
                </a:cubicBezTo>
                <a:cubicBezTo>
                  <a:pt x="568401" y="39266"/>
                  <a:pt x="573979" y="40572"/>
                  <a:pt x="578959" y="43186"/>
                </a:cubicBezTo>
                <a:cubicBezTo>
                  <a:pt x="583939" y="45675"/>
                  <a:pt x="587873" y="49471"/>
                  <a:pt x="590761" y="54512"/>
                </a:cubicBezTo>
                <a:cubicBezTo>
                  <a:pt x="593749" y="59490"/>
                  <a:pt x="595243" y="65713"/>
                  <a:pt x="595243" y="73181"/>
                </a:cubicBezTo>
                <a:cubicBezTo>
                  <a:pt x="595243" y="80586"/>
                  <a:pt x="593699" y="87058"/>
                  <a:pt x="590612" y="92596"/>
                </a:cubicBezTo>
                <a:cubicBezTo>
                  <a:pt x="587624" y="98196"/>
                  <a:pt x="583341" y="102490"/>
                  <a:pt x="577764" y="105601"/>
                </a:cubicBezTo>
                <a:cubicBezTo>
                  <a:pt x="572186" y="108588"/>
                  <a:pt x="565563" y="110082"/>
                  <a:pt x="557894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1" name="Полилиния 1080">
            <a:extLst>
              <a:ext uri="{FF2B5EF4-FFF2-40B4-BE49-F238E27FC236}">
                <a16:creationId xmlns:a16="http://schemas.microsoft.com/office/drawing/2014/main" id="{704BF7C7-0D23-320F-3894-3EA07A16A4C0}"/>
              </a:ext>
            </a:extLst>
          </p:cNvPr>
          <p:cNvSpPr/>
          <p:nvPr userDrawn="1"/>
        </p:nvSpPr>
        <p:spPr>
          <a:xfrm>
            <a:off x="21534071" y="3787620"/>
            <a:ext cx="1398954" cy="726227"/>
          </a:xfrm>
          <a:custGeom>
            <a:avLst/>
            <a:gdLst>
              <a:gd name="connsiteX0" fmla="*/ 1275 w 1198727"/>
              <a:gd name="connsiteY0" fmla="*/ 1022 h 622284"/>
              <a:gd name="connsiteX1" fmla="*/ 1200003 w 1198727"/>
              <a:gd name="connsiteY1" fmla="*/ 1022 h 622284"/>
              <a:gd name="connsiteX2" fmla="*/ 1200003 w 1198727"/>
              <a:gd name="connsiteY2" fmla="*/ 623306 h 622284"/>
              <a:gd name="connsiteX3" fmla="*/ 1275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022"/>
                </a:moveTo>
                <a:lnTo>
                  <a:pt x="1200003" y="1022"/>
                </a:lnTo>
                <a:lnTo>
                  <a:pt x="1200003" y="623306"/>
                </a:lnTo>
                <a:lnTo>
                  <a:pt x="1275" y="623306"/>
                </a:lnTo>
                <a:close/>
              </a:path>
            </a:pathLst>
          </a:custGeom>
          <a:solidFill>
            <a:srgbClr val="7864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2" name="Полилиния 1081">
            <a:extLst>
              <a:ext uri="{FF2B5EF4-FFF2-40B4-BE49-F238E27FC236}">
                <a16:creationId xmlns:a16="http://schemas.microsoft.com/office/drawing/2014/main" id="{C0295625-C815-D382-5FD4-8F10BD6B5DBD}"/>
              </a:ext>
            </a:extLst>
          </p:cNvPr>
          <p:cNvSpPr/>
          <p:nvPr userDrawn="1"/>
        </p:nvSpPr>
        <p:spPr>
          <a:xfrm>
            <a:off x="21657280" y="4089368"/>
            <a:ext cx="679609" cy="128468"/>
          </a:xfrm>
          <a:custGeom>
            <a:avLst/>
            <a:gdLst>
              <a:gd name="connsiteX0" fmla="*/ 22099 w 582339"/>
              <a:gd name="connsiteY0" fmla="*/ 108588 h 110081"/>
              <a:gd name="connsiteX1" fmla="*/ 10147 w 582339"/>
              <a:gd name="connsiteY1" fmla="*/ 108588 h 110081"/>
              <a:gd name="connsiteX2" fmla="*/ 16434 w 582339"/>
              <a:gd name="connsiteY2" fmla="*/ 77661 h 110081"/>
              <a:gd name="connsiteX3" fmla="*/ 0 w 582339"/>
              <a:gd name="connsiteY3" fmla="*/ 77661 h 110081"/>
              <a:gd name="connsiteX4" fmla="*/ 0 w 582339"/>
              <a:gd name="connsiteY4" fmla="*/ 67206 h 110081"/>
              <a:gd name="connsiteX5" fmla="*/ 18675 w 582339"/>
              <a:gd name="connsiteY5" fmla="*/ 67206 h 110081"/>
              <a:gd name="connsiteX6" fmla="*/ 24215 w 582339"/>
              <a:gd name="connsiteY6" fmla="*/ 40012 h 110081"/>
              <a:gd name="connsiteX7" fmla="*/ 4046 w 582339"/>
              <a:gd name="connsiteY7" fmla="*/ 40012 h 110081"/>
              <a:gd name="connsiteX8" fmla="*/ 4046 w 582339"/>
              <a:gd name="connsiteY8" fmla="*/ 29559 h 110081"/>
              <a:gd name="connsiteX9" fmla="*/ 26269 w 582339"/>
              <a:gd name="connsiteY9" fmla="*/ 29559 h 110081"/>
              <a:gd name="connsiteX10" fmla="*/ 32121 w 582339"/>
              <a:gd name="connsiteY10" fmla="*/ 1493 h 110081"/>
              <a:gd name="connsiteX11" fmla="*/ 44073 w 582339"/>
              <a:gd name="connsiteY11" fmla="*/ 1493 h 110081"/>
              <a:gd name="connsiteX12" fmla="*/ 38221 w 582339"/>
              <a:gd name="connsiteY12" fmla="*/ 29559 h 110081"/>
              <a:gd name="connsiteX13" fmla="*/ 60630 w 582339"/>
              <a:gd name="connsiteY13" fmla="*/ 29559 h 110081"/>
              <a:gd name="connsiteX14" fmla="*/ 66482 w 582339"/>
              <a:gd name="connsiteY14" fmla="*/ 1493 h 110081"/>
              <a:gd name="connsiteX15" fmla="*/ 78434 w 582339"/>
              <a:gd name="connsiteY15" fmla="*/ 1493 h 110081"/>
              <a:gd name="connsiteX16" fmla="*/ 72582 w 582339"/>
              <a:gd name="connsiteY16" fmla="*/ 29559 h 110081"/>
              <a:gd name="connsiteX17" fmla="*/ 89327 w 582339"/>
              <a:gd name="connsiteY17" fmla="*/ 29559 h 110081"/>
              <a:gd name="connsiteX18" fmla="*/ 89327 w 582339"/>
              <a:gd name="connsiteY18" fmla="*/ 40012 h 110081"/>
              <a:gd name="connsiteX19" fmla="*/ 70529 w 582339"/>
              <a:gd name="connsiteY19" fmla="*/ 40012 h 110081"/>
              <a:gd name="connsiteX20" fmla="*/ 64988 w 582339"/>
              <a:gd name="connsiteY20" fmla="*/ 67206 h 110081"/>
              <a:gd name="connsiteX21" fmla="*/ 85282 w 582339"/>
              <a:gd name="connsiteY21" fmla="*/ 67206 h 110081"/>
              <a:gd name="connsiteX22" fmla="*/ 85282 w 582339"/>
              <a:gd name="connsiteY22" fmla="*/ 77661 h 110081"/>
              <a:gd name="connsiteX23" fmla="*/ 62747 w 582339"/>
              <a:gd name="connsiteY23" fmla="*/ 77661 h 110081"/>
              <a:gd name="connsiteX24" fmla="*/ 56460 w 582339"/>
              <a:gd name="connsiteY24" fmla="*/ 108588 h 110081"/>
              <a:gd name="connsiteX25" fmla="*/ 44508 w 582339"/>
              <a:gd name="connsiteY25" fmla="*/ 108588 h 110081"/>
              <a:gd name="connsiteX26" fmla="*/ 50795 w 582339"/>
              <a:gd name="connsiteY26" fmla="*/ 77661 h 110081"/>
              <a:gd name="connsiteX27" fmla="*/ 28386 w 582339"/>
              <a:gd name="connsiteY27" fmla="*/ 77661 h 110081"/>
              <a:gd name="connsiteX28" fmla="*/ 22099 w 582339"/>
              <a:gd name="connsiteY28" fmla="*/ 108588 h 110081"/>
              <a:gd name="connsiteX29" fmla="*/ 30627 w 582339"/>
              <a:gd name="connsiteY29" fmla="*/ 67206 h 110081"/>
              <a:gd name="connsiteX30" fmla="*/ 53036 w 582339"/>
              <a:gd name="connsiteY30" fmla="*/ 67206 h 110081"/>
              <a:gd name="connsiteX31" fmla="*/ 58576 w 582339"/>
              <a:gd name="connsiteY31" fmla="*/ 40012 h 110081"/>
              <a:gd name="connsiteX32" fmla="*/ 36167 w 582339"/>
              <a:gd name="connsiteY32" fmla="*/ 40012 h 110081"/>
              <a:gd name="connsiteX33" fmla="*/ 30627 w 582339"/>
              <a:gd name="connsiteY33" fmla="*/ 67206 h 110081"/>
              <a:gd name="connsiteX34" fmla="*/ 170874 w 582339"/>
              <a:gd name="connsiteY34" fmla="*/ 13628 h 110081"/>
              <a:gd name="connsiteX35" fmla="*/ 125432 w 582339"/>
              <a:gd name="connsiteY35" fmla="*/ 108588 h 110081"/>
              <a:gd name="connsiteX36" fmla="*/ 110803 w 582339"/>
              <a:gd name="connsiteY36" fmla="*/ 108588 h 110081"/>
              <a:gd name="connsiteX37" fmla="*/ 156556 w 582339"/>
              <a:gd name="connsiteY37" fmla="*/ 14374 h 110081"/>
              <a:gd name="connsiteX38" fmla="*/ 102026 w 582339"/>
              <a:gd name="connsiteY38" fmla="*/ 14374 h 110081"/>
              <a:gd name="connsiteX39" fmla="*/ 102026 w 582339"/>
              <a:gd name="connsiteY39" fmla="*/ 1493 h 110081"/>
              <a:gd name="connsiteX40" fmla="*/ 170874 w 582339"/>
              <a:gd name="connsiteY40" fmla="*/ 1493 h 110081"/>
              <a:gd name="connsiteX41" fmla="*/ 170874 w 582339"/>
              <a:gd name="connsiteY41" fmla="*/ 13628 h 110081"/>
              <a:gd name="connsiteX42" fmla="*/ 218930 w 582339"/>
              <a:gd name="connsiteY42" fmla="*/ 110082 h 110081"/>
              <a:gd name="connsiteX43" fmla="*/ 200255 w 582339"/>
              <a:gd name="connsiteY43" fmla="*/ 106473 h 110081"/>
              <a:gd name="connsiteX44" fmla="*/ 187556 w 582339"/>
              <a:gd name="connsiteY44" fmla="*/ 96205 h 110081"/>
              <a:gd name="connsiteX45" fmla="*/ 182950 w 582339"/>
              <a:gd name="connsiteY45" fmla="*/ 79777 h 110081"/>
              <a:gd name="connsiteX46" fmla="*/ 188303 w 582339"/>
              <a:gd name="connsiteY46" fmla="*/ 62291 h 110081"/>
              <a:gd name="connsiteX47" fmla="*/ 203118 w 582339"/>
              <a:gd name="connsiteY47" fmla="*/ 51711 h 110081"/>
              <a:gd name="connsiteX48" fmla="*/ 191167 w 582339"/>
              <a:gd name="connsiteY48" fmla="*/ 42564 h 110081"/>
              <a:gd name="connsiteX49" fmla="*/ 186809 w 582339"/>
              <a:gd name="connsiteY49" fmla="*/ 27504 h 110081"/>
              <a:gd name="connsiteX50" fmla="*/ 191042 w 582339"/>
              <a:gd name="connsiteY50" fmla="*/ 12570 h 110081"/>
              <a:gd name="connsiteX51" fmla="*/ 202496 w 582339"/>
              <a:gd name="connsiteY51" fmla="*/ 3298 h 110081"/>
              <a:gd name="connsiteX52" fmla="*/ 218930 w 582339"/>
              <a:gd name="connsiteY52" fmla="*/ 186 h 110081"/>
              <a:gd name="connsiteX53" fmla="*/ 235114 w 582339"/>
              <a:gd name="connsiteY53" fmla="*/ 3298 h 110081"/>
              <a:gd name="connsiteX54" fmla="*/ 246443 w 582339"/>
              <a:gd name="connsiteY54" fmla="*/ 12259 h 110081"/>
              <a:gd name="connsiteX55" fmla="*/ 250801 w 582339"/>
              <a:gd name="connsiteY55" fmla="*/ 27194 h 110081"/>
              <a:gd name="connsiteX56" fmla="*/ 246320 w 582339"/>
              <a:gd name="connsiteY56" fmla="*/ 42439 h 110081"/>
              <a:gd name="connsiteX57" fmla="*/ 234492 w 582339"/>
              <a:gd name="connsiteY57" fmla="*/ 51711 h 110081"/>
              <a:gd name="connsiteX58" fmla="*/ 248809 w 582339"/>
              <a:gd name="connsiteY58" fmla="*/ 61855 h 110081"/>
              <a:gd name="connsiteX59" fmla="*/ 254349 w 582339"/>
              <a:gd name="connsiteY59" fmla="*/ 79341 h 110081"/>
              <a:gd name="connsiteX60" fmla="*/ 249743 w 582339"/>
              <a:gd name="connsiteY60" fmla="*/ 95893 h 110081"/>
              <a:gd name="connsiteX61" fmla="*/ 237044 w 582339"/>
              <a:gd name="connsiteY61" fmla="*/ 106473 h 110081"/>
              <a:gd name="connsiteX62" fmla="*/ 218930 w 582339"/>
              <a:gd name="connsiteY62" fmla="*/ 110082 h 110081"/>
              <a:gd name="connsiteX63" fmla="*/ 218930 w 582339"/>
              <a:gd name="connsiteY63" fmla="*/ 46298 h 110081"/>
              <a:gd name="connsiteX64" fmla="*/ 231940 w 582339"/>
              <a:gd name="connsiteY64" fmla="*/ 41817 h 110081"/>
              <a:gd name="connsiteX65" fmla="*/ 237168 w 582339"/>
              <a:gd name="connsiteY65" fmla="*/ 29122 h 110081"/>
              <a:gd name="connsiteX66" fmla="*/ 231940 w 582339"/>
              <a:gd name="connsiteY66" fmla="*/ 16615 h 110081"/>
              <a:gd name="connsiteX67" fmla="*/ 218930 w 582339"/>
              <a:gd name="connsiteY67" fmla="*/ 11947 h 110081"/>
              <a:gd name="connsiteX68" fmla="*/ 205671 w 582339"/>
              <a:gd name="connsiteY68" fmla="*/ 16615 h 110081"/>
              <a:gd name="connsiteX69" fmla="*/ 200442 w 582339"/>
              <a:gd name="connsiteY69" fmla="*/ 29122 h 110081"/>
              <a:gd name="connsiteX70" fmla="*/ 205671 w 582339"/>
              <a:gd name="connsiteY70" fmla="*/ 41817 h 110081"/>
              <a:gd name="connsiteX71" fmla="*/ 218930 w 582339"/>
              <a:gd name="connsiteY71" fmla="*/ 46298 h 110081"/>
              <a:gd name="connsiteX72" fmla="*/ 218930 w 582339"/>
              <a:gd name="connsiteY72" fmla="*/ 98258 h 110081"/>
              <a:gd name="connsiteX73" fmla="*/ 234367 w 582339"/>
              <a:gd name="connsiteY73" fmla="*/ 92907 h 110081"/>
              <a:gd name="connsiteX74" fmla="*/ 240592 w 582339"/>
              <a:gd name="connsiteY74" fmla="*/ 77536 h 110081"/>
              <a:gd name="connsiteX75" fmla="*/ 234367 w 582339"/>
              <a:gd name="connsiteY75" fmla="*/ 62291 h 110081"/>
              <a:gd name="connsiteX76" fmla="*/ 218930 w 582339"/>
              <a:gd name="connsiteY76" fmla="*/ 56752 h 110081"/>
              <a:gd name="connsiteX77" fmla="*/ 202994 w 582339"/>
              <a:gd name="connsiteY77" fmla="*/ 62291 h 110081"/>
              <a:gd name="connsiteX78" fmla="*/ 196707 w 582339"/>
              <a:gd name="connsiteY78" fmla="*/ 77536 h 110081"/>
              <a:gd name="connsiteX79" fmla="*/ 202994 w 582339"/>
              <a:gd name="connsiteY79" fmla="*/ 92907 h 110081"/>
              <a:gd name="connsiteX80" fmla="*/ 218930 w 582339"/>
              <a:gd name="connsiteY80" fmla="*/ 98258 h 110081"/>
              <a:gd name="connsiteX81" fmla="*/ 337514 w 582339"/>
              <a:gd name="connsiteY81" fmla="*/ 73491 h 110081"/>
              <a:gd name="connsiteX82" fmla="*/ 332783 w 582339"/>
              <a:gd name="connsiteY82" fmla="*/ 92782 h 110081"/>
              <a:gd name="connsiteX83" fmla="*/ 320084 w 582339"/>
              <a:gd name="connsiteY83" fmla="*/ 105601 h 110081"/>
              <a:gd name="connsiteX84" fmla="*/ 301970 w 582339"/>
              <a:gd name="connsiteY84" fmla="*/ 110082 h 110081"/>
              <a:gd name="connsiteX85" fmla="*/ 280307 w 582339"/>
              <a:gd name="connsiteY85" fmla="*/ 104108 h 110081"/>
              <a:gd name="connsiteX86" fmla="*/ 268231 w 582339"/>
              <a:gd name="connsiteY86" fmla="*/ 87555 h 110081"/>
              <a:gd name="connsiteX87" fmla="*/ 264496 w 582339"/>
              <a:gd name="connsiteY87" fmla="*/ 63161 h 110081"/>
              <a:gd name="connsiteX88" fmla="*/ 268978 w 582339"/>
              <a:gd name="connsiteY88" fmla="*/ 30181 h 110081"/>
              <a:gd name="connsiteX89" fmla="*/ 282984 w 582339"/>
              <a:gd name="connsiteY89" fmla="*/ 8089 h 110081"/>
              <a:gd name="connsiteX90" fmla="*/ 307510 w 582339"/>
              <a:gd name="connsiteY90" fmla="*/ 0 h 110081"/>
              <a:gd name="connsiteX91" fmla="*/ 330044 w 582339"/>
              <a:gd name="connsiteY91" fmla="*/ 5538 h 110081"/>
              <a:gd name="connsiteX92" fmla="*/ 330044 w 582339"/>
              <a:gd name="connsiteY92" fmla="*/ 18855 h 110081"/>
              <a:gd name="connsiteX93" fmla="*/ 307510 w 582339"/>
              <a:gd name="connsiteY93" fmla="*/ 12259 h 110081"/>
              <a:gd name="connsiteX94" fmla="*/ 291948 w 582339"/>
              <a:gd name="connsiteY94" fmla="*/ 17361 h 110081"/>
              <a:gd name="connsiteX95" fmla="*/ 282113 w 582339"/>
              <a:gd name="connsiteY95" fmla="*/ 31238 h 110081"/>
              <a:gd name="connsiteX96" fmla="*/ 277942 w 582339"/>
              <a:gd name="connsiteY96" fmla="*/ 50778 h 110081"/>
              <a:gd name="connsiteX97" fmla="*/ 289271 w 582339"/>
              <a:gd name="connsiteY97" fmla="*/ 40759 h 110081"/>
              <a:gd name="connsiteX98" fmla="*/ 303339 w 582339"/>
              <a:gd name="connsiteY98" fmla="*/ 37523 h 110081"/>
              <a:gd name="connsiteX99" fmla="*/ 320644 w 582339"/>
              <a:gd name="connsiteY99" fmla="*/ 41693 h 110081"/>
              <a:gd name="connsiteX100" fmla="*/ 332907 w 582339"/>
              <a:gd name="connsiteY100" fmla="*/ 53952 h 110081"/>
              <a:gd name="connsiteX101" fmla="*/ 337514 w 582339"/>
              <a:gd name="connsiteY101" fmla="*/ 73491 h 110081"/>
              <a:gd name="connsiteX102" fmla="*/ 301534 w 582339"/>
              <a:gd name="connsiteY102" fmla="*/ 98134 h 110081"/>
              <a:gd name="connsiteX103" fmla="*/ 312303 w 582339"/>
              <a:gd name="connsiteY103" fmla="*/ 95458 h 110081"/>
              <a:gd name="connsiteX104" fmla="*/ 320209 w 582339"/>
              <a:gd name="connsiteY104" fmla="*/ 87244 h 110081"/>
              <a:gd name="connsiteX105" fmla="*/ 323321 w 582339"/>
              <a:gd name="connsiteY105" fmla="*/ 73803 h 110081"/>
              <a:gd name="connsiteX106" fmla="*/ 320334 w 582339"/>
              <a:gd name="connsiteY106" fmla="*/ 60174 h 110081"/>
              <a:gd name="connsiteX107" fmla="*/ 312739 w 582339"/>
              <a:gd name="connsiteY107" fmla="*/ 51961 h 110081"/>
              <a:gd name="connsiteX108" fmla="*/ 303028 w 582339"/>
              <a:gd name="connsiteY108" fmla="*/ 49160 h 110081"/>
              <a:gd name="connsiteX109" fmla="*/ 286470 w 582339"/>
              <a:gd name="connsiteY109" fmla="*/ 55570 h 110081"/>
              <a:gd name="connsiteX110" fmla="*/ 279872 w 582339"/>
              <a:gd name="connsiteY110" fmla="*/ 74114 h 110081"/>
              <a:gd name="connsiteX111" fmla="*/ 285723 w 582339"/>
              <a:gd name="connsiteY111" fmla="*/ 91538 h 110081"/>
              <a:gd name="connsiteX112" fmla="*/ 301534 w 582339"/>
              <a:gd name="connsiteY112" fmla="*/ 98134 h 110081"/>
              <a:gd name="connsiteX113" fmla="*/ 405178 w 582339"/>
              <a:gd name="connsiteY113" fmla="*/ 108588 h 110081"/>
              <a:gd name="connsiteX114" fmla="*/ 392044 w 582339"/>
              <a:gd name="connsiteY114" fmla="*/ 108588 h 110081"/>
              <a:gd name="connsiteX115" fmla="*/ 392044 w 582339"/>
              <a:gd name="connsiteY115" fmla="*/ 83199 h 110081"/>
              <a:gd name="connsiteX116" fmla="*/ 345731 w 582339"/>
              <a:gd name="connsiteY116" fmla="*/ 83199 h 110081"/>
              <a:gd name="connsiteX117" fmla="*/ 345731 w 582339"/>
              <a:gd name="connsiteY117" fmla="*/ 73927 h 110081"/>
              <a:gd name="connsiteX118" fmla="*/ 387562 w 582339"/>
              <a:gd name="connsiteY118" fmla="*/ 1493 h 110081"/>
              <a:gd name="connsiteX119" fmla="*/ 405178 w 582339"/>
              <a:gd name="connsiteY119" fmla="*/ 1493 h 110081"/>
              <a:gd name="connsiteX120" fmla="*/ 405178 w 582339"/>
              <a:gd name="connsiteY120" fmla="*/ 71873 h 110081"/>
              <a:gd name="connsiteX121" fmla="*/ 419683 w 582339"/>
              <a:gd name="connsiteY121" fmla="*/ 71873 h 110081"/>
              <a:gd name="connsiteX122" fmla="*/ 419683 w 582339"/>
              <a:gd name="connsiteY122" fmla="*/ 83199 h 110081"/>
              <a:gd name="connsiteX123" fmla="*/ 405178 w 582339"/>
              <a:gd name="connsiteY123" fmla="*/ 83199 h 110081"/>
              <a:gd name="connsiteX124" fmla="*/ 405178 w 582339"/>
              <a:gd name="connsiteY124" fmla="*/ 108588 h 110081"/>
              <a:gd name="connsiteX125" fmla="*/ 359301 w 582339"/>
              <a:gd name="connsiteY125" fmla="*/ 71873 h 110081"/>
              <a:gd name="connsiteX126" fmla="*/ 392044 w 582339"/>
              <a:gd name="connsiteY126" fmla="*/ 71873 h 110081"/>
              <a:gd name="connsiteX127" fmla="*/ 392044 w 582339"/>
              <a:gd name="connsiteY127" fmla="*/ 16117 h 110081"/>
              <a:gd name="connsiteX128" fmla="*/ 359301 w 582339"/>
              <a:gd name="connsiteY128" fmla="*/ 71873 h 110081"/>
              <a:gd name="connsiteX129" fmla="*/ 465249 w 582339"/>
              <a:gd name="connsiteY129" fmla="*/ 110082 h 110081"/>
              <a:gd name="connsiteX130" fmla="*/ 447010 w 582339"/>
              <a:gd name="connsiteY130" fmla="*/ 104233 h 110081"/>
              <a:gd name="connsiteX131" fmla="*/ 434311 w 582339"/>
              <a:gd name="connsiteY131" fmla="*/ 86311 h 110081"/>
              <a:gd name="connsiteX132" fmla="*/ 429829 w 582339"/>
              <a:gd name="connsiteY132" fmla="*/ 54947 h 110081"/>
              <a:gd name="connsiteX133" fmla="*/ 434311 w 582339"/>
              <a:gd name="connsiteY133" fmla="*/ 23584 h 110081"/>
              <a:gd name="connsiteX134" fmla="*/ 447010 w 582339"/>
              <a:gd name="connsiteY134" fmla="*/ 5849 h 110081"/>
              <a:gd name="connsiteX135" fmla="*/ 465249 w 582339"/>
              <a:gd name="connsiteY135" fmla="*/ 186 h 110081"/>
              <a:gd name="connsiteX136" fmla="*/ 483301 w 582339"/>
              <a:gd name="connsiteY136" fmla="*/ 5849 h 110081"/>
              <a:gd name="connsiteX137" fmla="*/ 495688 w 582339"/>
              <a:gd name="connsiteY137" fmla="*/ 23584 h 110081"/>
              <a:gd name="connsiteX138" fmla="*/ 500170 w 582339"/>
              <a:gd name="connsiteY138" fmla="*/ 54698 h 110081"/>
              <a:gd name="connsiteX139" fmla="*/ 495688 w 582339"/>
              <a:gd name="connsiteY139" fmla="*/ 86062 h 110081"/>
              <a:gd name="connsiteX140" fmla="*/ 483301 w 582339"/>
              <a:gd name="connsiteY140" fmla="*/ 104233 h 110081"/>
              <a:gd name="connsiteX141" fmla="*/ 465249 w 582339"/>
              <a:gd name="connsiteY141" fmla="*/ 110082 h 110081"/>
              <a:gd name="connsiteX142" fmla="*/ 465062 w 582339"/>
              <a:gd name="connsiteY142" fmla="*/ 98258 h 110081"/>
              <a:gd name="connsiteX143" fmla="*/ 476454 w 582339"/>
              <a:gd name="connsiteY143" fmla="*/ 94275 h 110081"/>
              <a:gd name="connsiteX144" fmla="*/ 483612 w 582339"/>
              <a:gd name="connsiteY144" fmla="*/ 80648 h 110081"/>
              <a:gd name="connsiteX145" fmla="*/ 486164 w 582339"/>
              <a:gd name="connsiteY145" fmla="*/ 55134 h 110081"/>
              <a:gd name="connsiteX146" fmla="*/ 483737 w 582339"/>
              <a:gd name="connsiteY146" fmla="*/ 29745 h 110081"/>
              <a:gd name="connsiteX147" fmla="*/ 476578 w 582339"/>
              <a:gd name="connsiteY147" fmla="*/ 16117 h 110081"/>
              <a:gd name="connsiteX148" fmla="*/ 465249 w 582339"/>
              <a:gd name="connsiteY148" fmla="*/ 11947 h 110081"/>
              <a:gd name="connsiteX149" fmla="*/ 453733 w 582339"/>
              <a:gd name="connsiteY149" fmla="*/ 16117 h 110081"/>
              <a:gd name="connsiteX150" fmla="*/ 446388 w 582339"/>
              <a:gd name="connsiteY150" fmla="*/ 29745 h 110081"/>
              <a:gd name="connsiteX151" fmla="*/ 443835 w 582339"/>
              <a:gd name="connsiteY151" fmla="*/ 55134 h 110081"/>
              <a:gd name="connsiteX152" fmla="*/ 446263 w 582339"/>
              <a:gd name="connsiteY152" fmla="*/ 80648 h 110081"/>
              <a:gd name="connsiteX153" fmla="*/ 453546 w 582339"/>
              <a:gd name="connsiteY153" fmla="*/ 94275 h 110081"/>
              <a:gd name="connsiteX154" fmla="*/ 465062 w 582339"/>
              <a:gd name="connsiteY154" fmla="*/ 98258 h 110081"/>
              <a:gd name="connsiteX155" fmla="*/ 547355 w 582339"/>
              <a:gd name="connsiteY155" fmla="*/ 110082 h 110081"/>
              <a:gd name="connsiteX156" fmla="*/ 529116 w 582339"/>
              <a:gd name="connsiteY156" fmla="*/ 104233 h 110081"/>
              <a:gd name="connsiteX157" fmla="*/ 516418 w 582339"/>
              <a:gd name="connsiteY157" fmla="*/ 86311 h 110081"/>
              <a:gd name="connsiteX158" fmla="*/ 511935 w 582339"/>
              <a:gd name="connsiteY158" fmla="*/ 54947 h 110081"/>
              <a:gd name="connsiteX159" fmla="*/ 516418 w 582339"/>
              <a:gd name="connsiteY159" fmla="*/ 23584 h 110081"/>
              <a:gd name="connsiteX160" fmla="*/ 529116 w 582339"/>
              <a:gd name="connsiteY160" fmla="*/ 5849 h 110081"/>
              <a:gd name="connsiteX161" fmla="*/ 547355 w 582339"/>
              <a:gd name="connsiteY161" fmla="*/ 186 h 110081"/>
              <a:gd name="connsiteX162" fmla="*/ 565408 w 582339"/>
              <a:gd name="connsiteY162" fmla="*/ 5849 h 110081"/>
              <a:gd name="connsiteX163" fmla="*/ 577858 w 582339"/>
              <a:gd name="connsiteY163" fmla="*/ 23584 h 110081"/>
              <a:gd name="connsiteX164" fmla="*/ 582339 w 582339"/>
              <a:gd name="connsiteY164" fmla="*/ 54698 h 110081"/>
              <a:gd name="connsiteX165" fmla="*/ 577858 w 582339"/>
              <a:gd name="connsiteY165" fmla="*/ 86062 h 110081"/>
              <a:gd name="connsiteX166" fmla="*/ 565408 w 582339"/>
              <a:gd name="connsiteY166" fmla="*/ 104233 h 110081"/>
              <a:gd name="connsiteX167" fmla="*/ 547355 w 582339"/>
              <a:gd name="connsiteY167" fmla="*/ 110082 h 110081"/>
              <a:gd name="connsiteX168" fmla="*/ 547231 w 582339"/>
              <a:gd name="connsiteY168" fmla="*/ 98258 h 110081"/>
              <a:gd name="connsiteX169" fmla="*/ 558560 w 582339"/>
              <a:gd name="connsiteY169" fmla="*/ 94275 h 110081"/>
              <a:gd name="connsiteX170" fmla="*/ 565719 w 582339"/>
              <a:gd name="connsiteY170" fmla="*/ 80648 h 110081"/>
              <a:gd name="connsiteX171" fmla="*/ 568271 w 582339"/>
              <a:gd name="connsiteY171" fmla="*/ 55134 h 110081"/>
              <a:gd name="connsiteX172" fmla="*/ 565905 w 582339"/>
              <a:gd name="connsiteY172" fmla="*/ 29745 h 110081"/>
              <a:gd name="connsiteX173" fmla="*/ 558684 w 582339"/>
              <a:gd name="connsiteY173" fmla="*/ 16117 h 110081"/>
              <a:gd name="connsiteX174" fmla="*/ 547355 w 582339"/>
              <a:gd name="connsiteY174" fmla="*/ 11947 h 110081"/>
              <a:gd name="connsiteX175" fmla="*/ 535839 w 582339"/>
              <a:gd name="connsiteY175" fmla="*/ 16117 h 110081"/>
              <a:gd name="connsiteX176" fmla="*/ 528556 w 582339"/>
              <a:gd name="connsiteY176" fmla="*/ 29745 h 110081"/>
              <a:gd name="connsiteX177" fmla="*/ 526004 w 582339"/>
              <a:gd name="connsiteY177" fmla="*/ 55134 h 110081"/>
              <a:gd name="connsiteX178" fmla="*/ 528369 w 582339"/>
              <a:gd name="connsiteY178" fmla="*/ 80648 h 110081"/>
              <a:gd name="connsiteX179" fmla="*/ 535715 w 582339"/>
              <a:gd name="connsiteY179" fmla="*/ 94275 h 110081"/>
              <a:gd name="connsiteX180" fmla="*/ 547231 w 582339"/>
              <a:gd name="connsiteY18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582339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3628"/>
                </a:moveTo>
                <a:lnTo>
                  <a:pt x="125432" y="108588"/>
                </a:lnTo>
                <a:lnTo>
                  <a:pt x="110803" y="108588"/>
                </a:lnTo>
                <a:lnTo>
                  <a:pt x="156556" y="14374"/>
                </a:lnTo>
                <a:lnTo>
                  <a:pt x="102026" y="14374"/>
                </a:lnTo>
                <a:lnTo>
                  <a:pt x="102026" y="1493"/>
                </a:lnTo>
                <a:lnTo>
                  <a:pt x="170874" y="1493"/>
                </a:lnTo>
                <a:lnTo>
                  <a:pt x="170874" y="13628"/>
                </a:lnTo>
                <a:close/>
                <a:moveTo>
                  <a:pt x="218930" y="110082"/>
                </a:moveTo>
                <a:cubicBezTo>
                  <a:pt x="211958" y="110082"/>
                  <a:pt x="205733" y="108900"/>
                  <a:pt x="200255" y="106473"/>
                </a:cubicBezTo>
                <a:cubicBezTo>
                  <a:pt x="194902" y="104108"/>
                  <a:pt x="190669" y="100685"/>
                  <a:pt x="187556" y="96205"/>
                </a:cubicBezTo>
                <a:cubicBezTo>
                  <a:pt x="184506" y="91600"/>
                  <a:pt x="182950" y="86124"/>
                  <a:pt x="182950" y="79777"/>
                </a:cubicBezTo>
                <a:cubicBezTo>
                  <a:pt x="182950" y="72869"/>
                  <a:pt x="184755" y="67082"/>
                  <a:pt x="188303" y="62291"/>
                </a:cubicBezTo>
                <a:cubicBezTo>
                  <a:pt x="192038" y="57437"/>
                  <a:pt x="196956" y="53889"/>
                  <a:pt x="203118" y="51711"/>
                </a:cubicBezTo>
                <a:cubicBezTo>
                  <a:pt x="198139" y="49720"/>
                  <a:pt x="194155" y="46671"/>
                  <a:pt x="191167" y="42564"/>
                </a:cubicBezTo>
                <a:cubicBezTo>
                  <a:pt x="188303" y="38519"/>
                  <a:pt x="186809" y="33479"/>
                  <a:pt x="186809" y="27504"/>
                </a:cubicBezTo>
                <a:cubicBezTo>
                  <a:pt x="186809" y="21593"/>
                  <a:pt x="188241" y="16615"/>
                  <a:pt x="191042" y="12570"/>
                </a:cubicBezTo>
                <a:cubicBezTo>
                  <a:pt x="193781" y="8463"/>
                  <a:pt x="197640" y="5414"/>
                  <a:pt x="202496" y="3298"/>
                </a:cubicBezTo>
                <a:cubicBezTo>
                  <a:pt x="207414" y="1182"/>
                  <a:pt x="212892" y="186"/>
                  <a:pt x="218930" y="186"/>
                </a:cubicBezTo>
                <a:cubicBezTo>
                  <a:pt x="224905" y="186"/>
                  <a:pt x="230321" y="1182"/>
                  <a:pt x="235114" y="3298"/>
                </a:cubicBezTo>
                <a:cubicBezTo>
                  <a:pt x="239845" y="5289"/>
                  <a:pt x="243642" y="8276"/>
                  <a:pt x="246443" y="12259"/>
                </a:cubicBezTo>
                <a:cubicBezTo>
                  <a:pt x="249307" y="16242"/>
                  <a:pt x="250801" y="21219"/>
                  <a:pt x="250801" y="27194"/>
                </a:cubicBezTo>
                <a:cubicBezTo>
                  <a:pt x="250801" y="33292"/>
                  <a:pt x="249307" y="38332"/>
                  <a:pt x="246320" y="42439"/>
                </a:cubicBezTo>
                <a:cubicBezTo>
                  <a:pt x="243331" y="46484"/>
                  <a:pt x="239348" y="49596"/>
                  <a:pt x="234492" y="51711"/>
                </a:cubicBezTo>
                <a:cubicBezTo>
                  <a:pt x="240468" y="53765"/>
                  <a:pt x="245261" y="57188"/>
                  <a:pt x="248809" y="61855"/>
                </a:cubicBezTo>
                <a:cubicBezTo>
                  <a:pt x="252544" y="66522"/>
                  <a:pt x="254349" y="72372"/>
                  <a:pt x="254349" y="79341"/>
                </a:cubicBezTo>
                <a:cubicBezTo>
                  <a:pt x="254349" y="85688"/>
                  <a:pt x="252793" y="91226"/>
                  <a:pt x="249743" y="95893"/>
                </a:cubicBezTo>
                <a:cubicBezTo>
                  <a:pt x="246630" y="100498"/>
                  <a:pt x="242398" y="103983"/>
                  <a:pt x="237044" y="106473"/>
                </a:cubicBezTo>
                <a:cubicBezTo>
                  <a:pt x="231753" y="108900"/>
                  <a:pt x="225715" y="110082"/>
                  <a:pt x="218930" y="110082"/>
                </a:cubicBezTo>
                <a:close/>
                <a:moveTo>
                  <a:pt x="218930" y="46298"/>
                </a:moveTo>
                <a:cubicBezTo>
                  <a:pt x="224221" y="46298"/>
                  <a:pt x="228578" y="44804"/>
                  <a:pt x="231940" y="41817"/>
                </a:cubicBezTo>
                <a:cubicBezTo>
                  <a:pt x="235426" y="38768"/>
                  <a:pt x="237168" y="34536"/>
                  <a:pt x="237168" y="29122"/>
                </a:cubicBezTo>
                <a:cubicBezTo>
                  <a:pt x="237168" y="23771"/>
                  <a:pt x="235426" y="19601"/>
                  <a:pt x="231940" y="16615"/>
                </a:cubicBezTo>
                <a:cubicBezTo>
                  <a:pt x="228578" y="13503"/>
                  <a:pt x="224221" y="11947"/>
                  <a:pt x="218930" y="11947"/>
                </a:cubicBezTo>
                <a:cubicBezTo>
                  <a:pt x="213701" y="11947"/>
                  <a:pt x="209219" y="13503"/>
                  <a:pt x="205671" y="16615"/>
                </a:cubicBezTo>
                <a:cubicBezTo>
                  <a:pt x="202184" y="19601"/>
                  <a:pt x="200442" y="23771"/>
                  <a:pt x="200442" y="29122"/>
                </a:cubicBezTo>
                <a:cubicBezTo>
                  <a:pt x="200442" y="34536"/>
                  <a:pt x="202184" y="38768"/>
                  <a:pt x="205671" y="41817"/>
                </a:cubicBezTo>
                <a:cubicBezTo>
                  <a:pt x="209219" y="44804"/>
                  <a:pt x="213701" y="46298"/>
                  <a:pt x="218930" y="46298"/>
                </a:cubicBezTo>
                <a:close/>
                <a:moveTo>
                  <a:pt x="218930" y="98258"/>
                </a:moveTo>
                <a:cubicBezTo>
                  <a:pt x="225155" y="98258"/>
                  <a:pt x="230259" y="96516"/>
                  <a:pt x="234367" y="92907"/>
                </a:cubicBezTo>
                <a:cubicBezTo>
                  <a:pt x="238538" y="89235"/>
                  <a:pt x="240592" y="84071"/>
                  <a:pt x="240592" y="77536"/>
                </a:cubicBezTo>
                <a:cubicBezTo>
                  <a:pt x="240592" y="70940"/>
                  <a:pt x="238538" y="65900"/>
                  <a:pt x="234367" y="62291"/>
                </a:cubicBezTo>
                <a:cubicBezTo>
                  <a:pt x="230259" y="58619"/>
                  <a:pt x="225155" y="56752"/>
                  <a:pt x="218930" y="56752"/>
                </a:cubicBezTo>
                <a:cubicBezTo>
                  <a:pt x="212580" y="56752"/>
                  <a:pt x="207227" y="58619"/>
                  <a:pt x="202994" y="62291"/>
                </a:cubicBezTo>
                <a:cubicBezTo>
                  <a:pt x="198761" y="65900"/>
                  <a:pt x="196707" y="70940"/>
                  <a:pt x="196707" y="77536"/>
                </a:cubicBezTo>
                <a:cubicBezTo>
                  <a:pt x="196707" y="84071"/>
                  <a:pt x="198761" y="89235"/>
                  <a:pt x="202994" y="92907"/>
                </a:cubicBezTo>
                <a:cubicBezTo>
                  <a:pt x="207227" y="96516"/>
                  <a:pt x="212580" y="98258"/>
                  <a:pt x="218930" y="98258"/>
                </a:cubicBezTo>
                <a:close/>
                <a:moveTo>
                  <a:pt x="337514" y="73491"/>
                </a:moveTo>
                <a:cubicBezTo>
                  <a:pt x="337514" y="80772"/>
                  <a:pt x="335957" y="87182"/>
                  <a:pt x="332783" y="92782"/>
                </a:cubicBezTo>
                <a:cubicBezTo>
                  <a:pt x="329671" y="98258"/>
                  <a:pt x="325438" y="102490"/>
                  <a:pt x="320084" y="105601"/>
                </a:cubicBezTo>
                <a:cubicBezTo>
                  <a:pt x="314669" y="108588"/>
                  <a:pt x="308631" y="110082"/>
                  <a:pt x="301970" y="110082"/>
                </a:cubicBezTo>
                <a:cubicBezTo>
                  <a:pt x="293006" y="110082"/>
                  <a:pt x="285785" y="108091"/>
                  <a:pt x="280307" y="104108"/>
                </a:cubicBezTo>
                <a:cubicBezTo>
                  <a:pt x="274829" y="100125"/>
                  <a:pt x="270783" y="94587"/>
                  <a:pt x="268231" y="87555"/>
                </a:cubicBezTo>
                <a:cubicBezTo>
                  <a:pt x="265741" y="80461"/>
                  <a:pt x="264496" y="72372"/>
                  <a:pt x="264496" y="63161"/>
                </a:cubicBezTo>
                <a:cubicBezTo>
                  <a:pt x="264496" y="50653"/>
                  <a:pt x="265990" y="39639"/>
                  <a:pt x="268978" y="30181"/>
                </a:cubicBezTo>
                <a:cubicBezTo>
                  <a:pt x="272028" y="20722"/>
                  <a:pt x="276759" y="13379"/>
                  <a:pt x="282984" y="8089"/>
                </a:cubicBezTo>
                <a:cubicBezTo>
                  <a:pt x="289395" y="2675"/>
                  <a:pt x="297550" y="0"/>
                  <a:pt x="307510" y="0"/>
                </a:cubicBezTo>
                <a:cubicBezTo>
                  <a:pt x="316100" y="0"/>
                  <a:pt x="323570" y="1866"/>
                  <a:pt x="330044" y="5538"/>
                </a:cubicBezTo>
                <a:lnTo>
                  <a:pt x="330044" y="18855"/>
                </a:lnTo>
                <a:cubicBezTo>
                  <a:pt x="323570" y="14437"/>
                  <a:pt x="316100" y="12259"/>
                  <a:pt x="307510" y="12259"/>
                </a:cubicBezTo>
                <a:cubicBezTo>
                  <a:pt x="301347" y="12259"/>
                  <a:pt x="296181" y="13939"/>
                  <a:pt x="291948" y="17361"/>
                </a:cubicBezTo>
                <a:cubicBezTo>
                  <a:pt x="287777" y="20722"/>
                  <a:pt x="284478" y="25327"/>
                  <a:pt x="282113" y="31238"/>
                </a:cubicBezTo>
                <a:cubicBezTo>
                  <a:pt x="279809" y="37026"/>
                  <a:pt x="278439" y="43498"/>
                  <a:pt x="277942" y="50778"/>
                </a:cubicBezTo>
                <a:cubicBezTo>
                  <a:pt x="281241" y="46298"/>
                  <a:pt x="284976" y="42999"/>
                  <a:pt x="289271" y="40759"/>
                </a:cubicBezTo>
                <a:cubicBezTo>
                  <a:pt x="293566" y="38581"/>
                  <a:pt x="298235" y="37523"/>
                  <a:pt x="303339" y="37523"/>
                </a:cubicBezTo>
                <a:cubicBezTo>
                  <a:pt x="309813" y="37523"/>
                  <a:pt x="315603" y="38893"/>
                  <a:pt x="320644" y="41693"/>
                </a:cubicBezTo>
                <a:cubicBezTo>
                  <a:pt x="325811" y="44493"/>
                  <a:pt x="329919" y="48538"/>
                  <a:pt x="332907" y="53952"/>
                </a:cubicBezTo>
                <a:cubicBezTo>
                  <a:pt x="336020" y="59179"/>
                  <a:pt x="337514" y="65713"/>
                  <a:pt x="337514" y="73491"/>
                </a:cubicBezTo>
                <a:close/>
                <a:moveTo>
                  <a:pt x="301534" y="98134"/>
                </a:moveTo>
                <a:cubicBezTo>
                  <a:pt x="305394" y="98134"/>
                  <a:pt x="309004" y="97263"/>
                  <a:pt x="312303" y="95458"/>
                </a:cubicBezTo>
                <a:cubicBezTo>
                  <a:pt x="315603" y="93529"/>
                  <a:pt x="318217" y="90791"/>
                  <a:pt x="320209" y="87244"/>
                </a:cubicBezTo>
                <a:cubicBezTo>
                  <a:pt x="322325" y="83635"/>
                  <a:pt x="323321" y="79154"/>
                  <a:pt x="323321" y="73803"/>
                </a:cubicBezTo>
                <a:cubicBezTo>
                  <a:pt x="323321" y="68389"/>
                  <a:pt x="322325" y="63908"/>
                  <a:pt x="320334" y="60174"/>
                </a:cubicBezTo>
                <a:cubicBezTo>
                  <a:pt x="318341" y="56503"/>
                  <a:pt x="315851" y="53765"/>
                  <a:pt x="312739" y="51961"/>
                </a:cubicBezTo>
                <a:cubicBezTo>
                  <a:pt x="309626" y="50093"/>
                  <a:pt x="306389" y="49160"/>
                  <a:pt x="303028" y="49160"/>
                </a:cubicBezTo>
                <a:cubicBezTo>
                  <a:pt x="296429" y="49160"/>
                  <a:pt x="290952" y="51276"/>
                  <a:pt x="286470" y="55570"/>
                </a:cubicBezTo>
                <a:cubicBezTo>
                  <a:pt x="282050" y="59739"/>
                  <a:pt x="279872" y="65900"/>
                  <a:pt x="279872" y="74114"/>
                </a:cubicBezTo>
                <a:cubicBezTo>
                  <a:pt x="279872" y="81270"/>
                  <a:pt x="281801" y="87058"/>
                  <a:pt x="285723" y="91538"/>
                </a:cubicBezTo>
                <a:cubicBezTo>
                  <a:pt x="289582" y="95956"/>
                  <a:pt x="294873" y="98134"/>
                  <a:pt x="301534" y="98134"/>
                </a:cubicBezTo>
                <a:close/>
                <a:moveTo>
                  <a:pt x="405178" y="108588"/>
                </a:moveTo>
                <a:lnTo>
                  <a:pt x="392044" y="108588"/>
                </a:lnTo>
                <a:lnTo>
                  <a:pt x="392044" y="83199"/>
                </a:lnTo>
                <a:lnTo>
                  <a:pt x="345731" y="83199"/>
                </a:lnTo>
                <a:lnTo>
                  <a:pt x="345731" y="73927"/>
                </a:lnTo>
                <a:lnTo>
                  <a:pt x="387562" y="1493"/>
                </a:lnTo>
                <a:lnTo>
                  <a:pt x="405178" y="1493"/>
                </a:lnTo>
                <a:lnTo>
                  <a:pt x="405178" y="71873"/>
                </a:lnTo>
                <a:lnTo>
                  <a:pt x="419683" y="71873"/>
                </a:lnTo>
                <a:lnTo>
                  <a:pt x="419683" y="83199"/>
                </a:lnTo>
                <a:lnTo>
                  <a:pt x="405178" y="83199"/>
                </a:lnTo>
                <a:lnTo>
                  <a:pt x="405178" y="108588"/>
                </a:lnTo>
                <a:close/>
                <a:moveTo>
                  <a:pt x="359301" y="71873"/>
                </a:moveTo>
                <a:lnTo>
                  <a:pt x="392044" y="71873"/>
                </a:lnTo>
                <a:lnTo>
                  <a:pt x="392044" y="16117"/>
                </a:lnTo>
                <a:lnTo>
                  <a:pt x="359301" y="71873"/>
                </a:lnTo>
                <a:close/>
                <a:moveTo>
                  <a:pt x="465249" y="110082"/>
                </a:moveTo>
                <a:cubicBezTo>
                  <a:pt x="458464" y="110082"/>
                  <a:pt x="452363" y="108153"/>
                  <a:pt x="447010" y="104233"/>
                </a:cubicBezTo>
                <a:cubicBezTo>
                  <a:pt x="441594" y="100374"/>
                  <a:pt x="437361" y="94400"/>
                  <a:pt x="434311" y="86311"/>
                </a:cubicBezTo>
                <a:cubicBezTo>
                  <a:pt x="431323" y="78159"/>
                  <a:pt x="429829" y="67705"/>
                  <a:pt x="429829" y="54947"/>
                </a:cubicBezTo>
                <a:cubicBezTo>
                  <a:pt x="429829" y="42128"/>
                  <a:pt x="431323" y="31674"/>
                  <a:pt x="434311" y="23584"/>
                </a:cubicBezTo>
                <a:cubicBezTo>
                  <a:pt x="437361" y="15557"/>
                  <a:pt x="441594" y="9645"/>
                  <a:pt x="447010" y="5849"/>
                </a:cubicBezTo>
                <a:cubicBezTo>
                  <a:pt x="452363" y="2053"/>
                  <a:pt x="458464" y="186"/>
                  <a:pt x="465249" y="186"/>
                </a:cubicBezTo>
                <a:cubicBezTo>
                  <a:pt x="471972" y="186"/>
                  <a:pt x="478010" y="2053"/>
                  <a:pt x="483301" y="5849"/>
                </a:cubicBezTo>
                <a:cubicBezTo>
                  <a:pt x="488592" y="9645"/>
                  <a:pt x="492701" y="15557"/>
                  <a:pt x="495688" y="23584"/>
                </a:cubicBezTo>
                <a:cubicBezTo>
                  <a:pt x="498676" y="31549"/>
                  <a:pt x="500170" y="41942"/>
                  <a:pt x="500170" y="54698"/>
                </a:cubicBezTo>
                <a:cubicBezTo>
                  <a:pt x="500170" y="67331"/>
                  <a:pt x="498676" y="77786"/>
                  <a:pt x="495688" y="86062"/>
                </a:cubicBezTo>
                <a:cubicBezTo>
                  <a:pt x="492701" y="94213"/>
                  <a:pt x="488592" y="100250"/>
                  <a:pt x="483301" y="104233"/>
                </a:cubicBezTo>
                <a:cubicBezTo>
                  <a:pt x="478010" y="108153"/>
                  <a:pt x="471972" y="110082"/>
                  <a:pt x="465249" y="110082"/>
                </a:cubicBezTo>
                <a:close/>
                <a:moveTo>
                  <a:pt x="465062" y="98258"/>
                </a:moveTo>
                <a:cubicBezTo>
                  <a:pt x="469544" y="98258"/>
                  <a:pt x="473341" y="96952"/>
                  <a:pt x="476454" y="94275"/>
                </a:cubicBezTo>
                <a:cubicBezTo>
                  <a:pt x="479628" y="91475"/>
                  <a:pt x="481994" y="86933"/>
                  <a:pt x="483612" y="80648"/>
                </a:cubicBezTo>
                <a:cubicBezTo>
                  <a:pt x="485293" y="74300"/>
                  <a:pt x="486164" y="65775"/>
                  <a:pt x="486164" y="55134"/>
                </a:cubicBezTo>
                <a:cubicBezTo>
                  <a:pt x="486164" y="44493"/>
                  <a:pt x="485355" y="36030"/>
                  <a:pt x="483737" y="29745"/>
                </a:cubicBezTo>
                <a:cubicBezTo>
                  <a:pt x="482181" y="23336"/>
                  <a:pt x="479753" y="18855"/>
                  <a:pt x="476578" y="16117"/>
                </a:cubicBezTo>
                <a:cubicBezTo>
                  <a:pt x="473466" y="13379"/>
                  <a:pt x="469731" y="11947"/>
                  <a:pt x="465249" y="11947"/>
                </a:cubicBezTo>
                <a:cubicBezTo>
                  <a:pt x="460767" y="11947"/>
                  <a:pt x="456907" y="13379"/>
                  <a:pt x="453733" y="16117"/>
                </a:cubicBezTo>
                <a:cubicBezTo>
                  <a:pt x="450558" y="18855"/>
                  <a:pt x="448068" y="23336"/>
                  <a:pt x="446388" y="29745"/>
                </a:cubicBezTo>
                <a:cubicBezTo>
                  <a:pt x="444707" y="36030"/>
                  <a:pt x="443835" y="44493"/>
                  <a:pt x="443835" y="55134"/>
                </a:cubicBezTo>
                <a:cubicBezTo>
                  <a:pt x="443835" y="65775"/>
                  <a:pt x="444645" y="74300"/>
                  <a:pt x="446263" y="80648"/>
                </a:cubicBezTo>
                <a:cubicBezTo>
                  <a:pt x="447944" y="86933"/>
                  <a:pt x="450371" y="91475"/>
                  <a:pt x="453546" y="94275"/>
                </a:cubicBezTo>
                <a:cubicBezTo>
                  <a:pt x="456783" y="96952"/>
                  <a:pt x="460580" y="98258"/>
                  <a:pt x="465062" y="98258"/>
                </a:cubicBezTo>
                <a:close/>
                <a:moveTo>
                  <a:pt x="547355" y="110082"/>
                </a:moveTo>
                <a:cubicBezTo>
                  <a:pt x="540570" y="110082"/>
                  <a:pt x="534532" y="108153"/>
                  <a:pt x="529116" y="104233"/>
                </a:cubicBezTo>
                <a:cubicBezTo>
                  <a:pt x="523763" y="100374"/>
                  <a:pt x="519530" y="94400"/>
                  <a:pt x="516418" y="86311"/>
                </a:cubicBezTo>
                <a:cubicBezTo>
                  <a:pt x="513429" y="78159"/>
                  <a:pt x="511935" y="67705"/>
                  <a:pt x="511935" y="54947"/>
                </a:cubicBezTo>
                <a:cubicBezTo>
                  <a:pt x="511935" y="42128"/>
                  <a:pt x="513429" y="31674"/>
                  <a:pt x="516418" y="23584"/>
                </a:cubicBezTo>
                <a:cubicBezTo>
                  <a:pt x="519530" y="15557"/>
                  <a:pt x="523763" y="9645"/>
                  <a:pt x="529116" y="5849"/>
                </a:cubicBezTo>
                <a:cubicBezTo>
                  <a:pt x="534532" y="2053"/>
                  <a:pt x="540570" y="186"/>
                  <a:pt x="547355" y="186"/>
                </a:cubicBezTo>
                <a:cubicBezTo>
                  <a:pt x="554140" y="186"/>
                  <a:pt x="560178" y="2053"/>
                  <a:pt x="565408" y="5849"/>
                </a:cubicBezTo>
                <a:cubicBezTo>
                  <a:pt x="570699" y="9645"/>
                  <a:pt x="574869" y="15557"/>
                  <a:pt x="577858" y="23584"/>
                </a:cubicBezTo>
                <a:cubicBezTo>
                  <a:pt x="580845" y="31549"/>
                  <a:pt x="582339" y="41942"/>
                  <a:pt x="582339" y="54698"/>
                </a:cubicBezTo>
                <a:cubicBezTo>
                  <a:pt x="582339" y="67331"/>
                  <a:pt x="580845" y="77786"/>
                  <a:pt x="577858" y="86062"/>
                </a:cubicBezTo>
                <a:cubicBezTo>
                  <a:pt x="574869" y="94213"/>
                  <a:pt x="570699" y="100250"/>
                  <a:pt x="565408" y="104233"/>
                </a:cubicBezTo>
                <a:cubicBezTo>
                  <a:pt x="560178" y="108153"/>
                  <a:pt x="554140" y="110082"/>
                  <a:pt x="547355" y="110082"/>
                </a:cubicBezTo>
                <a:close/>
                <a:moveTo>
                  <a:pt x="547231" y="98258"/>
                </a:moveTo>
                <a:cubicBezTo>
                  <a:pt x="551712" y="98258"/>
                  <a:pt x="555447" y="96952"/>
                  <a:pt x="558560" y="94275"/>
                </a:cubicBezTo>
                <a:cubicBezTo>
                  <a:pt x="561734" y="91475"/>
                  <a:pt x="564162" y="86933"/>
                  <a:pt x="565719" y="80648"/>
                </a:cubicBezTo>
                <a:cubicBezTo>
                  <a:pt x="567399" y="74300"/>
                  <a:pt x="568271" y="65775"/>
                  <a:pt x="568271" y="55134"/>
                </a:cubicBezTo>
                <a:cubicBezTo>
                  <a:pt x="568271" y="44493"/>
                  <a:pt x="567462" y="36030"/>
                  <a:pt x="565905" y="29745"/>
                </a:cubicBezTo>
                <a:cubicBezTo>
                  <a:pt x="564287" y="23336"/>
                  <a:pt x="561921" y="18855"/>
                  <a:pt x="558684" y="16117"/>
                </a:cubicBezTo>
                <a:cubicBezTo>
                  <a:pt x="555634" y="13379"/>
                  <a:pt x="551837" y="11947"/>
                  <a:pt x="547355" y="11947"/>
                </a:cubicBezTo>
                <a:cubicBezTo>
                  <a:pt x="542874" y="11947"/>
                  <a:pt x="539013" y="13379"/>
                  <a:pt x="535839" y="16117"/>
                </a:cubicBezTo>
                <a:cubicBezTo>
                  <a:pt x="532665" y="18855"/>
                  <a:pt x="530237" y="23336"/>
                  <a:pt x="528556" y="29745"/>
                </a:cubicBezTo>
                <a:cubicBezTo>
                  <a:pt x="526813" y="36030"/>
                  <a:pt x="526004" y="44493"/>
                  <a:pt x="526004" y="55134"/>
                </a:cubicBezTo>
                <a:cubicBezTo>
                  <a:pt x="526004" y="65775"/>
                  <a:pt x="526813" y="74300"/>
                  <a:pt x="528369" y="80648"/>
                </a:cubicBezTo>
                <a:cubicBezTo>
                  <a:pt x="530050" y="86933"/>
                  <a:pt x="532540" y="91475"/>
                  <a:pt x="535715" y="94275"/>
                </a:cubicBezTo>
                <a:cubicBezTo>
                  <a:pt x="538890" y="96952"/>
                  <a:pt x="542749" y="98258"/>
                  <a:pt x="547231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3" name="Полилиния 1082">
            <a:extLst>
              <a:ext uri="{FF2B5EF4-FFF2-40B4-BE49-F238E27FC236}">
                <a16:creationId xmlns:a16="http://schemas.microsoft.com/office/drawing/2014/main" id="{201FB11F-68EA-D77A-EA6D-5D71D6E29602}"/>
              </a:ext>
            </a:extLst>
          </p:cNvPr>
          <p:cNvSpPr/>
          <p:nvPr userDrawn="1"/>
        </p:nvSpPr>
        <p:spPr>
          <a:xfrm>
            <a:off x="21534071" y="4513847"/>
            <a:ext cx="1398954" cy="726227"/>
          </a:xfrm>
          <a:custGeom>
            <a:avLst/>
            <a:gdLst>
              <a:gd name="connsiteX0" fmla="*/ 1275 w 1198727"/>
              <a:gd name="connsiteY0" fmla="*/ 1122 h 622284"/>
              <a:gd name="connsiteX1" fmla="*/ 1200003 w 1198727"/>
              <a:gd name="connsiteY1" fmla="*/ 1122 h 622284"/>
              <a:gd name="connsiteX2" fmla="*/ 1200003 w 1198727"/>
              <a:gd name="connsiteY2" fmla="*/ 623406 h 622284"/>
              <a:gd name="connsiteX3" fmla="*/ 1275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122"/>
                </a:moveTo>
                <a:lnTo>
                  <a:pt x="1200003" y="1122"/>
                </a:lnTo>
                <a:lnTo>
                  <a:pt x="1200003" y="623406"/>
                </a:lnTo>
                <a:lnTo>
                  <a:pt x="1275" y="623406"/>
                </a:lnTo>
                <a:close/>
              </a:path>
            </a:pathLst>
          </a:custGeom>
          <a:solidFill>
            <a:srgbClr val="A582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4" name="Полилиния 1083">
            <a:extLst>
              <a:ext uri="{FF2B5EF4-FFF2-40B4-BE49-F238E27FC236}">
                <a16:creationId xmlns:a16="http://schemas.microsoft.com/office/drawing/2014/main" id="{4A1BC7CF-836B-7DEA-8CC6-23CB36B88BF4}"/>
              </a:ext>
            </a:extLst>
          </p:cNvPr>
          <p:cNvSpPr/>
          <p:nvPr userDrawn="1"/>
        </p:nvSpPr>
        <p:spPr>
          <a:xfrm>
            <a:off x="21657280" y="4815595"/>
            <a:ext cx="697479" cy="128468"/>
          </a:xfrm>
          <a:custGeom>
            <a:avLst/>
            <a:gdLst>
              <a:gd name="connsiteX0" fmla="*/ 22099 w 597652"/>
              <a:gd name="connsiteY0" fmla="*/ 108588 h 110081"/>
              <a:gd name="connsiteX1" fmla="*/ 10147 w 597652"/>
              <a:gd name="connsiteY1" fmla="*/ 108588 h 110081"/>
              <a:gd name="connsiteX2" fmla="*/ 16434 w 597652"/>
              <a:gd name="connsiteY2" fmla="*/ 77661 h 110081"/>
              <a:gd name="connsiteX3" fmla="*/ 0 w 597652"/>
              <a:gd name="connsiteY3" fmla="*/ 77661 h 110081"/>
              <a:gd name="connsiteX4" fmla="*/ 0 w 597652"/>
              <a:gd name="connsiteY4" fmla="*/ 67206 h 110081"/>
              <a:gd name="connsiteX5" fmla="*/ 18675 w 597652"/>
              <a:gd name="connsiteY5" fmla="*/ 67206 h 110081"/>
              <a:gd name="connsiteX6" fmla="*/ 24215 w 597652"/>
              <a:gd name="connsiteY6" fmla="*/ 40012 h 110081"/>
              <a:gd name="connsiteX7" fmla="*/ 4046 w 597652"/>
              <a:gd name="connsiteY7" fmla="*/ 40012 h 110081"/>
              <a:gd name="connsiteX8" fmla="*/ 4046 w 597652"/>
              <a:gd name="connsiteY8" fmla="*/ 29559 h 110081"/>
              <a:gd name="connsiteX9" fmla="*/ 26269 w 597652"/>
              <a:gd name="connsiteY9" fmla="*/ 29559 h 110081"/>
              <a:gd name="connsiteX10" fmla="*/ 32121 w 597652"/>
              <a:gd name="connsiteY10" fmla="*/ 1493 h 110081"/>
              <a:gd name="connsiteX11" fmla="*/ 44073 w 597652"/>
              <a:gd name="connsiteY11" fmla="*/ 1493 h 110081"/>
              <a:gd name="connsiteX12" fmla="*/ 38221 w 597652"/>
              <a:gd name="connsiteY12" fmla="*/ 29559 h 110081"/>
              <a:gd name="connsiteX13" fmla="*/ 60630 w 597652"/>
              <a:gd name="connsiteY13" fmla="*/ 29559 h 110081"/>
              <a:gd name="connsiteX14" fmla="*/ 66482 w 597652"/>
              <a:gd name="connsiteY14" fmla="*/ 1493 h 110081"/>
              <a:gd name="connsiteX15" fmla="*/ 78434 w 597652"/>
              <a:gd name="connsiteY15" fmla="*/ 1493 h 110081"/>
              <a:gd name="connsiteX16" fmla="*/ 72582 w 597652"/>
              <a:gd name="connsiteY16" fmla="*/ 29559 h 110081"/>
              <a:gd name="connsiteX17" fmla="*/ 89327 w 597652"/>
              <a:gd name="connsiteY17" fmla="*/ 29559 h 110081"/>
              <a:gd name="connsiteX18" fmla="*/ 89327 w 597652"/>
              <a:gd name="connsiteY18" fmla="*/ 40012 h 110081"/>
              <a:gd name="connsiteX19" fmla="*/ 70529 w 597652"/>
              <a:gd name="connsiteY19" fmla="*/ 40012 h 110081"/>
              <a:gd name="connsiteX20" fmla="*/ 64988 w 597652"/>
              <a:gd name="connsiteY20" fmla="*/ 67206 h 110081"/>
              <a:gd name="connsiteX21" fmla="*/ 85282 w 597652"/>
              <a:gd name="connsiteY21" fmla="*/ 67206 h 110081"/>
              <a:gd name="connsiteX22" fmla="*/ 85282 w 597652"/>
              <a:gd name="connsiteY22" fmla="*/ 77661 h 110081"/>
              <a:gd name="connsiteX23" fmla="*/ 62747 w 597652"/>
              <a:gd name="connsiteY23" fmla="*/ 77661 h 110081"/>
              <a:gd name="connsiteX24" fmla="*/ 56460 w 597652"/>
              <a:gd name="connsiteY24" fmla="*/ 108588 h 110081"/>
              <a:gd name="connsiteX25" fmla="*/ 44508 w 597652"/>
              <a:gd name="connsiteY25" fmla="*/ 108588 h 110081"/>
              <a:gd name="connsiteX26" fmla="*/ 50795 w 597652"/>
              <a:gd name="connsiteY26" fmla="*/ 77661 h 110081"/>
              <a:gd name="connsiteX27" fmla="*/ 28386 w 597652"/>
              <a:gd name="connsiteY27" fmla="*/ 77661 h 110081"/>
              <a:gd name="connsiteX28" fmla="*/ 22099 w 597652"/>
              <a:gd name="connsiteY28" fmla="*/ 108588 h 110081"/>
              <a:gd name="connsiteX29" fmla="*/ 30627 w 597652"/>
              <a:gd name="connsiteY29" fmla="*/ 67206 h 110081"/>
              <a:gd name="connsiteX30" fmla="*/ 53036 w 597652"/>
              <a:gd name="connsiteY30" fmla="*/ 67206 h 110081"/>
              <a:gd name="connsiteX31" fmla="*/ 58576 w 597652"/>
              <a:gd name="connsiteY31" fmla="*/ 40012 h 110081"/>
              <a:gd name="connsiteX32" fmla="*/ 36167 w 597652"/>
              <a:gd name="connsiteY32" fmla="*/ 40012 h 110081"/>
              <a:gd name="connsiteX33" fmla="*/ 30627 w 597652"/>
              <a:gd name="connsiteY33" fmla="*/ 67206 h 110081"/>
              <a:gd name="connsiteX34" fmla="*/ 189672 w 597652"/>
              <a:gd name="connsiteY34" fmla="*/ 108588 h 110081"/>
              <a:gd name="connsiteX35" fmla="*/ 174733 w 597652"/>
              <a:gd name="connsiteY35" fmla="*/ 108588 h 110081"/>
              <a:gd name="connsiteX36" fmla="*/ 163715 w 597652"/>
              <a:gd name="connsiteY36" fmla="*/ 77972 h 110081"/>
              <a:gd name="connsiteX37" fmla="*/ 116344 w 597652"/>
              <a:gd name="connsiteY37" fmla="*/ 77972 h 110081"/>
              <a:gd name="connsiteX38" fmla="*/ 105450 w 597652"/>
              <a:gd name="connsiteY38" fmla="*/ 108588 h 110081"/>
              <a:gd name="connsiteX39" fmla="*/ 92316 w 597652"/>
              <a:gd name="connsiteY39" fmla="*/ 108588 h 110081"/>
              <a:gd name="connsiteX40" fmla="*/ 130412 w 597652"/>
              <a:gd name="connsiteY40" fmla="*/ 1493 h 110081"/>
              <a:gd name="connsiteX41" fmla="*/ 151328 w 597652"/>
              <a:gd name="connsiteY41" fmla="*/ 1493 h 110081"/>
              <a:gd name="connsiteX42" fmla="*/ 189672 w 597652"/>
              <a:gd name="connsiteY42" fmla="*/ 108588 h 110081"/>
              <a:gd name="connsiteX43" fmla="*/ 120950 w 597652"/>
              <a:gd name="connsiteY43" fmla="*/ 65278 h 110081"/>
              <a:gd name="connsiteX44" fmla="*/ 159233 w 597652"/>
              <a:gd name="connsiteY44" fmla="*/ 65278 h 110081"/>
              <a:gd name="connsiteX45" fmla="*/ 140122 w 597652"/>
              <a:gd name="connsiteY45" fmla="*/ 11947 h 110081"/>
              <a:gd name="connsiteX46" fmla="*/ 120950 w 597652"/>
              <a:gd name="connsiteY46" fmla="*/ 65278 h 110081"/>
              <a:gd name="connsiteX47" fmla="*/ 229201 w 597652"/>
              <a:gd name="connsiteY47" fmla="*/ 110082 h 110081"/>
              <a:gd name="connsiteX48" fmla="*/ 200628 w 597652"/>
              <a:gd name="connsiteY48" fmla="*/ 102490 h 110081"/>
              <a:gd name="connsiteX49" fmla="*/ 200628 w 597652"/>
              <a:gd name="connsiteY49" fmla="*/ 87804 h 110081"/>
              <a:gd name="connsiteX50" fmla="*/ 213825 w 597652"/>
              <a:gd name="connsiteY50" fmla="*/ 95458 h 110081"/>
              <a:gd name="connsiteX51" fmla="*/ 229201 w 597652"/>
              <a:gd name="connsiteY51" fmla="*/ 97823 h 110081"/>
              <a:gd name="connsiteX52" fmla="*/ 246195 w 597652"/>
              <a:gd name="connsiteY52" fmla="*/ 91102 h 110081"/>
              <a:gd name="connsiteX53" fmla="*/ 252357 w 597652"/>
              <a:gd name="connsiteY53" fmla="*/ 73491 h 110081"/>
              <a:gd name="connsiteX54" fmla="*/ 246382 w 597652"/>
              <a:gd name="connsiteY54" fmla="*/ 56441 h 110081"/>
              <a:gd name="connsiteX55" fmla="*/ 231255 w 597652"/>
              <a:gd name="connsiteY55" fmla="*/ 51089 h 110081"/>
              <a:gd name="connsiteX56" fmla="*/ 220673 w 597652"/>
              <a:gd name="connsiteY56" fmla="*/ 53329 h 110081"/>
              <a:gd name="connsiteX57" fmla="*/ 214572 w 597652"/>
              <a:gd name="connsiteY57" fmla="*/ 57810 h 110081"/>
              <a:gd name="connsiteX58" fmla="*/ 203617 w 597652"/>
              <a:gd name="connsiteY58" fmla="*/ 57810 h 110081"/>
              <a:gd name="connsiteX59" fmla="*/ 203617 w 597652"/>
              <a:gd name="connsiteY59" fmla="*/ 1493 h 110081"/>
              <a:gd name="connsiteX60" fmla="*/ 261633 w 597652"/>
              <a:gd name="connsiteY60" fmla="*/ 1493 h 110081"/>
              <a:gd name="connsiteX61" fmla="*/ 261633 w 597652"/>
              <a:gd name="connsiteY61" fmla="*/ 14374 h 110081"/>
              <a:gd name="connsiteX62" fmla="*/ 215880 w 597652"/>
              <a:gd name="connsiteY62" fmla="*/ 14374 h 110081"/>
              <a:gd name="connsiteX63" fmla="*/ 215880 w 597652"/>
              <a:gd name="connsiteY63" fmla="*/ 44991 h 110081"/>
              <a:gd name="connsiteX64" fmla="*/ 223225 w 597652"/>
              <a:gd name="connsiteY64" fmla="*/ 41071 h 110081"/>
              <a:gd name="connsiteX65" fmla="*/ 233496 w 597652"/>
              <a:gd name="connsiteY65" fmla="*/ 39266 h 110081"/>
              <a:gd name="connsiteX66" fmla="*/ 250241 w 597652"/>
              <a:gd name="connsiteY66" fmla="*/ 43186 h 110081"/>
              <a:gd name="connsiteX67" fmla="*/ 262068 w 597652"/>
              <a:gd name="connsiteY67" fmla="*/ 54512 h 110081"/>
              <a:gd name="connsiteX68" fmla="*/ 266550 w 597652"/>
              <a:gd name="connsiteY68" fmla="*/ 73181 h 110081"/>
              <a:gd name="connsiteX69" fmla="*/ 261882 w 597652"/>
              <a:gd name="connsiteY69" fmla="*/ 92596 h 110081"/>
              <a:gd name="connsiteX70" fmla="*/ 249058 w 597652"/>
              <a:gd name="connsiteY70" fmla="*/ 105601 h 110081"/>
              <a:gd name="connsiteX71" fmla="*/ 229201 w 597652"/>
              <a:gd name="connsiteY71" fmla="*/ 110082 h 110081"/>
              <a:gd name="connsiteX72" fmla="*/ 316412 w 597652"/>
              <a:gd name="connsiteY72" fmla="*/ 110082 h 110081"/>
              <a:gd name="connsiteX73" fmla="*/ 297737 w 597652"/>
              <a:gd name="connsiteY73" fmla="*/ 106473 h 110081"/>
              <a:gd name="connsiteX74" fmla="*/ 285038 w 597652"/>
              <a:gd name="connsiteY74" fmla="*/ 96205 h 110081"/>
              <a:gd name="connsiteX75" fmla="*/ 280432 w 597652"/>
              <a:gd name="connsiteY75" fmla="*/ 79777 h 110081"/>
              <a:gd name="connsiteX76" fmla="*/ 285785 w 597652"/>
              <a:gd name="connsiteY76" fmla="*/ 62291 h 110081"/>
              <a:gd name="connsiteX77" fmla="*/ 300600 w 597652"/>
              <a:gd name="connsiteY77" fmla="*/ 51711 h 110081"/>
              <a:gd name="connsiteX78" fmla="*/ 288648 w 597652"/>
              <a:gd name="connsiteY78" fmla="*/ 42564 h 110081"/>
              <a:gd name="connsiteX79" fmla="*/ 284291 w 597652"/>
              <a:gd name="connsiteY79" fmla="*/ 27504 h 110081"/>
              <a:gd name="connsiteX80" fmla="*/ 288461 w 597652"/>
              <a:gd name="connsiteY80" fmla="*/ 12570 h 110081"/>
              <a:gd name="connsiteX81" fmla="*/ 299978 w 597652"/>
              <a:gd name="connsiteY81" fmla="*/ 3298 h 110081"/>
              <a:gd name="connsiteX82" fmla="*/ 316412 w 597652"/>
              <a:gd name="connsiteY82" fmla="*/ 186 h 110081"/>
              <a:gd name="connsiteX83" fmla="*/ 332534 w 597652"/>
              <a:gd name="connsiteY83" fmla="*/ 3298 h 110081"/>
              <a:gd name="connsiteX84" fmla="*/ 343925 w 597652"/>
              <a:gd name="connsiteY84" fmla="*/ 12259 h 110081"/>
              <a:gd name="connsiteX85" fmla="*/ 348221 w 597652"/>
              <a:gd name="connsiteY85" fmla="*/ 27194 h 110081"/>
              <a:gd name="connsiteX86" fmla="*/ 343739 w 597652"/>
              <a:gd name="connsiteY86" fmla="*/ 42439 h 110081"/>
              <a:gd name="connsiteX87" fmla="*/ 331974 w 597652"/>
              <a:gd name="connsiteY87" fmla="*/ 51711 h 110081"/>
              <a:gd name="connsiteX88" fmla="*/ 346291 w 597652"/>
              <a:gd name="connsiteY88" fmla="*/ 61855 h 110081"/>
              <a:gd name="connsiteX89" fmla="*/ 351831 w 597652"/>
              <a:gd name="connsiteY89" fmla="*/ 79341 h 110081"/>
              <a:gd name="connsiteX90" fmla="*/ 347163 w 597652"/>
              <a:gd name="connsiteY90" fmla="*/ 95893 h 110081"/>
              <a:gd name="connsiteX91" fmla="*/ 334463 w 597652"/>
              <a:gd name="connsiteY91" fmla="*/ 106473 h 110081"/>
              <a:gd name="connsiteX92" fmla="*/ 316412 w 597652"/>
              <a:gd name="connsiteY92" fmla="*/ 110082 h 110081"/>
              <a:gd name="connsiteX93" fmla="*/ 316412 w 597652"/>
              <a:gd name="connsiteY93" fmla="*/ 46298 h 110081"/>
              <a:gd name="connsiteX94" fmla="*/ 329422 w 597652"/>
              <a:gd name="connsiteY94" fmla="*/ 41817 h 110081"/>
              <a:gd name="connsiteX95" fmla="*/ 334650 w 597652"/>
              <a:gd name="connsiteY95" fmla="*/ 29122 h 110081"/>
              <a:gd name="connsiteX96" fmla="*/ 329422 w 597652"/>
              <a:gd name="connsiteY96" fmla="*/ 16615 h 110081"/>
              <a:gd name="connsiteX97" fmla="*/ 316412 w 597652"/>
              <a:gd name="connsiteY97" fmla="*/ 11947 h 110081"/>
              <a:gd name="connsiteX98" fmla="*/ 303091 w 597652"/>
              <a:gd name="connsiteY98" fmla="*/ 16615 h 110081"/>
              <a:gd name="connsiteX99" fmla="*/ 297861 w 597652"/>
              <a:gd name="connsiteY99" fmla="*/ 29122 h 110081"/>
              <a:gd name="connsiteX100" fmla="*/ 303091 w 597652"/>
              <a:gd name="connsiteY100" fmla="*/ 41817 h 110081"/>
              <a:gd name="connsiteX101" fmla="*/ 316412 w 597652"/>
              <a:gd name="connsiteY101" fmla="*/ 46298 h 110081"/>
              <a:gd name="connsiteX102" fmla="*/ 316412 w 597652"/>
              <a:gd name="connsiteY102" fmla="*/ 98258 h 110081"/>
              <a:gd name="connsiteX103" fmla="*/ 331787 w 597652"/>
              <a:gd name="connsiteY103" fmla="*/ 92907 h 110081"/>
              <a:gd name="connsiteX104" fmla="*/ 338074 w 597652"/>
              <a:gd name="connsiteY104" fmla="*/ 77536 h 110081"/>
              <a:gd name="connsiteX105" fmla="*/ 331787 w 597652"/>
              <a:gd name="connsiteY105" fmla="*/ 62291 h 110081"/>
              <a:gd name="connsiteX106" fmla="*/ 316412 w 597652"/>
              <a:gd name="connsiteY106" fmla="*/ 56752 h 110081"/>
              <a:gd name="connsiteX107" fmla="*/ 300413 w 597652"/>
              <a:gd name="connsiteY107" fmla="*/ 62291 h 110081"/>
              <a:gd name="connsiteX108" fmla="*/ 294126 w 597652"/>
              <a:gd name="connsiteY108" fmla="*/ 77536 h 110081"/>
              <a:gd name="connsiteX109" fmla="*/ 300413 w 597652"/>
              <a:gd name="connsiteY109" fmla="*/ 92907 h 110081"/>
              <a:gd name="connsiteX110" fmla="*/ 316412 w 597652"/>
              <a:gd name="connsiteY110" fmla="*/ 98258 h 110081"/>
              <a:gd name="connsiteX111" fmla="*/ 432630 w 597652"/>
              <a:gd name="connsiteY111" fmla="*/ 108588 h 110081"/>
              <a:gd name="connsiteX112" fmla="*/ 364343 w 597652"/>
              <a:gd name="connsiteY112" fmla="*/ 108588 h 110081"/>
              <a:gd name="connsiteX113" fmla="*/ 364343 w 597652"/>
              <a:gd name="connsiteY113" fmla="*/ 94400 h 110081"/>
              <a:gd name="connsiteX114" fmla="*/ 390488 w 597652"/>
              <a:gd name="connsiteY114" fmla="*/ 72433 h 110081"/>
              <a:gd name="connsiteX115" fmla="*/ 406486 w 597652"/>
              <a:gd name="connsiteY115" fmla="*/ 56628 h 110081"/>
              <a:gd name="connsiteX116" fmla="*/ 414516 w 597652"/>
              <a:gd name="connsiteY116" fmla="*/ 43933 h 110081"/>
              <a:gd name="connsiteX117" fmla="*/ 416943 w 597652"/>
              <a:gd name="connsiteY117" fmla="*/ 32109 h 110081"/>
              <a:gd name="connsiteX118" fmla="*/ 411403 w 597652"/>
              <a:gd name="connsiteY118" fmla="*/ 17610 h 110081"/>
              <a:gd name="connsiteX119" fmla="*/ 396152 w 597652"/>
              <a:gd name="connsiteY119" fmla="*/ 12383 h 110081"/>
              <a:gd name="connsiteX120" fmla="*/ 367206 w 597652"/>
              <a:gd name="connsiteY120" fmla="*/ 27194 h 110081"/>
              <a:gd name="connsiteX121" fmla="*/ 367206 w 597652"/>
              <a:gd name="connsiteY121" fmla="*/ 12134 h 110081"/>
              <a:gd name="connsiteX122" fmla="*/ 396589 w 597652"/>
              <a:gd name="connsiteY122" fmla="*/ 0 h 110081"/>
              <a:gd name="connsiteX123" fmla="*/ 421986 w 597652"/>
              <a:gd name="connsiteY123" fmla="*/ 8401 h 110081"/>
              <a:gd name="connsiteX124" fmla="*/ 431448 w 597652"/>
              <a:gd name="connsiteY124" fmla="*/ 30803 h 110081"/>
              <a:gd name="connsiteX125" fmla="*/ 429020 w 597652"/>
              <a:gd name="connsiteY125" fmla="*/ 44804 h 110081"/>
              <a:gd name="connsiteX126" fmla="*/ 420990 w 597652"/>
              <a:gd name="connsiteY126" fmla="*/ 58681 h 110081"/>
              <a:gd name="connsiteX127" fmla="*/ 405303 w 597652"/>
              <a:gd name="connsiteY127" fmla="*/ 74860 h 110081"/>
              <a:gd name="connsiteX128" fmla="*/ 379906 w 597652"/>
              <a:gd name="connsiteY128" fmla="*/ 95769 h 110081"/>
              <a:gd name="connsiteX129" fmla="*/ 432630 w 597652"/>
              <a:gd name="connsiteY129" fmla="*/ 95769 h 110081"/>
              <a:gd name="connsiteX130" fmla="*/ 432630 w 597652"/>
              <a:gd name="connsiteY130" fmla="*/ 108588 h 110081"/>
              <a:gd name="connsiteX131" fmla="*/ 480562 w 597652"/>
              <a:gd name="connsiteY131" fmla="*/ 110082 h 110081"/>
              <a:gd name="connsiteX132" fmla="*/ 462323 w 597652"/>
              <a:gd name="connsiteY132" fmla="*/ 104233 h 110081"/>
              <a:gd name="connsiteX133" fmla="*/ 449624 w 597652"/>
              <a:gd name="connsiteY133" fmla="*/ 86311 h 110081"/>
              <a:gd name="connsiteX134" fmla="*/ 445142 w 597652"/>
              <a:gd name="connsiteY134" fmla="*/ 54947 h 110081"/>
              <a:gd name="connsiteX135" fmla="*/ 449624 w 597652"/>
              <a:gd name="connsiteY135" fmla="*/ 23584 h 110081"/>
              <a:gd name="connsiteX136" fmla="*/ 462323 w 597652"/>
              <a:gd name="connsiteY136" fmla="*/ 5849 h 110081"/>
              <a:gd name="connsiteX137" fmla="*/ 480562 w 597652"/>
              <a:gd name="connsiteY137" fmla="*/ 186 h 110081"/>
              <a:gd name="connsiteX138" fmla="*/ 498614 w 597652"/>
              <a:gd name="connsiteY138" fmla="*/ 5849 h 110081"/>
              <a:gd name="connsiteX139" fmla="*/ 511001 w 597652"/>
              <a:gd name="connsiteY139" fmla="*/ 23584 h 110081"/>
              <a:gd name="connsiteX140" fmla="*/ 515484 w 597652"/>
              <a:gd name="connsiteY140" fmla="*/ 54698 h 110081"/>
              <a:gd name="connsiteX141" fmla="*/ 511001 w 597652"/>
              <a:gd name="connsiteY141" fmla="*/ 86062 h 110081"/>
              <a:gd name="connsiteX142" fmla="*/ 498614 w 597652"/>
              <a:gd name="connsiteY142" fmla="*/ 104233 h 110081"/>
              <a:gd name="connsiteX143" fmla="*/ 480562 w 597652"/>
              <a:gd name="connsiteY143" fmla="*/ 110082 h 110081"/>
              <a:gd name="connsiteX144" fmla="*/ 480375 w 597652"/>
              <a:gd name="connsiteY144" fmla="*/ 98258 h 110081"/>
              <a:gd name="connsiteX145" fmla="*/ 491767 w 597652"/>
              <a:gd name="connsiteY145" fmla="*/ 94275 h 110081"/>
              <a:gd name="connsiteX146" fmla="*/ 498925 w 597652"/>
              <a:gd name="connsiteY146" fmla="*/ 80648 h 110081"/>
              <a:gd name="connsiteX147" fmla="*/ 501478 w 597652"/>
              <a:gd name="connsiteY147" fmla="*/ 55134 h 110081"/>
              <a:gd name="connsiteX148" fmla="*/ 499050 w 597652"/>
              <a:gd name="connsiteY148" fmla="*/ 29745 h 110081"/>
              <a:gd name="connsiteX149" fmla="*/ 491891 w 597652"/>
              <a:gd name="connsiteY149" fmla="*/ 16117 h 110081"/>
              <a:gd name="connsiteX150" fmla="*/ 480562 w 597652"/>
              <a:gd name="connsiteY150" fmla="*/ 11947 h 110081"/>
              <a:gd name="connsiteX151" fmla="*/ 469046 w 597652"/>
              <a:gd name="connsiteY151" fmla="*/ 16117 h 110081"/>
              <a:gd name="connsiteX152" fmla="*/ 461701 w 597652"/>
              <a:gd name="connsiteY152" fmla="*/ 29745 h 110081"/>
              <a:gd name="connsiteX153" fmla="*/ 459148 w 597652"/>
              <a:gd name="connsiteY153" fmla="*/ 55134 h 110081"/>
              <a:gd name="connsiteX154" fmla="*/ 461576 w 597652"/>
              <a:gd name="connsiteY154" fmla="*/ 80648 h 110081"/>
              <a:gd name="connsiteX155" fmla="*/ 468860 w 597652"/>
              <a:gd name="connsiteY155" fmla="*/ 94275 h 110081"/>
              <a:gd name="connsiteX156" fmla="*/ 480375 w 597652"/>
              <a:gd name="connsiteY156" fmla="*/ 98258 h 110081"/>
              <a:gd name="connsiteX157" fmla="*/ 562668 w 597652"/>
              <a:gd name="connsiteY157" fmla="*/ 110082 h 110081"/>
              <a:gd name="connsiteX158" fmla="*/ 544430 w 597652"/>
              <a:gd name="connsiteY158" fmla="*/ 104233 h 110081"/>
              <a:gd name="connsiteX159" fmla="*/ 531731 w 597652"/>
              <a:gd name="connsiteY159" fmla="*/ 86311 h 110081"/>
              <a:gd name="connsiteX160" fmla="*/ 527249 w 597652"/>
              <a:gd name="connsiteY160" fmla="*/ 54947 h 110081"/>
              <a:gd name="connsiteX161" fmla="*/ 531731 w 597652"/>
              <a:gd name="connsiteY161" fmla="*/ 23584 h 110081"/>
              <a:gd name="connsiteX162" fmla="*/ 544430 w 597652"/>
              <a:gd name="connsiteY162" fmla="*/ 5849 h 110081"/>
              <a:gd name="connsiteX163" fmla="*/ 562668 w 597652"/>
              <a:gd name="connsiteY163" fmla="*/ 186 h 110081"/>
              <a:gd name="connsiteX164" fmla="*/ 580783 w 597652"/>
              <a:gd name="connsiteY164" fmla="*/ 5849 h 110081"/>
              <a:gd name="connsiteX165" fmla="*/ 593170 w 597652"/>
              <a:gd name="connsiteY165" fmla="*/ 23584 h 110081"/>
              <a:gd name="connsiteX166" fmla="*/ 597652 w 597652"/>
              <a:gd name="connsiteY166" fmla="*/ 54698 h 110081"/>
              <a:gd name="connsiteX167" fmla="*/ 593170 w 597652"/>
              <a:gd name="connsiteY167" fmla="*/ 86062 h 110081"/>
              <a:gd name="connsiteX168" fmla="*/ 580783 w 597652"/>
              <a:gd name="connsiteY168" fmla="*/ 104233 h 110081"/>
              <a:gd name="connsiteX169" fmla="*/ 562668 w 597652"/>
              <a:gd name="connsiteY169" fmla="*/ 110082 h 110081"/>
              <a:gd name="connsiteX170" fmla="*/ 562544 w 597652"/>
              <a:gd name="connsiteY170" fmla="*/ 98258 h 110081"/>
              <a:gd name="connsiteX171" fmla="*/ 573873 w 597652"/>
              <a:gd name="connsiteY171" fmla="*/ 94275 h 110081"/>
              <a:gd name="connsiteX172" fmla="*/ 581031 w 597652"/>
              <a:gd name="connsiteY172" fmla="*/ 80648 h 110081"/>
              <a:gd name="connsiteX173" fmla="*/ 583584 w 597652"/>
              <a:gd name="connsiteY173" fmla="*/ 55134 h 110081"/>
              <a:gd name="connsiteX174" fmla="*/ 581218 w 597652"/>
              <a:gd name="connsiteY174" fmla="*/ 29745 h 110081"/>
              <a:gd name="connsiteX175" fmla="*/ 574060 w 597652"/>
              <a:gd name="connsiteY175" fmla="*/ 16117 h 110081"/>
              <a:gd name="connsiteX176" fmla="*/ 562668 w 597652"/>
              <a:gd name="connsiteY176" fmla="*/ 11947 h 110081"/>
              <a:gd name="connsiteX177" fmla="*/ 551152 w 597652"/>
              <a:gd name="connsiteY177" fmla="*/ 16117 h 110081"/>
              <a:gd name="connsiteX178" fmla="*/ 543869 w 597652"/>
              <a:gd name="connsiteY178" fmla="*/ 29745 h 110081"/>
              <a:gd name="connsiteX179" fmla="*/ 541317 w 597652"/>
              <a:gd name="connsiteY179" fmla="*/ 55134 h 110081"/>
              <a:gd name="connsiteX180" fmla="*/ 543682 w 597652"/>
              <a:gd name="connsiteY180" fmla="*/ 80648 h 110081"/>
              <a:gd name="connsiteX181" fmla="*/ 551028 w 597652"/>
              <a:gd name="connsiteY181" fmla="*/ 94275 h 110081"/>
              <a:gd name="connsiteX182" fmla="*/ 562544 w 597652"/>
              <a:gd name="connsiteY182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65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89672" y="108588"/>
                </a:moveTo>
                <a:lnTo>
                  <a:pt x="174733" y="108588"/>
                </a:lnTo>
                <a:lnTo>
                  <a:pt x="163715" y="77972"/>
                </a:lnTo>
                <a:lnTo>
                  <a:pt x="116344" y="77972"/>
                </a:lnTo>
                <a:lnTo>
                  <a:pt x="105450" y="108588"/>
                </a:lnTo>
                <a:lnTo>
                  <a:pt x="92316" y="108588"/>
                </a:lnTo>
                <a:lnTo>
                  <a:pt x="130412" y="1493"/>
                </a:lnTo>
                <a:lnTo>
                  <a:pt x="151328" y="1493"/>
                </a:lnTo>
                <a:lnTo>
                  <a:pt x="189672" y="108588"/>
                </a:lnTo>
                <a:close/>
                <a:moveTo>
                  <a:pt x="120950" y="65278"/>
                </a:moveTo>
                <a:lnTo>
                  <a:pt x="159233" y="65278"/>
                </a:lnTo>
                <a:lnTo>
                  <a:pt x="140122" y="11947"/>
                </a:lnTo>
                <a:lnTo>
                  <a:pt x="120950" y="65278"/>
                </a:lnTo>
                <a:close/>
                <a:moveTo>
                  <a:pt x="229201" y="110082"/>
                </a:moveTo>
                <a:cubicBezTo>
                  <a:pt x="217249" y="110082"/>
                  <a:pt x="207725" y="107530"/>
                  <a:pt x="200628" y="102490"/>
                </a:cubicBezTo>
                <a:lnTo>
                  <a:pt x="200628" y="87804"/>
                </a:lnTo>
                <a:cubicBezTo>
                  <a:pt x="204862" y="91226"/>
                  <a:pt x="209219" y="93778"/>
                  <a:pt x="213825" y="95458"/>
                </a:cubicBezTo>
                <a:cubicBezTo>
                  <a:pt x="218370" y="97014"/>
                  <a:pt x="223536" y="97823"/>
                  <a:pt x="229201" y="97823"/>
                </a:cubicBezTo>
                <a:cubicBezTo>
                  <a:pt x="236546" y="97823"/>
                  <a:pt x="242211" y="95583"/>
                  <a:pt x="246195" y="91102"/>
                </a:cubicBezTo>
                <a:cubicBezTo>
                  <a:pt x="250304" y="86621"/>
                  <a:pt x="252357" y="80772"/>
                  <a:pt x="252357" y="73491"/>
                </a:cubicBezTo>
                <a:cubicBezTo>
                  <a:pt x="252357" y="65713"/>
                  <a:pt x="250365" y="60050"/>
                  <a:pt x="246382" y="56441"/>
                </a:cubicBezTo>
                <a:cubicBezTo>
                  <a:pt x="242398" y="52894"/>
                  <a:pt x="237355" y="51089"/>
                  <a:pt x="231255" y="51089"/>
                </a:cubicBezTo>
                <a:cubicBezTo>
                  <a:pt x="226898" y="51089"/>
                  <a:pt x="223349" y="51836"/>
                  <a:pt x="220673" y="53329"/>
                </a:cubicBezTo>
                <a:cubicBezTo>
                  <a:pt x="217996" y="54698"/>
                  <a:pt x="215942" y="56192"/>
                  <a:pt x="214572" y="57810"/>
                </a:cubicBezTo>
                <a:lnTo>
                  <a:pt x="203617" y="57810"/>
                </a:lnTo>
                <a:lnTo>
                  <a:pt x="203617" y="1493"/>
                </a:lnTo>
                <a:lnTo>
                  <a:pt x="261633" y="1493"/>
                </a:lnTo>
                <a:lnTo>
                  <a:pt x="261633" y="14374"/>
                </a:lnTo>
                <a:lnTo>
                  <a:pt x="215880" y="14374"/>
                </a:lnTo>
                <a:lnTo>
                  <a:pt x="215880" y="44991"/>
                </a:lnTo>
                <a:cubicBezTo>
                  <a:pt x="217871" y="43498"/>
                  <a:pt x="220299" y="42190"/>
                  <a:pt x="223225" y="41071"/>
                </a:cubicBezTo>
                <a:cubicBezTo>
                  <a:pt x="226089" y="39888"/>
                  <a:pt x="229512" y="39266"/>
                  <a:pt x="233496" y="39266"/>
                </a:cubicBezTo>
                <a:cubicBezTo>
                  <a:pt x="239721" y="39266"/>
                  <a:pt x="245261" y="40572"/>
                  <a:pt x="250241" y="43186"/>
                </a:cubicBezTo>
                <a:cubicBezTo>
                  <a:pt x="255221" y="45675"/>
                  <a:pt x="259142" y="49471"/>
                  <a:pt x="262068" y="54512"/>
                </a:cubicBezTo>
                <a:cubicBezTo>
                  <a:pt x="265057" y="59490"/>
                  <a:pt x="266550" y="65713"/>
                  <a:pt x="266550" y="73181"/>
                </a:cubicBezTo>
                <a:cubicBezTo>
                  <a:pt x="266550" y="80586"/>
                  <a:pt x="264994" y="87058"/>
                  <a:pt x="261882" y="92596"/>
                </a:cubicBezTo>
                <a:cubicBezTo>
                  <a:pt x="258893" y="98196"/>
                  <a:pt x="254661" y="102490"/>
                  <a:pt x="249058" y="105601"/>
                </a:cubicBezTo>
                <a:cubicBezTo>
                  <a:pt x="243456" y="108588"/>
                  <a:pt x="236858" y="110082"/>
                  <a:pt x="229201" y="110082"/>
                </a:cubicBezTo>
                <a:close/>
                <a:moveTo>
                  <a:pt x="316412" y="110082"/>
                </a:moveTo>
                <a:cubicBezTo>
                  <a:pt x="309440" y="110082"/>
                  <a:pt x="303215" y="108900"/>
                  <a:pt x="297737" y="106473"/>
                </a:cubicBezTo>
                <a:cubicBezTo>
                  <a:pt x="292383" y="104108"/>
                  <a:pt x="288151" y="100685"/>
                  <a:pt x="285038" y="96205"/>
                </a:cubicBezTo>
                <a:cubicBezTo>
                  <a:pt x="281926" y="91600"/>
                  <a:pt x="280432" y="86124"/>
                  <a:pt x="280432" y="79777"/>
                </a:cubicBezTo>
                <a:cubicBezTo>
                  <a:pt x="280432" y="72869"/>
                  <a:pt x="282175" y="67082"/>
                  <a:pt x="285785" y="62291"/>
                </a:cubicBezTo>
                <a:cubicBezTo>
                  <a:pt x="289458" y="57437"/>
                  <a:pt x="294376" y="53889"/>
                  <a:pt x="300600" y="51711"/>
                </a:cubicBezTo>
                <a:cubicBezTo>
                  <a:pt x="295620" y="49720"/>
                  <a:pt x="291636" y="46671"/>
                  <a:pt x="288648" y="42564"/>
                </a:cubicBezTo>
                <a:cubicBezTo>
                  <a:pt x="285723" y="38519"/>
                  <a:pt x="284291" y="33479"/>
                  <a:pt x="284291" y="27504"/>
                </a:cubicBezTo>
                <a:cubicBezTo>
                  <a:pt x="284291" y="21593"/>
                  <a:pt x="285661" y="16615"/>
                  <a:pt x="288461" y="12570"/>
                </a:cubicBezTo>
                <a:cubicBezTo>
                  <a:pt x="291263" y="8463"/>
                  <a:pt x="295122" y="5414"/>
                  <a:pt x="299978" y="3298"/>
                </a:cubicBezTo>
                <a:cubicBezTo>
                  <a:pt x="304833" y="1182"/>
                  <a:pt x="310311" y="186"/>
                  <a:pt x="316412" y="186"/>
                </a:cubicBezTo>
                <a:cubicBezTo>
                  <a:pt x="322388" y="186"/>
                  <a:pt x="327741" y="1182"/>
                  <a:pt x="332534" y="3298"/>
                </a:cubicBezTo>
                <a:cubicBezTo>
                  <a:pt x="337327" y="5289"/>
                  <a:pt x="341125" y="8276"/>
                  <a:pt x="343925" y="12259"/>
                </a:cubicBezTo>
                <a:cubicBezTo>
                  <a:pt x="346789" y="16242"/>
                  <a:pt x="348221" y="21219"/>
                  <a:pt x="348221" y="27194"/>
                </a:cubicBezTo>
                <a:cubicBezTo>
                  <a:pt x="348221" y="33292"/>
                  <a:pt x="346727" y="38332"/>
                  <a:pt x="343739" y="42439"/>
                </a:cubicBezTo>
                <a:cubicBezTo>
                  <a:pt x="340751" y="46484"/>
                  <a:pt x="336829" y="49596"/>
                  <a:pt x="331974" y="51711"/>
                </a:cubicBezTo>
                <a:cubicBezTo>
                  <a:pt x="337950" y="53765"/>
                  <a:pt x="342681" y="57188"/>
                  <a:pt x="346291" y="61855"/>
                </a:cubicBezTo>
                <a:cubicBezTo>
                  <a:pt x="349963" y="66522"/>
                  <a:pt x="351831" y="72372"/>
                  <a:pt x="351831" y="79341"/>
                </a:cubicBezTo>
                <a:cubicBezTo>
                  <a:pt x="351831" y="85688"/>
                  <a:pt x="350275" y="91226"/>
                  <a:pt x="347163" y="95893"/>
                </a:cubicBezTo>
                <a:cubicBezTo>
                  <a:pt x="344112" y="100498"/>
                  <a:pt x="339879" y="103983"/>
                  <a:pt x="334463" y="106473"/>
                </a:cubicBezTo>
                <a:cubicBezTo>
                  <a:pt x="329235" y="108900"/>
                  <a:pt x="323197" y="110082"/>
                  <a:pt x="316412" y="110082"/>
                </a:cubicBezTo>
                <a:close/>
                <a:moveTo>
                  <a:pt x="316412" y="46298"/>
                </a:moveTo>
                <a:cubicBezTo>
                  <a:pt x="321703" y="46298"/>
                  <a:pt x="325998" y="44804"/>
                  <a:pt x="329422" y="41817"/>
                </a:cubicBezTo>
                <a:cubicBezTo>
                  <a:pt x="332907" y="38768"/>
                  <a:pt x="334650" y="34536"/>
                  <a:pt x="334650" y="29122"/>
                </a:cubicBezTo>
                <a:cubicBezTo>
                  <a:pt x="334650" y="23771"/>
                  <a:pt x="332907" y="19601"/>
                  <a:pt x="329422" y="16615"/>
                </a:cubicBezTo>
                <a:cubicBezTo>
                  <a:pt x="325998" y="13503"/>
                  <a:pt x="321703" y="11947"/>
                  <a:pt x="316412" y="11947"/>
                </a:cubicBezTo>
                <a:cubicBezTo>
                  <a:pt x="311120" y="11947"/>
                  <a:pt x="306701" y="13503"/>
                  <a:pt x="303091" y="16615"/>
                </a:cubicBezTo>
                <a:cubicBezTo>
                  <a:pt x="299604" y="19601"/>
                  <a:pt x="297861" y="23771"/>
                  <a:pt x="297861" y="29122"/>
                </a:cubicBezTo>
                <a:cubicBezTo>
                  <a:pt x="297861" y="34536"/>
                  <a:pt x="299604" y="38768"/>
                  <a:pt x="303091" y="41817"/>
                </a:cubicBezTo>
                <a:cubicBezTo>
                  <a:pt x="306701" y="44804"/>
                  <a:pt x="311120" y="46298"/>
                  <a:pt x="316412" y="46298"/>
                </a:cubicBezTo>
                <a:close/>
                <a:moveTo>
                  <a:pt x="316412" y="98258"/>
                </a:moveTo>
                <a:cubicBezTo>
                  <a:pt x="322574" y="98258"/>
                  <a:pt x="327741" y="96516"/>
                  <a:pt x="331787" y="92907"/>
                </a:cubicBezTo>
                <a:cubicBezTo>
                  <a:pt x="335957" y="89235"/>
                  <a:pt x="338074" y="84071"/>
                  <a:pt x="338074" y="77536"/>
                </a:cubicBezTo>
                <a:cubicBezTo>
                  <a:pt x="338074" y="70940"/>
                  <a:pt x="335957" y="65900"/>
                  <a:pt x="331787" y="62291"/>
                </a:cubicBezTo>
                <a:cubicBezTo>
                  <a:pt x="327741" y="58619"/>
                  <a:pt x="322574" y="56752"/>
                  <a:pt x="316412" y="56752"/>
                </a:cubicBezTo>
                <a:cubicBezTo>
                  <a:pt x="310062" y="56752"/>
                  <a:pt x="304709" y="58619"/>
                  <a:pt x="300413" y="62291"/>
                </a:cubicBezTo>
                <a:cubicBezTo>
                  <a:pt x="296243" y="65900"/>
                  <a:pt x="294126" y="70940"/>
                  <a:pt x="294126" y="77536"/>
                </a:cubicBezTo>
                <a:cubicBezTo>
                  <a:pt x="294126" y="84071"/>
                  <a:pt x="296243" y="89235"/>
                  <a:pt x="300413" y="92907"/>
                </a:cubicBezTo>
                <a:cubicBezTo>
                  <a:pt x="304709" y="96516"/>
                  <a:pt x="310062" y="98258"/>
                  <a:pt x="316412" y="98258"/>
                </a:cubicBezTo>
                <a:close/>
                <a:moveTo>
                  <a:pt x="432630" y="108588"/>
                </a:moveTo>
                <a:lnTo>
                  <a:pt x="364343" y="108588"/>
                </a:lnTo>
                <a:lnTo>
                  <a:pt x="364343" y="94400"/>
                </a:lnTo>
                <a:cubicBezTo>
                  <a:pt x="374988" y="85812"/>
                  <a:pt x="383703" y="78532"/>
                  <a:pt x="390488" y="72433"/>
                </a:cubicBezTo>
                <a:cubicBezTo>
                  <a:pt x="397336" y="66397"/>
                  <a:pt x="402689" y="61108"/>
                  <a:pt x="406486" y="56628"/>
                </a:cubicBezTo>
                <a:cubicBezTo>
                  <a:pt x="410345" y="52023"/>
                  <a:pt x="413022" y="47791"/>
                  <a:pt x="414516" y="43933"/>
                </a:cubicBezTo>
                <a:cubicBezTo>
                  <a:pt x="416134" y="40012"/>
                  <a:pt x="416943" y="36092"/>
                  <a:pt x="416943" y="32109"/>
                </a:cubicBezTo>
                <a:cubicBezTo>
                  <a:pt x="416943" y="25949"/>
                  <a:pt x="415076" y="21095"/>
                  <a:pt x="411403" y="17610"/>
                </a:cubicBezTo>
                <a:cubicBezTo>
                  <a:pt x="407731" y="14125"/>
                  <a:pt x="402627" y="12383"/>
                  <a:pt x="396152" y="12383"/>
                </a:cubicBezTo>
                <a:cubicBezTo>
                  <a:pt x="385819" y="12383"/>
                  <a:pt x="376171" y="17361"/>
                  <a:pt x="367206" y="27194"/>
                </a:cubicBezTo>
                <a:lnTo>
                  <a:pt x="367206" y="12134"/>
                </a:lnTo>
                <a:cubicBezTo>
                  <a:pt x="375424" y="4044"/>
                  <a:pt x="385259" y="0"/>
                  <a:pt x="396589" y="0"/>
                </a:cubicBezTo>
                <a:cubicBezTo>
                  <a:pt x="407358" y="0"/>
                  <a:pt x="415823" y="2800"/>
                  <a:pt x="421986" y="8401"/>
                </a:cubicBezTo>
                <a:cubicBezTo>
                  <a:pt x="428273" y="13877"/>
                  <a:pt x="431448" y="21344"/>
                  <a:pt x="431448" y="30803"/>
                </a:cubicBezTo>
                <a:cubicBezTo>
                  <a:pt x="431448" y="35657"/>
                  <a:pt x="430639" y="40324"/>
                  <a:pt x="429020" y="44804"/>
                </a:cubicBezTo>
                <a:cubicBezTo>
                  <a:pt x="427526" y="49222"/>
                  <a:pt x="424849" y="53827"/>
                  <a:pt x="420990" y="58681"/>
                </a:cubicBezTo>
                <a:cubicBezTo>
                  <a:pt x="417193" y="63473"/>
                  <a:pt x="411964" y="68887"/>
                  <a:pt x="405303" y="74860"/>
                </a:cubicBezTo>
                <a:cubicBezTo>
                  <a:pt x="398580" y="80835"/>
                  <a:pt x="390114" y="87804"/>
                  <a:pt x="379906" y="95769"/>
                </a:cubicBezTo>
                <a:lnTo>
                  <a:pt x="432630" y="95769"/>
                </a:lnTo>
                <a:lnTo>
                  <a:pt x="432630" y="108588"/>
                </a:lnTo>
                <a:close/>
                <a:moveTo>
                  <a:pt x="480562" y="110082"/>
                </a:moveTo>
                <a:cubicBezTo>
                  <a:pt x="473777" y="110082"/>
                  <a:pt x="467676" y="108153"/>
                  <a:pt x="462323" y="104233"/>
                </a:cubicBezTo>
                <a:cubicBezTo>
                  <a:pt x="456907" y="100374"/>
                  <a:pt x="452674" y="94400"/>
                  <a:pt x="449624" y="86311"/>
                </a:cubicBezTo>
                <a:cubicBezTo>
                  <a:pt x="446636" y="78159"/>
                  <a:pt x="445142" y="67705"/>
                  <a:pt x="445142" y="54947"/>
                </a:cubicBezTo>
                <a:cubicBezTo>
                  <a:pt x="445142" y="42128"/>
                  <a:pt x="446636" y="31674"/>
                  <a:pt x="449624" y="23584"/>
                </a:cubicBezTo>
                <a:cubicBezTo>
                  <a:pt x="452674" y="15557"/>
                  <a:pt x="456907" y="9645"/>
                  <a:pt x="462323" y="5849"/>
                </a:cubicBezTo>
                <a:cubicBezTo>
                  <a:pt x="467676" y="2053"/>
                  <a:pt x="473777" y="186"/>
                  <a:pt x="480562" y="186"/>
                </a:cubicBezTo>
                <a:cubicBezTo>
                  <a:pt x="487285" y="186"/>
                  <a:pt x="493323" y="2053"/>
                  <a:pt x="498614" y="5849"/>
                </a:cubicBezTo>
                <a:cubicBezTo>
                  <a:pt x="503906" y="9645"/>
                  <a:pt x="508014" y="15557"/>
                  <a:pt x="511001" y="23584"/>
                </a:cubicBezTo>
                <a:cubicBezTo>
                  <a:pt x="513990" y="31549"/>
                  <a:pt x="515484" y="41942"/>
                  <a:pt x="515484" y="54698"/>
                </a:cubicBezTo>
                <a:cubicBezTo>
                  <a:pt x="515484" y="67331"/>
                  <a:pt x="513990" y="77786"/>
                  <a:pt x="511001" y="86062"/>
                </a:cubicBezTo>
                <a:cubicBezTo>
                  <a:pt x="508014" y="94213"/>
                  <a:pt x="503906" y="100250"/>
                  <a:pt x="498614" y="104233"/>
                </a:cubicBezTo>
                <a:cubicBezTo>
                  <a:pt x="493323" y="108153"/>
                  <a:pt x="487285" y="110082"/>
                  <a:pt x="480562" y="110082"/>
                </a:cubicBezTo>
                <a:close/>
                <a:moveTo>
                  <a:pt x="480375" y="98258"/>
                </a:moveTo>
                <a:cubicBezTo>
                  <a:pt x="484857" y="98258"/>
                  <a:pt x="488654" y="96952"/>
                  <a:pt x="491767" y="94275"/>
                </a:cubicBezTo>
                <a:cubicBezTo>
                  <a:pt x="494941" y="91475"/>
                  <a:pt x="497307" y="86933"/>
                  <a:pt x="498925" y="80648"/>
                </a:cubicBezTo>
                <a:cubicBezTo>
                  <a:pt x="500606" y="74300"/>
                  <a:pt x="501478" y="65775"/>
                  <a:pt x="501478" y="55134"/>
                </a:cubicBezTo>
                <a:cubicBezTo>
                  <a:pt x="501478" y="44493"/>
                  <a:pt x="500669" y="36030"/>
                  <a:pt x="499050" y="29745"/>
                </a:cubicBezTo>
                <a:cubicBezTo>
                  <a:pt x="497494" y="23336"/>
                  <a:pt x="495066" y="18855"/>
                  <a:pt x="491891" y="16117"/>
                </a:cubicBezTo>
                <a:cubicBezTo>
                  <a:pt x="488779" y="13379"/>
                  <a:pt x="485044" y="11947"/>
                  <a:pt x="480562" y="11947"/>
                </a:cubicBezTo>
                <a:cubicBezTo>
                  <a:pt x="476080" y="11947"/>
                  <a:pt x="472220" y="13379"/>
                  <a:pt x="469046" y="16117"/>
                </a:cubicBezTo>
                <a:cubicBezTo>
                  <a:pt x="465871" y="18855"/>
                  <a:pt x="463382" y="23336"/>
                  <a:pt x="461701" y="29745"/>
                </a:cubicBezTo>
                <a:cubicBezTo>
                  <a:pt x="460020" y="36030"/>
                  <a:pt x="459148" y="44493"/>
                  <a:pt x="459148" y="55134"/>
                </a:cubicBezTo>
                <a:cubicBezTo>
                  <a:pt x="459148" y="65775"/>
                  <a:pt x="459958" y="74300"/>
                  <a:pt x="461576" y="80648"/>
                </a:cubicBezTo>
                <a:cubicBezTo>
                  <a:pt x="463257" y="86933"/>
                  <a:pt x="465685" y="91475"/>
                  <a:pt x="468860" y="94275"/>
                </a:cubicBezTo>
                <a:cubicBezTo>
                  <a:pt x="472096" y="96952"/>
                  <a:pt x="475894" y="98258"/>
                  <a:pt x="480375" y="98258"/>
                </a:cubicBezTo>
                <a:close/>
                <a:moveTo>
                  <a:pt x="562668" y="110082"/>
                </a:moveTo>
                <a:cubicBezTo>
                  <a:pt x="555883" y="110082"/>
                  <a:pt x="549845" y="108153"/>
                  <a:pt x="544430" y="104233"/>
                </a:cubicBezTo>
                <a:cubicBezTo>
                  <a:pt x="539076" y="100374"/>
                  <a:pt x="534843" y="94400"/>
                  <a:pt x="531731" y="86311"/>
                </a:cubicBezTo>
                <a:cubicBezTo>
                  <a:pt x="528743" y="78159"/>
                  <a:pt x="527249" y="67705"/>
                  <a:pt x="527249" y="54947"/>
                </a:cubicBezTo>
                <a:cubicBezTo>
                  <a:pt x="527249" y="42128"/>
                  <a:pt x="528743" y="31674"/>
                  <a:pt x="531731" y="23584"/>
                </a:cubicBezTo>
                <a:cubicBezTo>
                  <a:pt x="534843" y="15557"/>
                  <a:pt x="539076" y="9645"/>
                  <a:pt x="544430" y="5849"/>
                </a:cubicBezTo>
                <a:cubicBezTo>
                  <a:pt x="549845" y="2053"/>
                  <a:pt x="555883" y="186"/>
                  <a:pt x="562668" y="186"/>
                </a:cubicBezTo>
                <a:cubicBezTo>
                  <a:pt x="569453" y="186"/>
                  <a:pt x="575492" y="2053"/>
                  <a:pt x="580783" y="5849"/>
                </a:cubicBezTo>
                <a:cubicBezTo>
                  <a:pt x="586012" y="9645"/>
                  <a:pt x="590183" y="15557"/>
                  <a:pt x="593170" y="23584"/>
                </a:cubicBezTo>
                <a:cubicBezTo>
                  <a:pt x="596158" y="31549"/>
                  <a:pt x="597652" y="41942"/>
                  <a:pt x="597652" y="54698"/>
                </a:cubicBezTo>
                <a:cubicBezTo>
                  <a:pt x="597652" y="67331"/>
                  <a:pt x="596158" y="77786"/>
                  <a:pt x="593170" y="86062"/>
                </a:cubicBezTo>
                <a:cubicBezTo>
                  <a:pt x="590183" y="94213"/>
                  <a:pt x="586012" y="100250"/>
                  <a:pt x="580783" y="104233"/>
                </a:cubicBezTo>
                <a:cubicBezTo>
                  <a:pt x="575492" y="108153"/>
                  <a:pt x="569453" y="110082"/>
                  <a:pt x="562668" y="110082"/>
                </a:cubicBezTo>
                <a:close/>
                <a:moveTo>
                  <a:pt x="562544" y="98258"/>
                </a:moveTo>
                <a:cubicBezTo>
                  <a:pt x="567025" y="98258"/>
                  <a:pt x="570823" y="96952"/>
                  <a:pt x="573873" y="94275"/>
                </a:cubicBezTo>
                <a:cubicBezTo>
                  <a:pt x="577048" y="91475"/>
                  <a:pt x="579475" y="86933"/>
                  <a:pt x="581031" y="80648"/>
                </a:cubicBezTo>
                <a:cubicBezTo>
                  <a:pt x="582775" y="74300"/>
                  <a:pt x="583584" y="65775"/>
                  <a:pt x="583584" y="55134"/>
                </a:cubicBezTo>
                <a:cubicBezTo>
                  <a:pt x="583584" y="44493"/>
                  <a:pt x="582775" y="36030"/>
                  <a:pt x="581218" y="29745"/>
                </a:cubicBezTo>
                <a:cubicBezTo>
                  <a:pt x="579600" y="23336"/>
                  <a:pt x="577234" y="18855"/>
                  <a:pt x="574060" y="16117"/>
                </a:cubicBezTo>
                <a:cubicBezTo>
                  <a:pt x="570947" y="13379"/>
                  <a:pt x="567150" y="11947"/>
                  <a:pt x="562668" y="11947"/>
                </a:cubicBezTo>
                <a:cubicBezTo>
                  <a:pt x="558187" y="11947"/>
                  <a:pt x="554390" y="13379"/>
                  <a:pt x="551152" y="16117"/>
                </a:cubicBezTo>
                <a:cubicBezTo>
                  <a:pt x="547978" y="18855"/>
                  <a:pt x="545550" y="23336"/>
                  <a:pt x="543869" y="29745"/>
                </a:cubicBezTo>
                <a:cubicBezTo>
                  <a:pt x="542188" y="36030"/>
                  <a:pt x="541317" y="44493"/>
                  <a:pt x="541317" y="55134"/>
                </a:cubicBezTo>
                <a:cubicBezTo>
                  <a:pt x="541317" y="65775"/>
                  <a:pt x="542126" y="74300"/>
                  <a:pt x="543682" y="80648"/>
                </a:cubicBezTo>
                <a:cubicBezTo>
                  <a:pt x="545425" y="86933"/>
                  <a:pt x="547853" y="91475"/>
                  <a:pt x="551028" y="94275"/>
                </a:cubicBezTo>
                <a:cubicBezTo>
                  <a:pt x="554203" y="96952"/>
                  <a:pt x="558062" y="98258"/>
                  <a:pt x="56254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5" name="Полилиния 1084">
            <a:extLst>
              <a:ext uri="{FF2B5EF4-FFF2-40B4-BE49-F238E27FC236}">
                <a16:creationId xmlns:a16="http://schemas.microsoft.com/office/drawing/2014/main" id="{6B6D4F78-4979-9F76-73CF-FCD40AE6DE3A}"/>
              </a:ext>
            </a:extLst>
          </p:cNvPr>
          <p:cNvSpPr/>
          <p:nvPr userDrawn="1"/>
        </p:nvSpPr>
        <p:spPr>
          <a:xfrm>
            <a:off x="21534071" y="5240073"/>
            <a:ext cx="1398954" cy="726227"/>
          </a:xfrm>
          <a:custGeom>
            <a:avLst/>
            <a:gdLst>
              <a:gd name="connsiteX0" fmla="*/ 1275 w 1198727"/>
              <a:gd name="connsiteY0" fmla="*/ 1222 h 622284"/>
              <a:gd name="connsiteX1" fmla="*/ 1200003 w 1198727"/>
              <a:gd name="connsiteY1" fmla="*/ 1222 h 622284"/>
              <a:gd name="connsiteX2" fmla="*/ 1200003 w 1198727"/>
              <a:gd name="connsiteY2" fmla="*/ 623506 h 622284"/>
              <a:gd name="connsiteX3" fmla="*/ 1275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222"/>
                </a:moveTo>
                <a:lnTo>
                  <a:pt x="1200003" y="1222"/>
                </a:lnTo>
                <a:lnTo>
                  <a:pt x="1200003" y="623506"/>
                </a:lnTo>
                <a:lnTo>
                  <a:pt x="1275" y="623506"/>
                </a:lnTo>
                <a:close/>
              </a:path>
            </a:pathLst>
          </a:custGeom>
          <a:solidFill>
            <a:srgbClr val="CDA5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6" name="Полилиния 1085">
            <a:extLst>
              <a:ext uri="{FF2B5EF4-FFF2-40B4-BE49-F238E27FC236}">
                <a16:creationId xmlns:a16="http://schemas.microsoft.com/office/drawing/2014/main" id="{D04215F1-B48A-B765-C803-519C5226E1A3}"/>
              </a:ext>
            </a:extLst>
          </p:cNvPr>
          <p:cNvSpPr/>
          <p:nvPr userDrawn="1"/>
        </p:nvSpPr>
        <p:spPr>
          <a:xfrm>
            <a:off x="21657280" y="5542037"/>
            <a:ext cx="746661" cy="128252"/>
          </a:xfrm>
          <a:custGeom>
            <a:avLst/>
            <a:gdLst>
              <a:gd name="connsiteX0" fmla="*/ 22099 w 639794"/>
              <a:gd name="connsiteY0" fmla="*/ 108402 h 109895"/>
              <a:gd name="connsiteX1" fmla="*/ 10147 w 639794"/>
              <a:gd name="connsiteY1" fmla="*/ 108402 h 109895"/>
              <a:gd name="connsiteX2" fmla="*/ 16434 w 639794"/>
              <a:gd name="connsiteY2" fmla="*/ 77475 h 109895"/>
              <a:gd name="connsiteX3" fmla="*/ 0 w 639794"/>
              <a:gd name="connsiteY3" fmla="*/ 77475 h 109895"/>
              <a:gd name="connsiteX4" fmla="*/ 0 w 639794"/>
              <a:gd name="connsiteY4" fmla="*/ 67020 h 109895"/>
              <a:gd name="connsiteX5" fmla="*/ 18675 w 639794"/>
              <a:gd name="connsiteY5" fmla="*/ 67020 h 109895"/>
              <a:gd name="connsiteX6" fmla="*/ 24215 w 639794"/>
              <a:gd name="connsiteY6" fmla="*/ 39826 h 109895"/>
              <a:gd name="connsiteX7" fmla="*/ 4046 w 639794"/>
              <a:gd name="connsiteY7" fmla="*/ 39826 h 109895"/>
              <a:gd name="connsiteX8" fmla="*/ 4046 w 639794"/>
              <a:gd name="connsiteY8" fmla="*/ 29372 h 109895"/>
              <a:gd name="connsiteX9" fmla="*/ 26269 w 639794"/>
              <a:gd name="connsiteY9" fmla="*/ 29372 h 109895"/>
              <a:gd name="connsiteX10" fmla="*/ 32121 w 639794"/>
              <a:gd name="connsiteY10" fmla="*/ 1307 h 109895"/>
              <a:gd name="connsiteX11" fmla="*/ 44073 w 639794"/>
              <a:gd name="connsiteY11" fmla="*/ 1307 h 109895"/>
              <a:gd name="connsiteX12" fmla="*/ 38221 w 639794"/>
              <a:gd name="connsiteY12" fmla="*/ 29372 h 109895"/>
              <a:gd name="connsiteX13" fmla="*/ 60630 w 639794"/>
              <a:gd name="connsiteY13" fmla="*/ 29372 h 109895"/>
              <a:gd name="connsiteX14" fmla="*/ 66482 w 639794"/>
              <a:gd name="connsiteY14" fmla="*/ 1307 h 109895"/>
              <a:gd name="connsiteX15" fmla="*/ 78434 w 639794"/>
              <a:gd name="connsiteY15" fmla="*/ 1307 h 109895"/>
              <a:gd name="connsiteX16" fmla="*/ 72582 w 639794"/>
              <a:gd name="connsiteY16" fmla="*/ 29372 h 109895"/>
              <a:gd name="connsiteX17" fmla="*/ 89327 w 639794"/>
              <a:gd name="connsiteY17" fmla="*/ 29372 h 109895"/>
              <a:gd name="connsiteX18" fmla="*/ 89327 w 639794"/>
              <a:gd name="connsiteY18" fmla="*/ 39826 h 109895"/>
              <a:gd name="connsiteX19" fmla="*/ 70529 w 639794"/>
              <a:gd name="connsiteY19" fmla="*/ 39826 h 109895"/>
              <a:gd name="connsiteX20" fmla="*/ 64988 w 639794"/>
              <a:gd name="connsiteY20" fmla="*/ 67020 h 109895"/>
              <a:gd name="connsiteX21" fmla="*/ 85282 w 639794"/>
              <a:gd name="connsiteY21" fmla="*/ 67020 h 109895"/>
              <a:gd name="connsiteX22" fmla="*/ 85282 w 639794"/>
              <a:gd name="connsiteY22" fmla="*/ 77475 h 109895"/>
              <a:gd name="connsiteX23" fmla="*/ 62747 w 639794"/>
              <a:gd name="connsiteY23" fmla="*/ 77475 h 109895"/>
              <a:gd name="connsiteX24" fmla="*/ 56460 w 639794"/>
              <a:gd name="connsiteY24" fmla="*/ 108402 h 109895"/>
              <a:gd name="connsiteX25" fmla="*/ 44508 w 639794"/>
              <a:gd name="connsiteY25" fmla="*/ 108402 h 109895"/>
              <a:gd name="connsiteX26" fmla="*/ 50795 w 639794"/>
              <a:gd name="connsiteY26" fmla="*/ 77475 h 109895"/>
              <a:gd name="connsiteX27" fmla="*/ 28386 w 639794"/>
              <a:gd name="connsiteY27" fmla="*/ 77475 h 109895"/>
              <a:gd name="connsiteX28" fmla="*/ 22099 w 639794"/>
              <a:gd name="connsiteY28" fmla="*/ 108402 h 109895"/>
              <a:gd name="connsiteX29" fmla="*/ 30627 w 639794"/>
              <a:gd name="connsiteY29" fmla="*/ 67020 h 109895"/>
              <a:gd name="connsiteX30" fmla="*/ 53036 w 639794"/>
              <a:gd name="connsiteY30" fmla="*/ 67020 h 109895"/>
              <a:gd name="connsiteX31" fmla="*/ 58576 w 639794"/>
              <a:gd name="connsiteY31" fmla="*/ 39826 h 109895"/>
              <a:gd name="connsiteX32" fmla="*/ 36167 w 639794"/>
              <a:gd name="connsiteY32" fmla="*/ 39826 h 109895"/>
              <a:gd name="connsiteX33" fmla="*/ 30627 w 639794"/>
              <a:gd name="connsiteY33" fmla="*/ 67020 h 109895"/>
              <a:gd name="connsiteX34" fmla="*/ 154315 w 639794"/>
              <a:gd name="connsiteY34" fmla="*/ 109896 h 109895"/>
              <a:gd name="connsiteX35" fmla="*/ 126490 w 639794"/>
              <a:gd name="connsiteY35" fmla="*/ 103300 h 109895"/>
              <a:gd name="connsiteX36" fmla="*/ 108126 w 639794"/>
              <a:gd name="connsiteY36" fmla="*/ 84507 h 109895"/>
              <a:gd name="connsiteX37" fmla="*/ 101528 w 639794"/>
              <a:gd name="connsiteY37" fmla="*/ 54948 h 109895"/>
              <a:gd name="connsiteX38" fmla="*/ 115161 w 639794"/>
              <a:gd name="connsiteY38" fmla="*/ 14624 h 109895"/>
              <a:gd name="connsiteX39" fmla="*/ 154004 w 639794"/>
              <a:gd name="connsiteY39" fmla="*/ 0 h 109895"/>
              <a:gd name="connsiteX40" fmla="*/ 171932 w 639794"/>
              <a:gd name="connsiteY40" fmla="*/ 2054 h 109895"/>
              <a:gd name="connsiteX41" fmla="*/ 186560 w 639794"/>
              <a:gd name="connsiteY41" fmla="*/ 7716 h 109895"/>
              <a:gd name="connsiteX42" fmla="*/ 186560 w 639794"/>
              <a:gd name="connsiteY42" fmla="*/ 21158 h 109895"/>
              <a:gd name="connsiteX43" fmla="*/ 171496 w 639794"/>
              <a:gd name="connsiteY43" fmla="*/ 14935 h 109895"/>
              <a:gd name="connsiteX44" fmla="*/ 153818 w 639794"/>
              <a:gd name="connsiteY44" fmla="*/ 12695 h 109895"/>
              <a:gd name="connsiteX45" fmla="*/ 125930 w 639794"/>
              <a:gd name="connsiteY45" fmla="*/ 23273 h 109895"/>
              <a:gd name="connsiteX46" fmla="*/ 116779 w 639794"/>
              <a:gd name="connsiteY46" fmla="*/ 54948 h 109895"/>
              <a:gd name="connsiteX47" fmla="*/ 126676 w 639794"/>
              <a:gd name="connsiteY47" fmla="*/ 86747 h 109895"/>
              <a:gd name="connsiteX48" fmla="*/ 155498 w 639794"/>
              <a:gd name="connsiteY48" fmla="*/ 97201 h 109895"/>
              <a:gd name="connsiteX49" fmla="*/ 186560 w 639794"/>
              <a:gd name="connsiteY49" fmla="*/ 87369 h 109895"/>
              <a:gd name="connsiteX50" fmla="*/ 186560 w 639794"/>
              <a:gd name="connsiteY50" fmla="*/ 100811 h 109895"/>
              <a:gd name="connsiteX51" fmla="*/ 172679 w 639794"/>
              <a:gd name="connsiteY51" fmla="*/ 107531 h 109895"/>
              <a:gd name="connsiteX52" fmla="*/ 154315 w 639794"/>
              <a:gd name="connsiteY52" fmla="*/ 109896 h 109895"/>
              <a:gd name="connsiteX53" fmla="*/ 208036 w 639794"/>
              <a:gd name="connsiteY53" fmla="*/ 1307 h 109895"/>
              <a:gd name="connsiteX54" fmla="*/ 244079 w 639794"/>
              <a:gd name="connsiteY54" fmla="*/ 1307 h 109895"/>
              <a:gd name="connsiteX55" fmla="*/ 264060 w 639794"/>
              <a:gd name="connsiteY55" fmla="*/ 3858 h 109895"/>
              <a:gd name="connsiteX56" fmla="*/ 280245 w 639794"/>
              <a:gd name="connsiteY56" fmla="*/ 12197 h 109895"/>
              <a:gd name="connsiteX57" fmla="*/ 290952 w 639794"/>
              <a:gd name="connsiteY57" fmla="*/ 27443 h 109895"/>
              <a:gd name="connsiteX58" fmla="*/ 294873 w 639794"/>
              <a:gd name="connsiteY58" fmla="*/ 51215 h 109895"/>
              <a:gd name="connsiteX59" fmla="*/ 287964 w 639794"/>
              <a:gd name="connsiteY59" fmla="*/ 82889 h 109895"/>
              <a:gd name="connsiteX60" fmla="*/ 269476 w 639794"/>
              <a:gd name="connsiteY60" fmla="*/ 101992 h 109895"/>
              <a:gd name="connsiteX61" fmla="*/ 242398 w 639794"/>
              <a:gd name="connsiteY61" fmla="*/ 108402 h 109895"/>
              <a:gd name="connsiteX62" fmla="*/ 208036 w 639794"/>
              <a:gd name="connsiteY62" fmla="*/ 108402 h 109895"/>
              <a:gd name="connsiteX63" fmla="*/ 208036 w 639794"/>
              <a:gd name="connsiteY63" fmla="*/ 1307 h 109895"/>
              <a:gd name="connsiteX64" fmla="*/ 242398 w 639794"/>
              <a:gd name="connsiteY64" fmla="*/ 95707 h 109895"/>
              <a:gd name="connsiteX65" fmla="*/ 261819 w 639794"/>
              <a:gd name="connsiteY65" fmla="*/ 91227 h 109895"/>
              <a:gd name="connsiteX66" fmla="*/ 274829 w 639794"/>
              <a:gd name="connsiteY66" fmla="*/ 77039 h 109895"/>
              <a:gd name="connsiteX67" fmla="*/ 279623 w 639794"/>
              <a:gd name="connsiteY67" fmla="*/ 52272 h 109895"/>
              <a:gd name="connsiteX68" fmla="*/ 275016 w 639794"/>
              <a:gd name="connsiteY68" fmla="*/ 28936 h 109895"/>
              <a:gd name="connsiteX69" fmla="*/ 262317 w 639794"/>
              <a:gd name="connsiteY69" fmla="*/ 17424 h 109895"/>
              <a:gd name="connsiteX70" fmla="*/ 244079 w 639794"/>
              <a:gd name="connsiteY70" fmla="*/ 14188 h 109895"/>
              <a:gd name="connsiteX71" fmla="*/ 222105 w 639794"/>
              <a:gd name="connsiteY71" fmla="*/ 14188 h 109895"/>
              <a:gd name="connsiteX72" fmla="*/ 222105 w 639794"/>
              <a:gd name="connsiteY72" fmla="*/ 95707 h 109895"/>
              <a:gd name="connsiteX73" fmla="*/ 242398 w 639794"/>
              <a:gd name="connsiteY73" fmla="*/ 95707 h 109895"/>
              <a:gd name="connsiteX74" fmla="*/ 396152 w 639794"/>
              <a:gd name="connsiteY74" fmla="*/ 108402 h 109895"/>
              <a:gd name="connsiteX75" fmla="*/ 381213 w 639794"/>
              <a:gd name="connsiteY75" fmla="*/ 108402 h 109895"/>
              <a:gd name="connsiteX76" fmla="*/ 370133 w 639794"/>
              <a:gd name="connsiteY76" fmla="*/ 77786 h 109895"/>
              <a:gd name="connsiteX77" fmla="*/ 322761 w 639794"/>
              <a:gd name="connsiteY77" fmla="*/ 77786 h 109895"/>
              <a:gd name="connsiteX78" fmla="*/ 311867 w 639794"/>
              <a:gd name="connsiteY78" fmla="*/ 108402 h 109895"/>
              <a:gd name="connsiteX79" fmla="*/ 298733 w 639794"/>
              <a:gd name="connsiteY79" fmla="*/ 108402 h 109895"/>
              <a:gd name="connsiteX80" fmla="*/ 336829 w 639794"/>
              <a:gd name="connsiteY80" fmla="*/ 1307 h 109895"/>
              <a:gd name="connsiteX81" fmla="*/ 357745 w 639794"/>
              <a:gd name="connsiteY81" fmla="*/ 1307 h 109895"/>
              <a:gd name="connsiteX82" fmla="*/ 396152 w 639794"/>
              <a:gd name="connsiteY82" fmla="*/ 108402 h 109895"/>
              <a:gd name="connsiteX83" fmla="*/ 327429 w 639794"/>
              <a:gd name="connsiteY83" fmla="*/ 65091 h 109895"/>
              <a:gd name="connsiteX84" fmla="*/ 365650 w 639794"/>
              <a:gd name="connsiteY84" fmla="*/ 65091 h 109895"/>
              <a:gd name="connsiteX85" fmla="*/ 346540 w 639794"/>
              <a:gd name="connsiteY85" fmla="*/ 11761 h 109895"/>
              <a:gd name="connsiteX86" fmla="*/ 327429 w 639794"/>
              <a:gd name="connsiteY86" fmla="*/ 65091 h 109895"/>
              <a:gd name="connsiteX87" fmla="*/ 435618 w 639794"/>
              <a:gd name="connsiteY87" fmla="*/ 109896 h 109895"/>
              <a:gd name="connsiteX88" fmla="*/ 407108 w 639794"/>
              <a:gd name="connsiteY88" fmla="*/ 102304 h 109895"/>
              <a:gd name="connsiteX89" fmla="*/ 407108 w 639794"/>
              <a:gd name="connsiteY89" fmla="*/ 87618 h 109895"/>
              <a:gd name="connsiteX90" fmla="*/ 420243 w 639794"/>
              <a:gd name="connsiteY90" fmla="*/ 95272 h 109895"/>
              <a:gd name="connsiteX91" fmla="*/ 435618 w 639794"/>
              <a:gd name="connsiteY91" fmla="*/ 97637 h 109895"/>
              <a:gd name="connsiteX92" fmla="*/ 452674 w 639794"/>
              <a:gd name="connsiteY92" fmla="*/ 90916 h 109895"/>
              <a:gd name="connsiteX93" fmla="*/ 458775 w 639794"/>
              <a:gd name="connsiteY93" fmla="*/ 73305 h 109895"/>
              <a:gd name="connsiteX94" fmla="*/ 452799 w 639794"/>
              <a:gd name="connsiteY94" fmla="*/ 56255 h 109895"/>
              <a:gd name="connsiteX95" fmla="*/ 437735 w 639794"/>
              <a:gd name="connsiteY95" fmla="*/ 50903 h 109895"/>
              <a:gd name="connsiteX96" fmla="*/ 427090 w 639794"/>
              <a:gd name="connsiteY96" fmla="*/ 53143 h 109895"/>
              <a:gd name="connsiteX97" fmla="*/ 420990 w 639794"/>
              <a:gd name="connsiteY97" fmla="*/ 57624 h 109895"/>
              <a:gd name="connsiteX98" fmla="*/ 410096 w 639794"/>
              <a:gd name="connsiteY98" fmla="*/ 57624 h 109895"/>
              <a:gd name="connsiteX99" fmla="*/ 410096 w 639794"/>
              <a:gd name="connsiteY99" fmla="*/ 1307 h 109895"/>
              <a:gd name="connsiteX100" fmla="*/ 468050 w 639794"/>
              <a:gd name="connsiteY100" fmla="*/ 1307 h 109895"/>
              <a:gd name="connsiteX101" fmla="*/ 468050 w 639794"/>
              <a:gd name="connsiteY101" fmla="*/ 14188 h 109895"/>
              <a:gd name="connsiteX102" fmla="*/ 422359 w 639794"/>
              <a:gd name="connsiteY102" fmla="*/ 14188 h 109895"/>
              <a:gd name="connsiteX103" fmla="*/ 422359 w 639794"/>
              <a:gd name="connsiteY103" fmla="*/ 44805 h 109895"/>
              <a:gd name="connsiteX104" fmla="*/ 429642 w 639794"/>
              <a:gd name="connsiteY104" fmla="*/ 40885 h 109895"/>
              <a:gd name="connsiteX105" fmla="*/ 439976 w 639794"/>
              <a:gd name="connsiteY105" fmla="*/ 39080 h 109895"/>
              <a:gd name="connsiteX106" fmla="*/ 456721 w 639794"/>
              <a:gd name="connsiteY106" fmla="*/ 43000 h 109895"/>
              <a:gd name="connsiteX107" fmla="*/ 468486 w 639794"/>
              <a:gd name="connsiteY107" fmla="*/ 54326 h 109895"/>
              <a:gd name="connsiteX108" fmla="*/ 472967 w 639794"/>
              <a:gd name="connsiteY108" fmla="*/ 72995 h 109895"/>
              <a:gd name="connsiteX109" fmla="*/ 468361 w 639794"/>
              <a:gd name="connsiteY109" fmla="*/ 92410 h 109895"/>
              <a:gd name="connsiteX110" fmla="*/ 455476 w 639794"/>
              <a:gd name="connsiteY110" fmla="*/ 105415 h 109895"/>
              <a:gd name="connsiteX111" fmla="*/ 435618 w 639794"/>
              <a:gd name="connsiteY111" fmla="*/ 109896 h 109895"/>
              <a:gd name="connsiteX112" fmla="*/ 522704 w 639794"/>
              <a:gd name="connsiteY112" fmla="*/ 109896 h 109895"/>
              <a:gd name="connsiteX113" fmla="*/ 504466 w 639794"/>
              <a:gd name="connsiteY113" fmla="*/ 104047 h 109895"/>
              <a:gd name="connsiteX114" fmla="*/ 491767 w 639794"/>
              <a:gd name="connsiteY114" fmla="*/ 86125 h 109895"/>
              <a:gd name="connsiteX115" fmla="*/ 487285 w 639794"/>
              <a:gd name="connsiteY115" fmla="*/ 54761 h 109895"/>
              <a:gd name="connsiteX116" fmla="*/ 491767 w 639794"/>
              <a:gd name="connsiteY116" fmla="*/ 23398 h 109895"/>
              <a:gd name="connsiteX117" fmla="*/ 504466 w 639794"/>
              <a:gd name="connsiteY117" fmla="*/ 5663 h 109895"/>
              <a:gd name="connsiteX118" fmla="*/ 522704 w 639794"/>
              <a:gd name="connsiteY118" fmla="*/ 0 h 109895"/>
              <a:gd name="connsiteX119" fmla="*/ 540757 w 639794"/>
              <a:gd name="connsiteY119" fmla="*/ 5663 h 109895"/>
              <a:gd name="connsiteX120" fmla="*/ 553206 w 639794"/>
              <a:gd name="connsiteY120" fmla="*/ 23398 h 109895"/>
              <a:gd name="connsiteX121" fmla="*/ 557688 w 639794"/>
              <a:gd name="connsiteY121" fmla="*/ 54512 h 109895"/>
              <a:gd name="connsiteX122" fmla="*/ 553206 w 639794"/>
              <a:gd name="connsiteY122" fmla="*/ 85876 h 109895"/>
              <a:gd name="connsiteX123" fmla="*/ 540757 w 639794"/>
              <a:gd name="connsiteY123" fmla="*/ 104047 h 109895"/>
              <a:gd name="connsiteX124" fmla="*/ 522704 w 639794"/>
              <a:gd name="connsiteY124" fmla="*/ 109896 h 109895"/>
              <a:gd name="connsiteX125" fmla="*/ 522580 w 639794"/>
              <a:gd name="connsiteY125" fmla="*/ 98072 h 109895"/>
              <a:gd name="connsiteX126" fmla="*/ 533909 w 639794"/>
              <a:gd name="connsiteY126" fmla="*/ 94089 h 109895"/>
              <a:gd name="connsiteX127" fmla="*/ 541068 w 639794"/>
              <a:gd name="connsiteY127" fmla="*/ 80462 h 109895"/>
              <a:gd name="connsiteX128" fmla="*/ 543621 w 639794"/>
              <a:gd name="connsiteY128" fmla="*/ 54948 h 109895"/>
              <a:gd name="connsiteX129" fmla="*/ 541255 w 639794"/>
              <a:gd name="connsiteY129" fmla="*/ 29559 h 109895"/>
              <a:gd name="connsiteX130" fmla="*/ 534034 w 639794"/>
              <a:gd name="connsiteY130" fmla="*/ 15931 h 109895"/>
              <a:gd name="connsiteX131" fmla="*/ 522704 w 639794"/>
              <a:gd name="connsiteY131" fmla="*/ 11761 h 109895"/>
              <a:gd name="connsiteX132" fmla="*/ 511188 w 639794"/>
              <a:gd name="connsiteY132" fmla="*/ 15931 h 109895"/>
              <a:gd name="connsiteX133" fmla="*/ 503906 w 639794"/>
              <a:gd name="connsiteY133" fmla="*/ 29559 h 109895"/>
              <a:gd name="connsiteX134" fmla="*/ 501353 w 639794"/>
              <a:gd name="connsiteY134" fmla="*/ 54948 h 109895"/>
              <a:gd name="connsiteX135" fmla="*/ 503719 w 639794"/>
              <a:gd name="connsiteY135" fmla="*/ 80462 h 109895"/>
              <a:gd name="connsiteX136" fmla="*/ 511064 w 639794"/>
              <a:gd name="connsiteY136" fmla="*/ 94089 h 109895"/>
              <a:gd name="connsiteX137" fmla="*/ 522580 w 639794"/>
              <a:gd name="connsiteY137" fmla="*/ 98072 h 109895"/>
              <a:gd name="connsiteX138" fmla="*/ 604873 w 639794"/>
              <a:gd name="connsiteY138" fmla="*/ 109896 h 109895"/>
              <a:gd name="connsiteX139" fmla="*/ 586634 w 639794"/>
              <a:gd name="connsiteY139" fmla="*/ 104047 h 109895"/>
              <a:gd name="connsiteX140" fmla="*/ 573936 w 639794"/>
              <a:gd name="connsiteY140" fmla="*/ 86125 h 109895"/>
              <a:gd name="connsiteX141" fmla="*/ 569453 w 639794"/>
              <a:gd name="connsiteY141" fmla="*/ 54761 h 109895"/>
              <a:gd name="connsiteX142" fmla="*/ 573936 w 639794"/>
              <a:gd name="connsiteY142" fmla="*/ 23398 h 109895"/>
              <a:gd name="connsiteX143" fmla="*/ 586634 w 639794"/>
              <a:gd name="connsiteY143" fmla="*/ 5663 h 109895"/>
              <a:gd name="connsiteX144" fmla="*/ 604873 w 639794"/>
              <a:gd name="connsiteY144" fmla="*/ 0 h 109895"/>
              <a:gd name="connsiteX145" fmla="*/ 622926 w 639794"/>
              <a:gd name="connsiteY145" fmla="*/ 5663 h 109895"/>
              <a:gd name="connsiteX146" fmla="*/ 635313 w 639794"/>
              <a:gd name="connsiteY146" fmla="*/ 23398 h 109895"/>
              <a:gd name="connsiteX147" fmla="*/ 639795 w 639794"/>
              <a:gd name="connsiteY147" fmla="*/ 54512 h 109895"/>
              <a:gd name="connsiteX148" fmla="*/ 635313 w 639794"/>
              <a:gd name="connsiteY148" fmla="*/ 85876 h 109895"/>
              <a:gd name="connsiteX149" fmla="*/ 622926 w 639794"/>
              <a:gd name="connsiteY149" fmla="*/ 104047 h 109895"/>
              <a:gd name="connsiteX150" fmla="*/ 604873 w 639794"/>
              <a:gd name="connsiteY150" fmla="*/ 109896 h 109895"/>
              <a:gd name="connsiteX151" fmla="*/ 604686 w 639794"/>
              <a:gd name="connsiteY151" fmla="*/ 98072 h 109895"/>
              <a:gd name="connsiteX152" fmla="*/ 616078 w 639794"/>
              <a:gd name="connsiteY152" fmla="*/ 94089 h 109895"/>
              <a:gd name="connsiteX153" fmla="*/ 623236 w 639794"/>
              <a:gd name="connsiteY153" fmla="*/ 80462 h 109895"/>
              <a:gd name="connsiteX154" fmla="*/ 625789 w 639794"/>
              <a:gd name="connsiteY154" fmla="*/ 54948 h 109895"/>
              <a:gd name="connsiteX155" fmla="*/ 623361 w 639794"/>
              <a:gd name="connsiteY155" fmla="*/ 29559 h 109895"/>
              <a:gd name="connsiteX156" fmla="*/ 616202 w 639794"/>
              <a:gd name="connsiteY156" fmla="*/ 15931 h 109895"/>
              <a:gd name="connsiteX157" fmla="*/ 604873 w 639794"/>
              <a:gd name="connsiteY157" fmla="*/ 11761 h 109895"/>
              <a:gd name="connsiteX158" fmla="*/ 593357 w 639794"/>
              <a:gd name="connsiteY158" fmla="*/ 15931 h 109895"/>
              <a:gd name="connsiteX159" fmla="*/ 586012 w 639794"/>
              <a:gd name="connsiteY159" fmla="*/ 29559 h 109895"/>
              <a:gd name="connsiteX160" fmla="*/ 583459 w 639794"/>
              <a:gd name="connsiteY160" fmla="*/ 54948 h 109895"/>
              <a:gd name="connsiteX161" fmla="*/ 585887 w 639794"/>
              <a:gd name="connsiteY161" fmla="*/ 80462 h 109895"/>
              <a:gd name="connsiteX162" fmla="*/ 593170 w 639794"/>
              <a:gd name="connsiteY162" fmla="*/ 94089 h 109895"/>
              <a:gd name="connsiteX163" fmla="*/ 604686 w 639794"/>
              <a:gd name="connsiteY163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639794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54315" y="109896"/>
                </a:moveTo>
                <a:cubicBezTo>
                  <a:pt x="143733" y="109896"/>
                  <a:pt x="134458" y="107718"/>
                  <a:pt x="126490" y="103300"/>
                </a:cubicBezTo>
                <a:cubicBezTo>
                  <a:pt x="118647" y="98943"/>
                  <a:pt x="112484" y="92658"/>
                  <a:pt x="108126" y="84507"/>
                </a:cubicBezTo>
                <a:cubicBezTo>
                  <a:pt x="103769" y="76230"/>
                  <a:pt x="101528" y="66398"/>
                  <a:pt x="101528" y="54948"/>
                </a:cubicBezTo>
                <a:cubicBezTo>
                  <a:pt x="101528" y="37711"/>
                  <a:pt x="106072" y="24269"/>
                  <a:pt x="115161" y="14624"/>
                </a:cubicBezTo>
                <a:cubicBezTo>
                  <a:pt x="124187" y="4854"/>
                  <a:pt x="137135" y="0"/>
                  <a:pt x="154004" y="0"/>
                </a:cubicBezTo>
                <a:cubicBezTo>
                  <a:pt x="160291" y="0"/>
                  <a:pt x="166267" y="684"/>
                  <a:pt x="171932" y="2054"/>
                </a:cubicBezTo>
                <a:cubicBezTo>
                  <a:pt x="177721" y="3361"/>
                  <a:pt x="182577" y="5228"/>
                  <a:pt x="186560" y="7716"/>
                </a:cubicBezTo>
                <a:lnTo>
                  <a:pt x="186560" y="21158"/>
                </a:lnTo>
                <a:cubicBezTo>
                  <a:pt x="182265" y="18482"/>
                  <a:pt x="177223" y="16428"/>
                  <a:pt x="171496" y="14935"/>
                </a:cubicBezTo>
                <a:cubicBezTo>
                  <a:pt x="165769" y="13442"/>
                  <a:pt x="159918" y="12695"/>
                  <a:pt x="153818" y="12695"/>
                </a:cubicBezTo>
                <a:cubicBezTo>
                  <a:pt x="141306" y="12695"/>
                  <a:pt x="131968" y="16180"/>
                  <a:pt x="125930" y="23273"/>
                </a:cubicBezTo>
                <a:cubicBezTo>
                  <a:pt x="119829" y="30368"/>
                  <a:pt x="116779" y="40885"/>
                  <a:pt x="116779" y="54948"/>
                </a:cubicBezTo>
                <a:cubicBezTo>
                  <a:pt x="116779" y="69074"/>
                  <a:pt x="120078" y="79653"/>
                  <a:pt x="126676" y="86747"/>
                </a:cubicBezTo>
                <a:cubicBezTo>
                  <a:pt x="133213" y="93716"/>
                  <a:pt x="142862" y="97201"/>
                  <a:pt x="155498" y="97201"/>
                </a:cubicBezTo>
                <a:cubicBezTo>
                  <a:pt x="167450" y="97201"/>
                  <a:pt x="177783" y="93903"/>
                  <a:pt x="186560" y="87369"/>
                </a:cubicBezTo>
                <a:lnTo>
                  <a:pt x="186560" y="100811"/>
                </a:lnTo>
                <a:cubicBezTo>
                  <a:pt x="183074" y="103548"/>
                  <a:pt x="178468" y="105788"/>
                  <a:pt x="172679" y="107531"/>
                </a:cubicBezTo>
                <a:cubicBezTo>
                  <a:pt x="166890" y="109087"/>
                  <a:pt x="160790" y="109896"/>
                  <a:pt x="154315" y="109896"/>
                </a:cubicBezTo>
                <a:close/>
                <a:moveTo>
                  <a:pt x="208036" y="1307"/>
                </a:moveTo>
                <a:lnTo>
                  <a:pt x="244079" y="1307"/>
                </a:lnTo>
                <a:cubicBezTo>
                  <a:pt x="251237" y="1307"/>
                  <a:pt x="257898" y="2179"/>
                  <a:pt x="264060" y="3858"/>
                </a:cubicBezTo>
                <a:cubicBezTo>
                  <a:pt x="270285" y="5538"/>
                  <a:pt x="275639" y="8339"/>
                  <a:pt x="280245" y="12197"/>
                </a:cubicBezTo>
                <a:cubicBezTo>
                  <a:pt x="284789" y="15993"/>
                  <a:pt x="288400" y="21096"/>
                  <a:pt x="290952" y="27443"/>
                </a:cubicBezTo>
                <a:cubicBezTo>
                  <a:pt x="293566" y="33853"/>
                  <a:pt x="294873" y="41756"/>
                  <a:pt x="294873" y="51215"/>
                </a:cubicBezTo>
                <a:cubicBezTo>
                  <a:pt x="294873" y="63722"/>
                  <a:pt x="292570" y="74301"/>
                  <a:pt x="287964" y="82889"/>
                </a:cubicBezTo>
                <a:cubicBezTo>
                  <a:pt x="283482" y="91352"/>
                  <a:pt x="277319" y="97699"/>
                  <a:pt x="269476" y="101992"/>
                </a:cubicBezTo>
                <a:cubicBezTo>
                  <a:pt x="261570" y="106287"/>
                  <a:pt x="252607" y="108402"/>
                  <a:pt x="242398" y="108402"/>
                </a:cubicBezTo>
                <a:lnTo>
                  <a:pt x="208036" y="108402"/>
                </a:lnTo>
                <a:lnTo>
                  <a:pt x="208036" y="1307"/>
                </a:lnTo>
                <a:close/>
                <a:moveTo>
                  <a:pt x="242398" y="95707"/>
                </a:moveTo>
                <a:cubicBezTo>
                  <a:pt x="249805" y="95707"/>
                  <a:pt x="256279" y="94214"/>
                  <a:pt x="261819" y="91227"/>
                </a:cubicBezTo>
                <a:cubicBezTo>
                  <a:pt x="267422" y="88116"/>
                  <a:pt x="271779" y="83386"/>
                  <a:pt x="274829" y="77039"/>
                </a:cubicBezTo>
                <a:cubicBezTo>
                  <a:pt x="278004" y="70568"/>
                  <a:pt x="279623" y="62291"/>
                  <a:pt x="279623" y="52272"/>
                </a:cubicBezTo>
                <a:cubicBezTo>
                  <a:pt x="279623" y="42191"/>
                  <a:pt x="278066" y="34413"/>
                  <a:pt x="275016" y="28936"/>
                </a:cubicBezTo>
                <a:cubicBezTo>
                  <a:pt x="271904" y="23460"/>
                  <a:pt x="267670" y="19664"/>
                  <a:pt x="262317" y="17424"/>
                </a:cubicBezTo>
                <a:cubicBezTo>
                  <a:pt x="257026" y="15246"/>
                  <a:pt x="250926" y="14188"/>
                  <a:pt x="244079" y="14188"/>
                </a:cubicBezTo>
                <a:lnTo>
                  <a:pt x="222105" y="14188"/>
                </a:lnTo>
                <a:lnTo>
                  <a:pt x="222105" y="95707"/>
                </a:lnTo>
                <a:lnTo>
                  <a:pt x="242398" y="95707"/>
                </a:lnTo>
                <a:close/>
                <a:moveTo>
                  <a:pt x="396152" y="108402"/>
                </a:moveTo>
                <a:lnTo>
                  <a:pt x="381213" y="108402"/>
                </a:lnTo>
                <a:lnTo>
                  <a:pt x="370133" y="77786"/>
                </a:lnTo>
                <a:lnTo>
                  <a:pt x="322761" y="77786"/>
                </a:lnTo>
                <a:lnTo>
                  <a:pt x="311867" y="108402"/>
                </a:lnTo>
                <a:lnTo>
                  <a:pt x="298733" y="108402"/>
                </a:lnTo>
                <a:lnTo>
                  <a:pt x="336829" y="1307"/>
                </a:lnTo>
                <a:lnTo>
                  <a:pt x="357745" y="1307"/>
                </a:lnTo>
                <a:lnTo>
                  <a:pt x="396152" y="108402"/>
                </a:lnTo>
                <a:close/>
                <a:moveTo>
                  <a:pt x="327429" y="65091"/>
                </a:moveTo>
                <a:lnTo>
                  <a:pt x="365650" y="65091"/>
                </a:lnTo>
                <a:lnTo>
                  <a:pt x="346540" y="11761"/>
                </a:lnTo>
                <a:lnTo>
                  <a:pt x="327429" y="65091"/>
                </a:lnTo>
                <a:close/>
                <a:moveTo>
                  <a:pt x="435618" y="109896"/>
                </a:moveTo>
                <a:cubicBezTo>
                  <a:pt x="423667" y="109896"/>
                  <a:pt x="414142" y="107344"/>
                  <a:pt x="407108" y="102304"/>
                </a:cubicBezTo>
                <a:lnTo>
                  <a:pt x="407108" y="87618"/>
                </a:lnTo>
                <a:cubicBezTo>
                  <a:pt x="411279" y="91040"/>
                  <a:pt x="415636" y="93592"/>
                  <a:pt x="420243" y="95272"/>
                </a:cubicBezTo>
                <a:cubicBezTo>
                  <a:pt x="424849" y="96828"/>
                  <a:pt x="429954" y="97637"/>
                  <a:pt x="435618" y="97637"/>
                </a:cubicBezTo>
                <a:cubicBezTo>
                  <a:pt x="443026" y="97637"/>
                  <a:pt x="448691" y="95397"/>
                  <a:pt x="452674" y="90916"/>
                </a:cubicBezTo>
                <a:cubicBezTo>
                  <a:pt x="456721" y="86435"/>
                  <a:pt x="458775" y="80586"/>
                  <a:pt x="458775" y="73305"/>
                </a:cubicBezTo>
                <a:cubicBezTo>
                  <a:pt x="458775" y="65527"/>
                  <a:pt x="456783" y="59864"/>
                  <a:pt x="452799" y="56255"/>
                </a:cubicBezTo>
                <a:cubicBezTo>
                  <a:pt x="448815" y="52708"/>
                  <a:pt x="443773" y="50903"/>
                  <a:pt x="437735" y="50903"/>
                </a:cubicBezTo>
                <a:cubicBezTo>
                  <a:pt x="433315" y="50903"/>
                  <a:pt x="429829" y="51650"/>
                  <a:pt x="427090" y="53143"/>
                </a:cubicBezTo>
                <a:cubicBezTo>
                  <a:pt x="424414" y="54512"/>
                  <a:pt x="422359" y="56006"/>
                  <a:pt x="420990" y="57624"/>
                </a:cubicBezTo>
                <a:lnTo>
                  <a:pt x="410096" y="57624"/>
                </a:lnTo>
                <a:lnTo>
                  <a:pt x="410096" y="1307"/>
                </a:lnTo>
                <a:lnTo>
                  <a:pt x="468050" y="1307"/>
                </a:lnTo>
                <a:lnTo>
                  <a:pt x="468050" y="14188"/>
                </a:lnTo>
                <a:lnTo>
                  <a:pt x="422359" y="14188"/>
                </a:lnTo>
                <a:lnTo>
                  <a:pt x="422359" y="44805"/>
                </a:lnTo>
                <a:cubicBezTo>
                  <a:pt x="424351" y="43312"/>
                  <a:pt x="426779" y="42004"/>
                  <a:pt x="429642" y="40885"/>
                </a:cubicBezTo>
                <a:cubicBezTo>
                  <a:pt x="432568" y="39702"/>
                  <a:pt x="435992" y="39080"/>
                  <a:pt x="439976" y="39080"/>
                </a:cubicBezTo>
                <a:cubicBezTo>
                  <a:pt x="446138" y="39080"/>
                  <a:pt x="451741" y="40386"/>
                  <a:pt x="456721" y="43000"/>
                </a:cubicBezTo>
                <a:cubicBezTo>
                  <a:pt x="461701" y="45489"/>
                  <a:pt x="465622" y="49285"/>
                  <a:pt x="468486" y="54326"/>
                </a:cubicBezTo>
                <a:cubicBezTo>
                  <a:pt x="471473" y="59304"/>
                  <a:pt x="472967" y="65527"/>
                  <a:pt x="472967" y="72995"/>
                </a:cubicBezTo>
                <a:cubicBezTo>
                  <a:pt x="472967" y="80399"/>
                  <a:pt x="471411" y="86871"/>
                  <a:pt x="468361" y="92410"/>
                </a:cubicBezTo>
                <a:cubicBezTo>
                  <a:pt x="465373" y="98010"/>
                  <a:pt x="461078" y="102304"/>
                  <a:pt x="455476" y="105415"/>
                </a:cubicBezTo>
                <a:cubicBezTo>
                  <a:pt x="449936" y="108402"/>
                  <a:pt x="443275" y="109896"/>
                  <a:pt x="435618" y="109896"/>
                </a:cubicBezTo>
                <a:close/>
                <a:moveTo>
                  <a:pt x="522704" y="109896"/>
                </a:moveTo>
                <a:cubicBezTo>
                  <a:pt x="515919" y="109896"/>
                  <a:pt x="509881" y="107967"/>
                  <a:pt x="504466" y="104047"/>
                </a:cubicBezTo>
                <a:cubicBezTo>
                  <a:pt x="499112" y="100188"/>
                  <a:pt x="494879" y="94214"/>
                  <a:pt x="491767" y="86125"/>
                </a:cubicBezTo>
                <a:cubicBezTo>
                  <a:pt x="488779" y="77972"/>
                  <a:pt x="487285" y="67518"/>
                  <a:pt x="487285" y="54761"/>
                </a:cubicBezTo>
                <a:cubicBezTo>
                  <a:pt x="487285" y="41942"/>
                  <a:pt x="488779" y="31488"/>
                  <a:pt x="491767" y="23398"/>
                </a:cubicBezTo>
                <a:cubicBezTo>
                  <a:pt x="494879" y="15371"/>
                  <a:pt x="499112" y="9459"/>
                  <a:pt x="504466" y="5663"/>
                </a:cubicBezTo>
                <a:cubicBezTo>
                  <a:pt x="509881" y="1867"/>
                  <a:pt x="515919" y="0"/>
                  <a:pt x="522704" y="0"/>
                </a:cubicBezTo>
                <a:cubicBezTo>
                  <a:pt x="529490" y="0"/>
                  <a:pt x="535528" y="1867"/>
                  <a:pt x="540757" y="5663"/>
                </a:cubicBezTo>
                <a:cubicBezTo>
                  <a:pt x="546048" y="9459"/>
                  <a:pt x="550219" y="15371"/>
                  <a:pt x="553206" y="23398"/>
                </a:cubicBezTo>
                <a:cubicBezTo>
                  <a:pt x="556194" y="31363"/>
                  <a:pt x="557688" y="41756"/>
                  <a:pt x="557688" y="54512"/>
                </a:cubicBezTo>
                <a:cubicBezTo>
                  <a:pt x="557688" y="67145"/>
                  <a:pt x="556194" y="77599"/>
                  <a:pt x="553206" y="85876"/>
                </a:cubicBezTo>
                <a:cubicBezTo>
                  <a:pt x="550219" y="94027"/>
                  <a:pt x="546048" y="100064"/>
                  <a:pt x="540757" y="104047"/>
                </a:cubicBezTo>
                <a:cubicBezTo>
                  <a:pt x="535528" y="107967"/>
                  <a:pt x="529490" y="109896"/>
                  <a:pt x="522704" y="109896"/>
                </a:cubicBezTo>
                <a:close/>
                <a:moveTo>
                  <a:pt x="522580" y="98072"/>
                </a:moveTo>
                <a:cubicBezTo>
                  <a:pt x="527062" y="98072"/>
                  <a:pt x="530797" y="96766"/>
                  <a:pt x="533909" y="94089"/>
                </a:cubicBezTo>
                <a:cubicBezTo>
                  <a:pt x="537084" y="91289"/>
                  <a:pt x="539512" y="86747"/>
                  <a:pt x="541068" y="80462"/>
                </a:cubicBezTo>
                <a:cubicBezTo>
                  <a:pt x="542749" y="74114"/>
                  <a:pt x="543621" y="65589"/>
                  <a:pt x="543621" y="54948"/>
                </a:cubicBezTo>
                <a:cubicBezTo>
                  <a:pt x="543621" y="44307"/>
                  <a:pt x="542811" y="35844"/>
                  <a:pt x="541255" y="29559"/>
                </a:cubicBezTo>
                <a:cubicBezTo>
                  <a:pt x="539637" y="23150"/>
                  <a:pt x="537271" y="18669"/>
                  <a:pt x="534034" y="15931"/>
                </a:cubicBezTo>
                <a:cubicBezTo>
                  <a:pt x="530984" y="13192"/>
                  <a:pt x="527187" y="11761"/>
                  <a:pt x="522704" y="11761"/>
                </a:cubicBezTo>
                <a:cubicBezTo>
                  <a:pt x="518223" y="11761"/>
                  <a:pt x="514363" y="13192"/>
                  <a:pt x="511188" y="15931"/>
                </a:cubicBezTo>
                <a:cubicBezTo>
                  <a:pt x="508014" y="18669"/>
                  <a:pt x="505586" y="23150"/>
                  <a:pt x="503906" y="29559"/>
                </a:cubicBezTo>
                <a:cubicBezTo>
                  <a:pt x="502163" y="35844"/>
                  <a:pt x="501353" y="44307"/>
                  <a:pt x="501353" y="54948"/>
                </a:cubicBezTo>
                <a:cubicBezTo>
                  <a:pt x="501353" y="65589"/>
                  <a:pt x="502163" y="74114"/>
                  <a:pt x="503719" y="80462"/>
                </a:cubicBezTo>
                <a:cubicBezTo>
                  <a:pt x="505400" y="86747"/>
                  <a:pt x="507889" y="91289"/>
                  <a:pt x="511064" y="94089"/>
                </a:cubicBezTo>
                <a:cubicBezTo>
                  <a:pt x="514238" y="96766"/>
                  <a:pt x="518098" y="98072"/>
                  <a:pt x="522580" y="98072"/>
                </a:cubicBezTo>
                <a:close/>
                <a:moveTo>
                  <a:pt x="604873" y="109896"/>
                </a:moveTo>
                <a:cubicBezTo>
                  <a:pt x="598088" y="109896"/>
                  <a:pt x="591987" y="107967"/>
                  <a:pt x="586634" y="104047"/>
                </a:cubicBezTo>
                <a:cubicBezTo>
                  <a:pt x="581218" y="100188"/>
                  <a:pt x="576986" y="94214"/>
                  <a:pt x="573936" y="86125"/>
                </a:cubicBezTo>
                <a:cubicBezTo>
                  <a:pt x="570947" y="77972"/>
                  <a:pt x="569453" y="67518"/>
                  <a:pt x="569453" y="54761"/>
                </a:cubicBezTo>
                <a:cubicBezTo>
                  <a:pt x="569453" y="41942"/>
                  <a:pt x="570947" y="31488"/>
                  <a:pt x="573936" y="23398"/>
                </a:cubicBezTo>
                <a:cubicBezTo>
                  <a:pt x="576986" y="15371"/>
                  <a:pt x="581218" y="9459"/>
                  <a:pt x="586634" y="5663"/>
                </a:cubicBezTo>
                <a:cubicBezTo>
                  <a:pt x="591987" y="1867"/>
                  <a:pt x="598088" y="0"/>
                  <a:pt x="604873" y="0"/>
                </a:cubicBezTo>
                <a:cubicBezTo>
                  <a:pt x="611596" y="0"/>
                  <a:pt x="617634" y="1867"/>
                  <a:pt x="622926" y="5663"/>
                </a:cubicBezTo>
                <a:cubicBezTo>
                  <a:pt x="628217" y="9459"/>
                  <a:pt x="632325" y="15371"/>
                  <a:pt x="635313" y="23398"/>
                </a:cubicBezTo>
                <a:cubicBezTo>
                  <a:pt x="638301" y="31363"/>
                  <a:pt x="639795" y="41756"/>
                  <a:pt x="639795" y="54512"/>
                </a:cubicBezTo>
                <a:cubicBezTo>
                  <a:pt x="639795" y="67145"/>
                  <a:pt x="638301" y="77599"/>
                  <a:pt x="635313" y="85876"/>
                </a:cubicBezTo>
                <a:cubicBezTo>
                  <a:pt x="632325" y="94027"/>
                  <a:pt x="628217" y="100064"/>
                  <a:pt x="622926" y="104047"/>
                </a:cubicBezTo>
                <a:cubicBezTo>
                  <a:pt x="617634" y="107967"/>
                  <a:pt x="611596" y="109896"/>
                  <a:pt x="604873" y="109896"/>
                </a:cubicBezTo>
                <a:close/>
                <a:moveTo>
                  <a:pt x="604686" y="98072"/>
                </a:moveTo>
                <a:cubicBezTo>
                  <a:pt x="609168" y="98072"/>
                  <a:pt x="612965" y="96766"/>
                  <a:pt x="616078" y="94089"/>
                </a:cubicBezTo>
                <a:cubicBezTo>
                  <a:pt x="619252" y="91289"/>
                  <a:pt x="621618" y="86747"/>
                  <a:pt x="623236" y="80462"/>
                </a:cubicBezTo>
                <a:cubicBezTo>
                  <a:pt x="624917" y="74114"/>
                  <a:pt x="625789" y="65589"/>
                  <a:pt x="625789" y="54948"/>
                </a:cubicBezTo>
                <a:cubicBezTo>
                  <a:pt x="625789" y="44307"/>
                  <a:pt x="624980" y="35844"/>
                  <a:pt x="623361" y="29559"/>
                </a:cubicBezTo>
                <a:cubicBezTo>
                  <a:pt x="621805" y="23150"/>
                  <a:pt x="619377" y="18669"/>
                  <a:pt x="616202" y="15931"/>
                </a:cubicBezTo>
                <a:cubicBezTo>
                  <a:pt x="613090" y="13192"/>
                  <a:pt x="609355" y="11761"/>
                  <a:pt x="604873" y="11761"/>
                </a:cubicBezTo>
                <a:cubicBezTo>
                  <a:pt x="600392" y="11761"/>
                  <a:pt x="596532" y="13192"/>
                  <a:pt x="593357" y="15931"/>
                </a:cubicBezTo>
                <a:cubicBezTo>
                  <a:pt x="590183" y="18669"/>
                  <a:pt x="587693" y="23150"/>
                  <a:pt x="586012" y="29559"/>
                </a:cubicBezTo>
                <a:cubicBezTo>
                  <a:pt x="584331" y="35844"/>
                  <a:pt x="583459" y="44307"/>
                  <a:pt x="583459" y="54948"/>
                </a:cubicBezTo>
                <a:cubicBezTo>
                  <a:pt x="583459" y="65589"/>
                  <a:pt x="584269" y="74114"/>
                  <a:pt x="585887" y="80462"/>
                </a:cubicBezTo>
                <a:cubicBezTo>
                  <a:pt x="587568" y="86747"/>
                  <a:pt x="589996" y="91289"/>
                  <a:pt x="593170" y="94089"/>
                </a:cubicBezTo>
                <a:cubicBezTo>
                  <a:pt x="596408" y="96766"/>
                  <a:pt x="600205" y="98072"/>
                  <a:pt x="604686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7" name="Полилиния 1086">
            <a:extLst>
              <a:ext uri="{FF2B5EF4-FFF2-40B4-BE49-F238E27FC236}">
                <a16:creationId xmlns:a16="http://schemas.microsoft.com/office/drawing/2014/main" id="{F7132325-7F93-96E9-A165-CFB602F55DD9}"/>
              </a:ext>
            </a:extLst>
          </p:cNvPr>
          <p:cNvSpPr/>
          <p:nvPr userDrawn="1"/>
        </p:nvSpPr>
        <p:spPr>
          <a:xfrm>
            <a:off x="21534071" y="5966300"/>
            <a:ext cx="1398954" cy="726227"/>
          </a:xfrm>
          <a:custGeom>
            <a:avLst/>
            <a:gdLst>
              <a:gd name="connsiteX0" fmla="*/ 1275 w 1198727"/>
              <a:gd name="connsiteY0" fmla="*/ 1322 h 622284"/>
              <a:gd name="connsiteX1" fmla="*/ 1200003 w 1198727"/>
              <a:gd name="connsiteY1" fmla="*/ 1322 h 622284"/>
              <a:gd name="connsiteX2" fmla="*/ 1200003 w 1198727"/>
              <a:gd name="connsiteY2" fmla="*/ 623606 h 622284"/>
              <a:gd name="connsiteX3" fmla="*/ 1275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322"/>
                </a:moveTo>
                <a:lnTo>
                  <a:pt x="1200003" y="1322"/>
                </a:lnTo>
                <a:lnTo>
                  <a:pt x="1200003" y="623606"/>
                </a:lnTo>
                <a:lnTo>
                  <a:pt x="1275" y="623606"/>
                </a:lnTo>
                <a:close/>
              </a:path>
            </a:pathLst>
          </a:custGeom>
          <a:solidFill>
            <a:srgbClr val="F5C3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8" name="Полилиния 1087">
            <a:extLst>
              <a:ext uri="{FF2B5EF4-FFF2-40B4-BE49-F238E27FC236}">
                <a16:creationId xmlns:a16="http://schemas.microsoft.com/office/drawing/2014/main" id="{AC6EBD56-9373-DAF0-2F36-D802A4543049}"/>
              </a:ext>
            </a:extLst>
          </p:cNvPr>
          <p:cNvSpPr/>
          <p:nvPr userDrawn="1"/>
        </p:nvSpPr>
        <p:spPr>
          <a:xfrm>
            <a:off x="21657280" y="6268047"/>
            <a:ext cx="703945" cy="128468"/>
          </a:xfrm>
          <a:custGeom>
            <a:avLst/>
            <a:gdLst>
              <a:gd name="connsiteX0" fmla="*/ 22099 w 603192"/>
              <a:gd name="connsiteY0" fmla="*/ 108588 h 110081"/>
              <a:gd name="connsiteX1" fmla="*/ 10147 w 603192"/>
              <a:gd name="connsiteY1" fmla="*/ 108588 h 110081"/>
              <a:gd name="connsiteX2" fmla="*/ 16434 w 603192"/>
              <a:gd name="connsiteY2" fmla="*/ 77661 h 110081"/>
              <a:gd name="connsiteX3" fmla="*/ 0 w 603192"/>
              <a:gd name="connsiteY3" fmla="*/ 77661 h 110081"/>
              <a:gd name="connsiteX4" fmla="*/ 0 w 603192"/>
              <a:gd name="connsiteY4" fmla="*/ 67206 h 110081"/>
              <a:gd name="connsiteX5" fmla="*/ 18675 w 603192"/>
              <a:gd name="connsiteY5" fmla="*/ 67206 h 110081"/>
              <a:gd name="connsiteX6" fmla="*/ 24215 w 603192"/>
              <a:gd name="connsiteY6" fmla="*/ 40012 h 110081"/>
              <a:gd name="connsiteX7" fmla="*/ 4046 w 603192"/>
              <a:gd name="connsiteY7" fmla="*/ 40012 h 110081"/>
              <a:gd name="connsiteX8" fmla="*/ 4046 w 603192"/>
              <a:gd name="connsiteY8" fmla="*/ 29559 h 110081"/>
              <a:gd name="connsiteX9" fmla="*/ 26269 w 603192"/>
              <a:gd name="connsiteY9" fmla="*/ 29559 h 110081"/>
              <a:gd name="connsiteX10" fmla="*/ 32121 w 603192"/>
              <a:gd name="connsiteY10" fmla="*/ 1493 h 110081"/>
              <a:gd name="connsiteX11" fmla="*/ 44073 w 603192"/>
              <a:gd name="connsiteY11" fmla="*/ 1493 h 110081"/>
              <a:gd name="connsiteX12" fmla="*/ 38221 w 603192"/>
              <a:gd name="connsiteY12" fmla="*/ 29559 h 110081"/>
              <a:gd name="connsiteX13" fmla="*/ 60630 w 603192"/>
              <a:gd name="connsiteY13" fmla="*/ 29559 h 110081"/>
              <a:gd name="connsiteX14" fmla="*/ 66482 w 603192"/>
              <a:gd name="connsiteY14" fmla="*/ 1493 h 110081"/>
              <a:gd name="connsiteX15" fmla="*/ 78434 w 603192"/>
              <a:gd name="connsiteY15" fmla="*/ 1493 h 110081"/>
              <a:gd name="connsiteX16" fmla="*/ 72582 w 603192"/>
              <a:gd name="connsiteY16" fmla="*/ 29559 h 110081"/>
              <a:gd name="connsiteX17" fmla="*/ 89327 w 603192"/>
              <a:gd name="connsiteY17" fmla="*/ 29559 h 110081"/>
              <a:gd name="connsiteX18" fmla="*/ 89327 w 603192"/>
              <a:gd name="connsiteY18" fmla="*/ 40012 h 110081"/>
              <a:gd name="connsiteX19" fmla="*/ 70529 w 603192"/>
              <a:gd name="connsiteY19" fmla="*/ 40012 h 110081"/>
              <a:gd name="connsiteX20" fmla="*/ 64988 w 603192"/>
              <a:gd name="connsiteY20" fmla="*/ 67206 h 110081"/>
              <a:gd name="connsiteX21" fmla="*/ 85282 w 603192"/>
              <a:gd name="connsiteY21" fmla="*/ 67206 h 110081"/>
              <a:gd name="connsiteX22" fmla="*/ 85282 w 603192"/>
              <a:gd name="connsiteY22" fmla="*/ 77661 h 110081"/>
              <a:gd name="connsiteX23" fmla="*/ 62747 w 603192"/>
              <a:gd name="connsiteY23" fmla="*/ 77661 h 110081"/>
              <a:gd name="connsiteX24" fmla="*/ 56460 w 603192"/>
              <a:gd name="connsiteY24" fmla="*/ 108588 h 110081"/>
              <a:gd name="connsiteX25" fmla="*/ 44508 w 603192"/>
              <a:gd name="connsiteY25" fmla="*/ 108588 h 110081"/>
              <a:gd name="connsiteX26" fmla="*/ 50795 w 603192"/>
              <a:gd name="connsiteY26" fmla="*/ 77661 h 110081"/>
              <a:gd name="connsiteX27" fmla="*/ 28386 w 603192"/>
              <a:gd name="connsiteY27" fmla="*/ 77661 h 110081"/>
              <a:gd name="connsiteX28" fmla="*/ 22099 w 603192"/>
              <a:gd name="connsiteY28" fmla="*/ 108588 h 110081"/>
              <a:gd name="connsiteX29" fmla="*/ 30627 w 603192"/>
              <a:gd name="connsiteY29" fmla="*/ 67206 h 110081"/>
              <a:gd name="connsiteX30" fmla="*/ 53036 w 603192"/>
              <a:gd name="connsiteY30" fmla="*/ 67206 h 110081"/>
              <a:gd name="connsiteX31" fmla="*/ 58576 w 603192"/>
              <a:gd name="connsiteY31" fmla="*/ 40012 h 110081"/>
              <a:gd name="connsiteX32" fmla="*/ 36167 w 603192"/>
              <a:gd name="connsiteY32" fmla="*/ 40012 h 110081"/>
              <a:gd name="connsiteX33" fmla="*/ 30627 w 603192"/>
              <a:gd name="connsiteY33" fmla="*/ 67206 h 110081"/>
              <a:gd name="connsiteX34" fmla="*/ 107816 w 603192"/>
              <a:gd name="connsiteY34" fmla="*/ 1493 h 110081"/>
              <a:gd name="connsiteX35" fmla="*/ 173239 w 603192"/>
              <a:gd name="connsiteY35" fmla="*/ 1493 h 110081"/>
              <a:gd name="connsiteX36" fmla="*/ 173239 w 603192"/>
              <a:gd name="connsiteY36" fmla="*/ 14374 h 110081"/>
              <a:gd name="connsiteX37" fmla="*/ 121884 w 603192"/>
              <a:gd name="connsiteY37" fmla="*/ 14374 h 110081"/>
              <a:gd name="connsiteX38" fmla="*/ 121884 w 603192"/>
              <a:gd name="connsiteY38" fmla="*/ 49907 h 110081"/>
              <a:gd name="connsiteX39" fmla="*/ 165520 w 603192"/>
              <a:gd name="connsiteY39" fmla="*/ 49907 h 110081"/>
              <a:gd name="connsiteX40" fmla="*/ 165520 w 603192"/>
              <a:gd name="connsiteY40" fmla="*/ 62601 h 110081"/>
              <a:gd name="connsiteX41" fmla="*/ 121884 w 603192"/>
              <a:gd name="connsiteY41" fmla="*/ 62601 h 110081"/>
              <a:gd name="connsiteX42" fmla="*/ 121884 w 603192"/>
              <a:gd name="connsiteY42" fmla="*/ 108588 h 110081"/>
              <a:gd name="connsiteX43" fmla="*/ 107816 w 603192"/>
              <a:gd name="connsiteY43" fmla="*/ 108588 h 110081"/>
              <a:gd name="connsiteX44" fmla="*/ 107816 w 603192"/>
              <a:gd name="connsiteY44" fmla="*/ 1493 h 110081"/>
              <a:gd name="connsiteX45" fmla="*/ 216627 w 603192"/>
              <a:gd name="connsiteY45" fmla="*/ 110082 h 110081"/>
              <a:gd name="connsiteX46" fmla="*/ 188116 w 603192"/>
              <a:gd name="connsiteY46" fmla="*/ 102490 h 110081"/>
              <a:gd name="connsiteX47" fmla="*/ 188116 w 603192"/>
              <a:gd name="connsiteY47" fmla="*/ 87804 h 110081"/>
              <a:gd name="connsiteX48" fmla="*/ 201251 w 603192"/>
              <a:gd name="connsiteY48" fmla="*/ 95458 h 110081"/>
              <a:gd name="connsiteX49" fmla="*/ 216627 w 603192"/>
              <a:gd name="connsiteY49" fmla="*/ 97823 h 110081"/>
              <a:gd name="connsiteX50" fmla="*/ 233683 w 603192"/>
              <a:gd name="connsiteY50" fmla="*/ 91102 h 110081"/>
              <a:gd name="connsiteX51" fmla="*/ 239783 w 603192"/>
              <a:gd name="connsiteY51" fmla="*/ 73491 h 110081"/>
              <a:gd name="connsiteX52" fmla="*/ 233807 w 603192"/>
              <a:gd name="connsiteY52" fmla="*/ 56441 h 110081"/>
              <a:gd name="connsiteX53" fmla="*/ 218743 w 603192"/>
              <a:gd name="connsiteY53" fmla="*/ 51089 h 110081"/>
              <a:gd name="connsiteX54" fmla="*/ 208099 w 603192"/>
              <a:gd name="connsiteY54" fmla="*/ 53329 h 110081"/>
              <a:gd name="connsiteX55" fmla="*/ 201998 w 603192"/>
              <a:gd name="connsiteY55" fmla="*/ 57810 h 110081"/>
              <a:gd name="connsiteX56" fmla="*/ 191105 w 603192"/>
              <a:gd name="connsiteY56" fmla="*/ 57810 h 110081"/>
              <a:gd name="connsiteX57" fmla="*/ 191105 w 603192"/>
              <a:gd name="connsiteY57" fmla="*/ 1493 h 110081"/>
              <a:gd name="connsiteX58" fmla="*/ 249058 w 603192"/>
              <a:gd name="connsiteY58" fmla="*/ 1493 h 110081"/>
              <a:gd name="connsiteX59" fmla="*/ 249058 w 603192"/>
              <a:gd name="connsiteY59" fmla="*/ 14374 h 110081"/>
              <a:gd name="connsiteX60" fmla="*/ 203368 w 603192"/>
              <a:gd name="connsiteY60" fmla="*/ 14374 h 110081"/>
              <a:gd name="connsiteX61" fmla="*/ 203368 w 603192"/>
              <a:gd name="connsiteY61" fmla="*/ 44991 h 110081"/>
              <a:gd name="connsiteX62" fmla="*/ 210650 w 603192"/>
              <a:gd name="connsiteY62" fmla="*/ 41071 h 110081"/>
              <a:gd name="connsiteX63" fmla="*/ 220984 w 603192"/>
              <a:gd name="connsiteY63" fmla="*/ 39266 h 110081"/>
              <a:gd name="connsiteX64" fmla="*/ 237729 w 603192"/>
              <a:gd name="connsiteY64" fmla="*/ 43186 h 110081"/>
              <a:gd name="connsiteX65" fmla="*/ 249494 w 603192"/>
              <a:gd name="connsiteY65" fmla="*/ 54512 h 110081"/>
              <a:gd name="connsiteX66" fmla="*/ 253976 w 603192"/>
              <a:gd name="connsiteY66" fmla="*/ 73181 h 110081"/>
              <a:gd name="connsiteX67" fmla="*/ 249370 w 603192"/>
              <a:gd name="connsiteY67" fmla="*/ 92596 h 110081"/>
              <a:gd name="connsiteX68" fmla="*/ 236484 w 603192"/>
              <a:gd name="connsiteY68" fmla="*/ 105601 h 110081"/>
              <a:gd name="connsiteX69" fmla="*/ 216627 w 603192"/>
              <a:gd name="connsiteY69" fmla="*/ 110082 h 110081"/>
              <a:gd name="connsiteX70" fmla="*/ 321329 w 603192"/>
              <a:gd name="connsiteY70" fmla="*/ 110082 h 110081"/>
              <a:gd name="connsiteX71" fmla="*/ 293566 w 603192"/>
              <a:gd name="connsiteY71" fmla="*/ 103486 h 110081"/>
              <a:gd name="connsiteX72" fmla="*/ 275203 w 603192"/>
              <a:gd name="connsiteY72" fmla="*/ 84693 h 110081"/>
              <a:gd name="connsiteX73" fmla="*/ 268604 w 603192"/>
              <a:gd name="connsiteY73" fmla="*/ 55134 h 110081"/>
              <a:gd name="connsiteX74" fmla="*/ 282175 w 603192"/>
              <a:gd name="connsiteY74" fmla="*/ 14810 h 110081"/>
              <a:gd name="connsiteX75" fmla="*/ 321018 w 603192"/>
              <a:gd name="connsiteY75" fmla="*/ 186 h 110081"/>
              <a:gd name="connsiteX76" fmla="*/ 338946 w 603192"/>
              <a:gd name="connsiteY76" fmla="*/ 2240 h 110081"/>
              <a:gd name="connsiteX77" fmla="*/ 353637 w 603192"/>
              <a:gd name="connsiteY77" fmla="*/ 7902 h 110081"/>
              <a:gd name="connsiteX78" fmla="*/ 353637 w 603192"/>
              <a:gd name="connsiteY78" fmla="*/ 21344 h 110081"/>
              <a:gd name="connsiteX79" fmla="*/ 338510 w 603192"/>
              <a:gd name="connsiteY79" fmla="*/ 15121 h 110081"/>
              <a:gd name="connsiteX80" fmla="*/ 320894 w 603192"/>
              <a:gd name="connsiteY80" fmla="*/ 12881 h 110081"/>
              <a:gd name="connsiteX81" fmla="*/ 292944 w 603192"/>
              <a:gd name="connsiteY81" fmla="*/ 23459 h 110081"/>
              <a:gd name="connsiteX82" fmla="*/ 283855 w 603192"/>
              <a:gd name="connsiteY82" fmla="*/ 55134 h 110081"/>
              <a:gd name="connsiteX83" fmla="*/ 293691 w 603192"/>
              <a:gd name="connsiteY83" fmla="*/ 86933 h 110081"/>
              <a:gd name="connsiteX84" fmla="*/ 322512 w 603192"/>
              <a:gd name="connsiteY84" fmla="*/ 97387 h 110081"/>
              <a:gd name="connsiteX85" fmla="*/ 353637 w 603192"/>
              <a:gd name="connsiteY85" fmla="*/ 87555 h 110081"/>
              <a:gd name="connsiteX86" fmla="*/ 353637 w 603192"/>
              <a:gd name="connsiteY86" fmla="*/ 100997 h 110081"/>
              <a:gd name="connsiteX87" fmla="*/ 339693 w 603192"/>
              <a:gd name="connsiteY87" fmla="*/ 107717 h 110081"/>
              <a:gd name="connsiteX88" fmla="*/ 321329 w 603192"/>
              <a:gd name="connsiteY88" fmla="*/ 110082 h 110081"/>
              <a:gd name="connsiteX89" fmla="*/ 387375 w 603192"/>
              <a:gd name="connsiteY89" fmla="*/ 58992 h 110081"/>
              <a:gd name="connsiteX90" fmla="*/ 387375 w 603192"/>
              <a:gd name="connsiteY90" fmla="*/ 46298 h 110081"/>
              <a:gd name="connsiteX91" fmla="*/ 401693 w 603192"/>
              <a:gd name="connsiteY91" fmla="*/ 46298 h 110081"/>
              <a:gd name="connsiteX92" fmla="*/ 415325 w 603192"/>
              <a:gd name="connsiteY92" fmla="*/ 41817 h 110081"/>
              <a:gd name="connsiteX93" fmla="*/ 420679 w 603192"/>
              <a:gd name="connsiteY93" fmla="*/ 28812 h 110081"/>
              <a:gd name="connsiteX94" fmla="*/ 415761 w 603192"/>
              <a:gd name="connsiteY94" fmla="*/ 16864 h 110081"/>
              <a:gd name="connsiteX95" fmla="*/ 401568 w 603192"/>
              <a:gd name="connsiteY95" fmla="*/ 12383 h 110081"/>
              <a:gd name="connsiteX96" fmla="*/ 386940 w 603192"/>
              <a:gd name="connsiteY96" fmla="*/ 15246 h 110081"/>
              <a:gd name="connsiteX97" fmla="*/ 372871 w 603192"/>
              <a:gd name="connsiteY97" fmla="*/ 24331 h 110081"/>
              <a:gd name="connsiteX98" fmla="*/ 372871 w 603192"/>
              <a:gd name="connsiteY98" fmla="*/ 9707 h 110081"/>
              <a:gd name="connsiteX99" fmla="*/ 401693 w 603192"/>
              <a:gd name="connsiteY99" fmla="*/ 0 h 110081"/>
              <a:gd name="connsiteX100" fmla="*/ 425783 w 603192"/>
              <a:gd name="connsiteY100" fmla="*/ 7779 h 110081"/>
              <a:gd name="connsiteX101" fmla="*/ 434560 w 603192"/>
              <a:gd name="connsiteY101" fmla="*/ 28065 h 110081"/>
              <a:gd name="connsiteX102" fmla="*/ 428895 w 603192"/>
              <a:gd name="connsiteY102" fmla="*/ 44244 h 110081"/>
              <a:gd name="connsiteX103" fmla="*/ 415574 w 603192"/>
              <a:gd name="connsiteY103" fmla="*/ 52147 h 110081"/>
              <a:gd name="connsiteX104" fmla="*/ 427090 w 603192"/>
              <a:gd name="connsiteY104" fmla="*/ 56441 h 110081"/>
              <a:gd name="connsiteX105" fmla="*/ 435743 w 603192"/>
              <a:gd name="connsiteY105" fmla="*/ 65153 h 110081"/>
              <a:gd name="connsiteX106" fmla="*/ 439042 w 603192"/>
              <a:gd name="connsiteY106" fmla="*/ 77661 h 110081"/>
              <a:gd name="connsiteX107" fmla="*/ 434124 w 603192"/>
              <a:gd name="connsiteY107" fmla="*/ 94836 h 110081"/>
              <a:gd name="connsiteX108" fmla="*/ 420554 w 603192"/>
              <a:gd name="connsiteY108" fmla="*/ 106224 h 110081"/>
              <a:gd name="connsiteX109" fmla="*/ 400634 w 603192"/>
              <a:gd name="connsiteY109" fmla="*/ 110082 h 110081"/>
              <a:gd name="connsiteX110" fmla="*/ 370194 w 603192"/>
              <a:gd name="connsiteY110" fmla="*/ 100997 h 110081"/>
              <a:gd name="connsiteX111" fmla="*/ 370194 w 603192"/>
              <a:gd name="connsiteY111" fmla="*/ 86062 h 110081"/>
              <a:gd name="connsiteX112" fmla="*/ 383952 w 603192"/>
              <a:gd name="connsiteY112" fmla="*/ 94711 h 110081"/>
              <a:gd name="connsiteX113" fmla="*/ 400821 w 603192"/>
              <a:gd name="connsiteY113" fmla="*/ 97823 h 110081"/>
              <a:gd name="connsiteX114" fmla="*/ 418126 w 603192"/>
              <a:gd name="connsiteY114" fmla="*/ 92596 h 110081"/>
              <a:gd name="connsiteX115" fmla="*/ 424538 w 603192"/>
              <a:gd name="connsiteY115" fmla="*/ 77972 h 110081"/>
              <a:gd name="connsiteX116" fmla="*/ 418749 w 603192"/>
              <a:gd name="connsiteY116" fmla="*/ 64095 h 110081"/>
              <a:gd name="connsiteX117" fmla="*/ 401133 w 603192"/>
              <a:gd name="connsiteY117" fmla="*/ 58992 h 110081"/>
              <a:gd name="connsiteX118" fmla="*/ 387375 w 603192"/>
              <a:gd name="connsiteY118" fmla="*/ 58992 h 110081"/>
              <a:gd name="connsiteX119" fmla="*/ 486102 w 603192"/>
              <a:gd name="connsiteY119" fmla="*/ 110082 h 110081"/>
              <a:gd name="connsiteX120" fmla="*/ 467863 w 603192"/>
              <a:gd name="connsiteY120" fmla="*/ 104233 h 110081"/>
              <a:gd name="connsiteX121" fmla="*/ 455164 w 603192"/>
              <a:gd name="connsiteY121" fmla="*/ 86311 h 110081"/>
              <a:gd name="connsiteX122" fmla="*/ 450683 w 603192"/>
              <a:gd name="connsiteY122" fmla="*/ 54947 h 110081"/>
              <a:gd name="connsiteX123" fmla="*/ 455164 w 603192"/>
              <a:gd name="connsiteY123" fmla="*/ 23584 h 110081"/>
              <a:gd name="connsiteX124" fmla="*/ 467863 w 603192"/>
              <a:gd name="connsiteY124" fmla="*/ 5849 h 110081"/>
              <a:gd name="connsiteX125" fmla="*/ 486102 w 603192"/>
              <a:gd name="connsiteY125" fmla="*/ 186 h 110081"/>
              <a:gd name="connsiteX126" fmla="*/ 504154 w 603192"/>
              <a:gd name="connsiteY126" fmla="*/ 5849 h 110081"/>
              <a:gd name="connsiteX127" fmla="*/ 516542 w 603192"/>
              <a:gd name="connsiteY127" fmla="*/ 23584 h 110081"/>
              <a:gd name="connsiteX128" fmla="*/ 521024 w 603192"/>
              <a:gd name="connsiteY128" fmla="*/ 54698 h 110081"/>
              <a:gd name="connsiteX129" fmla="*/ 516542 w 603192"/>
              <a:gd name="connsiteY129" fmla="*/ 86062 h 110081"/>
              <a:gd name="connsiteX130" fmla="*/ 504154 w 603192"/>
              <a:gd name="connsiteY130" fmla="*/ 104233 h 110081"/>
              <a:gd name="connsiteX131" fmla="*/ 486102 w 603192"/>
              <a:gd name="connsiteY131" fmla="*/ 110082 h 110081"/>
              <a:gd name="connsiteX132" fmla="*/ 485916 w 603192"/>
              <a:gd name="connsiteY132" fmla="*/ 98258 h 110081"/>
              <a:gd name="connsiteX133" fmla="*/ 497307 w 603192"/>
              <a:gd name="connsiteY133" fmla="*/ 94275 h 110081"/>
              <a:gd name="connsiteX134" fmla="*/ 504466 w 603192"/>
              <a:gd name="connsiteY134" fmla="*/ 80648 h 110081"/>
              <a:gd name="connsiteX135" fmla="*/ 507018 w 603192"/>
              <a:gd name="connsiteY135" fmla="*/ 55134 h 110081"/>
              <a:gd name="connsiteX136" fmla="*/ 504590 w 603192"/>
              <a:gd name="connsiteY136" fmla="*/ 29745 h 110081"/>
              <a:gd name="connsiteX137" fmla="*/ 497432 w 603192"/>
              <a:gd name="connsiteY137" fmla="*/ 16117 h 110081"/>
              <a:gd name="connsiteX138" fmla="*/ 486102 w 603192"/>
              <a:gd name="connsiteY138" fmla="*/ 11947 h 110081"/>
              <a:gd name="connsiteX139" fmla="*/ 474586 w 603192"/>
              <a:gd name="connsiteY139" fmla="*/ 16117 h 110081"/>
              <a:gd name="connsiteX140" fmla="*/ 467241 w 603192"/>
              <a:gd name="connsiteY140" fmla="*/ 29745 h 110081"/>
              <a:gd name="connsiteX141" fmla="*/ 464751 w 603192"/>
              <a:gd name="connsiteY141" fmla="*/ 55134 h 110081"/>
              <a:gd name="connsiteX142" fmla="*/ 467116 w 603192"/>
              <a:gd name="connsiteY142" fmla="*/ 80648 h 110081"/>
              <a:gd name="connsiteX143" fmla="*/ 474461 w 603192"/>
              <a:gd name="connsiteY143" fmla="*/ 94275 h 110081"/>
              <a:gd name="connsiteX144" fmla="*/ 485916 w 603192"/>
              <a:gd name="connsiteY144" fmla="*/ 98258 h 110081"/>
              <a:gd name="connsiteX145" fmla="*/ 568209 w 603192"/>
              <a:gd name="connsiteY145" fmla="*/ 110082 h 110081"/>
              <a:gd name="connsiteX146" fmla="*/ 549969 w 603192"/>
              <a:gd name="connsiteY146" fmla="*/ 104233 h 110081"/>
              <a:gd name="connsiteX147" fmla="*/ 537271 w 603192"/>
              <a:gd name="connsiteY147" fmla="*/ 86311 h 110081"/>
              <a:gd name="connsiteX148" fmla="*/ 532789 w 603192"/>
              <a:gd name="connsiteY148" fmla="*/ 54947 h 110081"/>
              <a:gd name="connsiteX149" fmla="*/ 537271 w 603192"/>
              <a:gd name="connsiteY149" fmla="*/ 23584 h 110081"/>
              <a:gd name="connsiteX150" fmla="*/ 549969 w 603192"/>
              <a:gd name="connsiteY150" fmla="*/ 5849 h 110081"/>
              <a:gd name="connsiteX151" fmla="*/ 568209 w 603192"/>
              <a:gd name="connsiteY151" fmla="*/ 186 h 110081"/>
              <a:gd name="connsiteX152" fmla="*/ 586323 w 603192"/>
              <a:gd name="connsiteY152" fmla="*/ 5849 h 110081"/>
              <a:gd name="connsiteX153" fmla="*/ 598711 w 603192"/>
              <a:gd name="connsiteY153" fmla="*/ 23584 h 110081"/>
              <a:gd name="connsiteX154" fmla="*/ 603192 w 603192"/>
              <a:gd name="connsiteY154" fmla="*/ 54698 h 110081"/>
              <a:gd name="connsiteX155" fmla="*/ 598711 w 603192"/>
              <a:gd name="connsiteY155" fmla="*/ 86062 h 110081"/>
              <a:gd name="connsiteX156" fmla="*/ 586323 w 603192"/>
              <a:gd name="connsiteY156" fmla="*/ 104233 h 110081"/>
              <a:gd name="connsiteX157" fmla="*/ 568209 w 603192"/>
              <a:gd name="connsiteY157" fmla="*/ 110082 h 110081"/>
              <a:gd name="connsiteX158" fmla="*/ 568084 w 603192"/>
              <a:gd name="connsiteY158" fmla="*/ 98258 h 110081"/>
              <a:gd name="connsiteX159" fmla="*/ 579414 w 603192"/>
              <a:gd name="connsiteY159" fmla="*/ 94275 h 110081"/>
              <a:gd name="connsiteX160" fmla="*/ 586572 w 603192"/>
              <a:gd name="connsiteY160" fmla="*/ 80648 h 110081"/>
              <a:gd name="connsiteX161" fmla="*/ 589124 w 603192"/>
              <a:gd name="connsiteY161" fmla="*/ 55134 h 110081"/>
              <a:gd name="connsiteX162" fmla="*/ 586759 w 603192"/>
              <a:gd name="connsiteY162" fmla="*/ 29745 h 110081"/>
              <a:gd name="connsiteX163" fmla="*/ 579600 w 603192"/>
              <a:gd name="connsiteY163" fmla="*/ 16117 h 110081"/>
              <a:gd name="connsiteX164" fmla="*/ 568209 w 603192"/>
              <a:gd name="connsiteY164" fmla="*/ 11947 h 110081"/>
              <a:gd name="connsiteX165" fmla="*/ 556693 w 603192"/>
              <a:gd name="connsiteY165" fmla="*/ 16117 h 110081"/>
              <a:gd name="connsiteX166" fmla="*/ 549409 w 603192"/>
              <a:gd name="connsiteY166" fmla="*/ 29745 h 110081"/>
              <a:gd name="connsiteX167" fmla="*/ 546857 w 603192"/>
              <a:gd name="connsiteY167" fmla="*/ 55134 h 110081"/>
              <a:gd name="connsiteX168" fmla="*/ 549222 w 603192"/>
              <a:gd name="connsiteY168" fmla="*/ 80648 h 110081"/>
              <a:gd name="connsiteX169" fmla="*/ 556568 w 603192"/>
              <a:gd name="connsiteY169" fmla="*/ 94275 h 110081"/>
              <a:gd name="connsiteX170" fmla="*/ 568084 w 603192"/>
              <a:gd name="connsiteY17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</a:cxnLst>
            <a:rect l="l" t="t" r="r" b="b"/>
            <a:pathLst>
              <a:path w="60319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216627" y="110082"/>
                </a:moveTo>
                <a:cubicBezTo>
                  <a:pt x="204675" y="110082"/>
                  <a:pt x="195150" y="107530"/>
                  <a:pt x="188116" y="102490"/>
                </a:cubicBezTo>
                <a:lnTo>
                  <a:pt x="188116" y="87804"/>
                </a:lnTo>
                <a:cubicBezTo>
                  <a:pt x="192287" y="91226"/>
                  <a:pt x="196644" y="93778"/>
                  <a:pt x="201251" y="95458"/>
                </a:cubicBezTo>
                <a:cubicBezTo>
                  <a:pt x="205858" y="97014"/>
                  <a:pt x="210962" y="97823"/>
                  <a:pt x="216627" y="97823"/>
                </a:cubicBezTo>
                <a:cubicBezTo>
                  <a:pt x="224034" y="97823"/>
                  <a:pt x="229699" y="95583"/>
                  <a:pt x="233683" y="91102"/>
                </a:cubicBezTo>
                <a:cubicBezTo>
                  <a:pt x="237729" y="86621"/>
                  <a:pt x="239783" y="80772"/>
                  <a:pt x="239783" y="73491"/>
                </a:cubicBezTo>
                <a:cubicBezTo>
                  <a:pt x="239783" y="65713"/>
                  <a:pt x="237791" y="60050"/>
                  <a:pt x="233807" y="56441"/>
                </a:cubicBezTo>
                <a:cubicBezTo>
                  <a:pt x="229823" y="52894"/>
                  <a:pt x="224781" y="51089"/>
                  <a:pt x="218743" y="51089"/>
                </a:cubicBezTo>
                <a:cubicBezTo>
                  <a:pt x="214323" y="51089"/>
                  <a:pt x="210837" y="51836"/>
                  <a:pt x="208099" y="53329"/>
                </a:cubicBezTo>
                <a:cubicBezTo>
                  <a:pt x="205422" y="54698"/>
                  <a:pt x="203368" y="56192"/>
                  <a:pt x="201998" y="57810"/>
                </a:cubicBezTo>
                <a:lnTo>
                  <a:pt x="191105" y="57810"/>
                </a:lnTo>
                <a:lnTo>
                  <a:pt x="191105" y="1493"/>
                </a:lnTo>
                <a:lnTo>
                  <a:pt x="249058" y="1493"/>
                </a:lnTo>
                <a:lnTo>
                  <a:pt x="249058" y="14374"/>
                </a:lnTo>
                <a:lnTo>
                  <a:pt x="203368" y="14374"/>
                </a:lnTo>
                <a:lnTo>
                  <a:pt x="203368" y="44991"/>
                </a:lnTo>
                <a:cubicBezTo>
                  <a:pt x="205359" y="43498"/>
                  <a:pt x="207787" y="42190"/>
                  <a:pt x="210650" y="41071"/>
                </a:cubicBezTo>
                <a:cubicBezTo>
                  <a:pt x="213577" y="39888"/>
                  <a:pt x="217000" y="39266"/>
                  <a:pt x="220984" y="39266"/>
                </a:cubicBezTo>
                <a:cubicBezTo>
                  <a:pt x="227146" y="39266"/>
                  <a:pt x="232749" y="40572"/>
                  <a:pt x="237729" y="43186"/>
                </a:cubicBezTo>
                <a:cubicBezTo>
                  <a:pt x="242709" y="45675"/>
                  <a:pt x="246630" y="49471"/>
                  <a:pt x="249494" y="54512"/>
                </a:cubicBezTo>
                <a:cubicBezTo>
                  <a:pt x="252482" y="59490"/>
                  <a:pt x="253976" y="65713"/>
                  <a:pt x="253976" y="73181"/>
                </a:cubicBezTo>
                <a:cubicBezTo>
                  <a:pt x="253976" y="80586"/>
                  <a:pt x="252420" y="87058"/>
                  <a:pt x="249370" y="92596"/>
                </a:cubicBezTo>
                <a:cubicBezTo>
                  <a:pt x="246382" y="98196"/>
                  <a:pt x="242086" y="102490"/>
                  <a:pt x="236484" y="105601"/>
                </a:cubicBezTo>
                <a:cubicBezTo>
                  <a:pt x="230943" y="108588"/>
                  <a:pt x="224283" y="110082"/>
                  <a:pt x="216627" y="110082"/>
                </a:cubicBezTo>
                <a:close/>
                <a:moveTo>
                  <a:pt x="321329" y="110082"/>
                </a:moveTo>
                <a:cubicBezTo>
                  <a:pt x="310809" y="110082"/>
                  <a:pt x="301534" y="107904"/>
                  <a:pt x="293566" y="103486"/>
                </a:cubicBezTo>
                <a:cubicBezTo>
                  <a:pt x="285661" y="99129"/>
                  <a:pt x="279560" y="92844"/>
                  <a:pt x="275203" y="84693"/>
                </a:cubicBezTo>
                <a:cubicBezTo>
                  <a:pt x="270783" y="76416"/>
                  <a:pt x="268604" y="66584"/>
                  <a:pt x="268604" y="55134"/>
                </a:cubicBezTo>
                <a:cubicBezTo>
                  <a:pt x="268604" y="37897"/>
                  <a:pt x="273148" y="24455"/>
                  <a:pt x="282175" y="14810"/>
                </a:cubicBezTo>
                <a:cubicBezTo>
                  <a:pt x="291263" y="5040"/>
                  <a:pt x="304211" y="186"/>
                  <a:pt x="321018" y="186"/>
                </a:cubicBezTo>
                <a:cubicBezTo>
                  <a:pt x="327305" y="186"/>
                  <a:pt x="333281" y="871"/>
                  <a:pt x="338946" y="2240"/>
                </a:cubicBezTo>
                <a:cubicBezTo>
                  <a:pt x="344735" y="3547"/>
                  <a:pt x="349653" y="5414"/>
                  <a:pt x="353637" y="7902"/>
                </a:cubicBezTo>
                <a:lnTo>
                  <a:pt x="353637" y="21344"/>
                </a:lnTo>
                <a:cubicBezTo>
                  <a:pt x="349341" y="18669"/>
                  <a:pt x="344299" y="16615"/>
                  <a:pt x="338510" y="15121"/>
                </a:cubicBezTo>
                <a:cubicBezTo>
                  <a:pt x="332845" y="13628"/>
                  <a:pt x="326994" y="12881"/>
                  <a:pt x="320894" y="12881"/>
                </a:cubicBezTo>
                <a:cubicBezTo>
                  <a:pt x="308319" y="12881"/>
                  <a:pt x="299044" y="16366"/>
                  <a:pt x="292944" y="23459"/>
                </a:cubicBezTo>
                <a:cubicBezTo>
                  <a:pt x="286905" y="30554"/>
                  <a:pt x="283855" y="41071"/>
                  <a:pt x="283855" y="55134"/>
                </a:cubicBezTo>
                <a:cubicBezTo>
                  <a:pt x="283855" y="69260"/>
                  <a:pt x="287154" y="79839"/>
                  <a:pt x="293691" y="86933"/>
                </a:cubicBezTo>
                <a:cubicBezTo>
                  <a:pt x="300289" y="93902"/>
                  <a:pt x="309875" y="97387"/>
                  <a:pt x="322512" y="97387"/>
                </a:cubicBezTo>
                <a:cubicBezTo>
                  <a:pt x="334463" y="97387"/>
                  <a:pt x="344859" y="94089"/>
                  <a:pt x="353637" y="87555"/>
                </a:cubicBezTo>
                <a:lnTo>
                  <a:pt x="353637" y="100997"/>
                </a:lnTo>
                <a:cubicBezTo>
                  <a:pt x="350150" y="103734"/>
                  <a:pt x="345482" y="105974"/>
                  <a:pt x="339693" y="107717"/>
                </a:cubicBezTo>
                <a:cubicBezTo>
                  <a:pt x="333966" y="109273"/>
                  <a:pt x="327803" y="110082"/>
                  <a:pt x="321329" y="110082"/>
                </a:cubicBezTo>
                <a:close/>
                <a:moveTo>
                  <a:pt x="387375" y="58992"/>
                </a:moveTo>
                <a:lnTo>
                  <a:pt x="387375" y="46298"/>
                </a:lnTo>
                <a:lnTo>
                  <a:pt x="401693" y="46298"/>
                </a:lnTo>
                <a:cubicBezTo>
                  <a:pt x="407295" y="46298"/>
                  <a:pt x="411839" y="44804"/>
                  <a:pt x="415325" y="41817"/>
                </a:cubicBezTo>
                <a:cubicBezTo>
                  <a:pt x="418873" y="38768"/>
                  <a:pt x="420679" y="34412"/>
                  <a:pt x="420679" y="28812"/>
                </a:cubicBezTo>
                <a:cubicBezTo>
                  <a:pt x="420679" y="23771"/>
                  <a:pt x="419060" y="19788"/>
                  <a:pt x="415761" y="16864"/>
                </a:cubicBezTo>
                <a:cubicBezTo>
                  <a:pt x="412462" y="13877"/>
                  <a:pt x="407731" y="12383"/>
                  <a:pt x="401568" y="12383"/>
                </a:cubicBezTo>
                <a:cubicBezTo>
                  <a:pt x="396402" y="12383"/>
                  <a:pt x="391484" y="13379"/>
                  <a:pt x="386940" y="15246"/>
                </a:cubicBezTo>
                <a:cubicBezTo>
                  <a:pt x="382458" y="17113"/>
                  <a:pt x="377727" y="20162"/>
                  <a:pt x="372871" y="24331"/>
                </a:cubicBezTo>
                <a:lnTo>
                  <a:pt x="372871" y="9707"/>
                </a:lnTo>
                <a:cubicBezTo>
                  <a:pt x="380839" y="3235"/>
                  <a:pt x="390425" y="0"/>
                  <a:pt x="401693" y="0"/>
                </a:cubicBezTo>
                <a:cubicBezTo>
                  <a:pt x="411964" y="0"/>
                  <a:pt x="419993" y="2613"/>
                  <a:pt x="425783" y="7779"/>
                </a:cubicBezTo>
                <a:cubicBezTo>
                  <a:pt x="431634" y="12943"/>
                  <a:pt x="434560" y="19726"/>
                  <a:pt x="434560" y="28065"/>
                </a:cubicBezTo>
                <a:cubicBezTo>
                  <a:pt x="434560" y="34848"/>
                  <a:pt x="432693" y="40262"/>
                  <a:pt x="428895" y="44244"/>
                </a:cubicBezTo>
                <a:cubicBezTo>
                  <a:pt x="425223" y="48227"/>
                  <a:pt x="420803" y="50840"/>
                  <a:pt x="415574" y="52147"/>
                </a:cubicBezTo>
                <a:cubicBezTo>
                  <a:pt x="419807" y="52707"/>
                  <a:pt x="423604" y="54201"/>
                  <a:pt x="427090" y="56441"/>
                </a:cubicBezTo>
                <a:cubicBezTo>
                  <a:pt x="430701" y="58681"/>
                  <a:pt x="433564" y="61543"/>
                  <a:pt x="435743" y="65153"/>
                </a:cubicBezTo>
                <a:cubicBezTo>
                  <a:pt x="437984" y="68700"/>
                  <a:pt x="439042" y="72869"/>
                  <a:pt x="439042" y="77661"/>
                </a:cubicBezTo>
                <a:cubicBezTo>
                  <a:pt x="439042" y="84257"/>
                  <a:pt x="437423" y="89982"/>
                  <a:pt x="434124" y="94836"/>
                </a:cubicBezTo>
                <a:cubicBezTo>
                  <a:pt x="430826" y="99752"/>
                  <a:pt x="426281" y="103486"/>
                  <a:pt x="420554" y="106224"/>
                </a:cubicBezTo>
                <a:cubicBezTo>
                  <a:pt x="414827" y="108775"/>
                  <a:pt x="408229" y="110082"/>
                  <a:pt x="400634" y="110082"/>
                </a:cubicBezTo>
                <a:cubicBezTo>
                  <a:pt x="387500" y="110082"/>
                  <a:pt x="377353" y="107033"/>
                  <a:pt x="370194" y="100997"/>
                </a:cubicBezTo>
                <a:lnTo>
                  <a:pt x="370194" y="86062"/>
                </a:lnTo>
                <a:cubicBezTo>
                  <a:pt x="373992" y="89733"/>
                  <a:pt x="378536" y="92596"/>
                  <a:pt x="383952" y="94711"/>
                </a:cubicBezTo>
                <a:cubicBezTo>
                  <a:pt x="389305" y="96765"/>
                  <a:pt x="394908" y="97823"/>
                  <a:pt x="400821" y="97823"/>
                </a:cubicBezTo>
                <a:cubicBezTo>
                  <a:pt x="408167" y="97823"/>
                  <a:pt x="413956" y="96080"/>
                  <a:pt x="418126" y="92596"/>
                </a:cubicBezTo>
                <a:cubicBezTo>
                  <a:pt x="422421" y="89048"/>
                  <a:pt x="424538" y="84132"/>
                  <a:pt x="424538" y="77972"/>
                </a:cubicBezTo>
                <a:cubicBezTo>
                  <a:pt x="424538" y="71998"/>
                  <a:pt x="422608" y="67393"/>
                  <a:pt x="418749" y="64095"/>
                </a:cubicBezTo>
                <a:cubicBezTo>
                  <a:pt x="414952" y="60673"/>
                  <a:pt x="409100" y="58992"/>
                  <a:pt x="401133" y="58992"/>
                </a:cubicBezTo>
                <a:lnTo>
                  <a:pt x="387375" y="58992"/>
                </a:lnTo>
                <a:close/>
                <a:moveTo>
                  <a:pt x="486102" y="110082"/>
                </a:moveTo>
                <a:cubicBezTo>
                  <a:pt x="479317" y="110082"/>
                  <a:pt x="473217" y="108153"/>
                  <a:pt x="467863" y="104233"/>
                </a:cubicBezTo>
                <a:cubicBezTo>
                  <a:pt x="462510" y="100374"/>
                  <a:pt x="458277" y="94400"/>
                  <a:pt x="455164" y="86311"/>
                </a:cubicBezTo>
                <a:cubicBezTo>
                  <a:pt x="452176" y="78159"/>
                  <a:pt x="450683" y="67705"/>
                  <a:pt x="450683" y="54947"/>
                </a:cubicBezTo>
                <a:cubicBezTo>
                  <a:pt x="450683" y="42128"/>
                  <a:pt x="452176" y="31674"/>
                  <a:pt x="455164" y="23584"/>
                </a:cubicBezTo>
                <a:cubicBezTo>
                  <a:pt x="458277" y="15557"/>
                  <a:pt x="462510" y="9645"/>
                  <a:pt x="467863" y="5849"/>
                </a:cubicBezTo>
                <a:cubicBezTo>
                  <a:pt x="473217" y="2053"/>
                  <a:pt x="479317" y="186"/>
                  <a:pt x="486102" y="186"/>
                </a:cubicBezTo>
                <a:cubicBezTo>
                  <a:pt x="492888" y="186"/>
                  <a:pt x="498863" y="2053"/>
                  <a:pt x="504154" y="5849"/>
                </a:cubicBezTo>
                <a:cubicBezTo>
                  <a:pt x="509445" y="9645"/>
                  <a:pt x="513554" y="15557"/>
                  <a:pt x="516542" y="23584"/>
                </a:cubicBezTo>
                <a:cubicBezTo>
                  <a:pt x="519530" y="31549"/>
                  <a:pt x="521024" y="41942"/>
                  <a:pt x="521024" y="54698"/>
                </a:cubicBezTo>
                <a:cubicBezTo>
                  <a:pt x="521024" y="67331"/>
                  <a:pt x="519530" y="77786"/>
                  <a:pt x="516542" y="86062"/>
                </a:cubicBezTo>
                <a:cubicBezTo>
                  <a:pt x="513554" y="94213"/>
                  <a:pt x="509445" y="100250"/>
                  <a:pt x="504154" y="104233"/>
                </a:cubicBezTo>
                <a:cubicBezTo>
                  <a:pt x="498863" y="108153"/>
                  <a:pt x="492888" y="110082"/>
                  <a:pt x="486102" y="110082"/>
                </a:cubicBezTo>
                <a:close/>
                <a:moveTo>
                  <a:pt x="485916" y="98258"/>
                </a:moveTo>
                <a:cubicBezTo>
                  <a:pt x="490397" y="98258"/>
                  <a:pt x="494195" y="96952"/>
                  <a:pt x="497307" y="94275"/>
                </a:cubicBezTo>
                <a:cubicBezTo>
                  <a:pt x="500482" y="91475"/>
                  <a:pt x="502847" y="86933"/>
                  <a:pt x="504466" y="80648"/>
                </a:cubicBezTo>
                <a:cubicBezTo>
                  <a:pt x="506147" y="74300"/>
                  <a:pt x="507018" y="65775"/>
                  <a:pt x="507018" y="55134"/>
                </a:cubicBezTo>
                <a:cubicBezTo>
                  <a:pt x="507018" y="44493"/>
                  <a:pt x="506209" y="36030"/>
                  <a:pt x="504590" y="29745"/>
                </a:cubicBezTo>
                <a:cubicBezTo>
                  <a:pt x="503034" y="23336"/>
                  <a:pt x="500606" y="18855"/>
                  <a:pt x="497432" y="16117"/>
                </a:cubicBezTo>
                <a:cubicBezTo>
                  <a:pt x="494381" y="13379"/>
                  <a:pt x="490584" y="11947"/>
                  <a:pt x="486102" y="11947"/>
                </a:cubicBezTo>
                <a:cubicBezTo>
                  <a:pt x="481620" y="11947"/>
                  <a:pt x="477761" y="13379"/>
                  <a:pt x="474586" y="16117"/>
                </a:cubicBezTo>
                <a:cubicBezTo>
                  <a:pt x="471411" y="18855"/>
                  <a:pt x="468983" y="23336"/>
                  <a:pt x="467241" y="29745"/>
                </a:cubicBezTo>
                <a:cubicBezTo>
                  <a:pt x="465560" y="36030"/>
                  <a:pt x="464751" y="44493"/>
                  <a:pt x="464751" y="55134"/>
                </a:cubicBezTo>
                <a:cubicBezTo>
                  <a:pt x="464751" y="65775"/>
                  <a:pt x="465498" y="74300"/>
                  <a:pt x="467116" y="80648"/>
                </a:cubicBezTo>
                <a:cubicBezTo>
                  <a:pt x="468797" y="86933"/>
                  <a:pt x="471225" y="91475"/>
                  <a:pt x="474461" y="94275"/>
                </a:cubicBezTo>
                <a:cubicBezTo>
                  <a:pt x="477636" y="96952"/>
                  <a:pt x="481433" y="98258"/>
                  <a:pt x="485916" y="98258"/>
                </a:cubicBezTo>
                <a:close/>
                <a:moveTo>
                  <a:pt x="568209" y="110082"/>
                </a:moveTo>
                <a:cubicBezTo>
                  <a:pt x="561424" y="110082"/>
                  <a:pt x="555385" y="108153"/>
                  <a:pt x="549969" y="104233"/>
                </a:cubicBezTo>
                <a:cubicBezTo>
                  <a:pt x="544616" y="100374"/>
                  <a:pt x="540384" y="94400"/>
                  <a:pt x="537271" y="86311"/>
                </a:cubicBezTo>
                <a:cubicBezTo>
                  <a:pt x="534283" y="78159"/>
                  <a:pt x="532789" y="67705"/>
                  <a:pt x="532789" y="54947"/>
                </a:cubicBezTo>
                <a:cubicBezTo>
                  <a:pt x="532789" y="42128"/>
                  <a:pt x="534283" y="31674"/>
                  <a:pt x="537271" y="23584"/>
                </a:cubicBezTo>
                <a:cubicBezTo>
                  <a:pt x="540384" y="15557"/>
                  <a:pt x="544616" y="9645"/>
                  <a:pt x="549969" y="5849"/>
                </a:cubicBezTo>
                <a:cubicBezTo>
                  <a:pt x="555385" y="2053"/>
                  <a:pt x="561424" y="186"/>
                  <a:pt x="568209" y="186"/>
                </a:cubicBezTo>
                <a:cubicBezTo>
                  <a:pt x="574994" y="186"/>
                  <a:pt x="581031" y="2053"/>
                  <a:pt x="586323" y="5849"/>
                </a:cubicBezTo>
                <a:cubicBezTo>
                  <a:pt x="591552" y="9645"/>
                  <a:pt x="595723" y="15557"/>
                  <a:pt x="598711" y="23584"/>
                </a:cubicBezTo>
                <a:cubicBezTo>
                  <a:pt x="601699" y="31549"/>
                  <a:pt x="603192" y="41942"/>
                  <a:pt x="603192" y="54698"/>
                </a:cubicBezTo>
                <a:cubicBezTo>
                  <a:pt x="603192" y="67331"/>
                  <a:pt x="601699" y="77786"/>
                  <a:pt x="598711" y="86062"/>
                </a:cubicBezTo>
                <a:cubicBezTo>
                  <a:pt x="595723" y="94213"/>
                  <a:pt x="591552" y="100250"/>
                  <a:pt x="586323" y="104233"/>
                </a:cubicBezTo>
                <a:cubicBezTo>
                  <a:pt x="581031" y="108153"/>
                  <a:pt x="574994" y="110082"/>
                  <a:pt x="568209" y="110082"/>
                </a:cubicBezTo>
                <a:close/>
                <a:moveTo>
                  <a:pt x="568084" y="98258"/>
                </a:moveTo>
                <a:cubicBezTo>
                  <a:pt x="572566" y="98258"/>
                  <a:pt x="576363" y="96952"/>
                  <a:pt x="579414" y="94275"/>
                </a:cubicBezTo>
                <a:cubicBezTo>
                  <a:pt x="582588" y="91475"/>
                  <a:pt x="585016" y="86933"/>
                  <a:pt x="586572" y="80648"/>
                </a:cubicBezTo>
                <a:cubicBezTo>
                  <a:pt x="588315" y="74300"/>
                  <a:pt x="589124" y="65775"/>
                  <a:pt x="589124" y="55134"/>
                </a:cubicBezTo>
                <a:cubicBezTo>
                  <a:pt x="589124" y="44493"/>
                  <a:pt x="588315" y="36030"/>
                  <a:pt x="586759" y="29745"/>
                </a:cubicBezTo>
                <a:cubicBezTo>
                  <a:pt x="585140" y="23336"/>
                  <a:pt x="582775" y="18855"/>
                  <a:pt x="579600" y="16117"/>
                </a:cubicBezTo>
                <a:cubicBezTo>
                  <a:pt x="576487" y="13379"/>
                  <a:pt x="572690" y="11947"/>
                  <a:pt x="568209" y="11947"/>
                </a:cubicBezTo>
                <a:cubicBezTo>
                  <a:pt x="563727" y="11947"/>
                  <a:pt x="559930" y="13379"/>
                  <a:pt x="556693" y="16117"/>
                </a:cubicBezTo>
                <a:cubicBezTo>
                  <a:pt x="553518" y="18855"/>
                  <a:pt x="551090" y="23336"/>
                  <a:pt x="549409" y="29745"/>
                </a:cubicBezTo>
                <a:cubicBezTo>
                  <a:pt x="547728" y="36030"/>
                  <a:pt x="546857" y="44493"/>
                  <a:pt x="546857" y="55134"/>
                </a:cubicBezTo>
                <a:cubicBezTo>
                  <a:pt x="546857" y="65775"/>
                  <a:pt x="547666" y="74300"/>
                  <a:pt x="549222" y="80648"/>
                </a:cubicBezTo>
                <a:cubicBezTo>
                  <a:pt x="550966" y="86933"/>
                  <a:pt x="553393" y="91475"/>
                  <a:pt x="556568" y="94275"/>
                </a:cubicBezTo>
                <a:cubicBezTo>
                  <a:pt x="559743" y="96952"/>
                  <a:pt x="563602" y="98258"/>
                  <a:pt x="56808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9" name="Полилиния 1088">
            <a:extLst>
              <a:ext uri="{FF2B5EF4-FFF2-40B4-BE49-F238E27FC236}">
                <a16:creationId xmlns:a16="http://schemas.microsoft.com/office/drawing/2014/main" id="{E3672162-8A0D-F2A9-ACBD-99E59235FEFC}"/>
              </a:ext>
            </a:extLst>
          </p:cNvPr>
          <p:cNvSpPr/>
          <p:nvPr userDrawn="1"/>
        </p:nvSpPr>
        <p:spPr>
          <a:xfrm>
            <a:off x="21534071" y="6692525"/>
            <a:ext cx="1398954" cy="726227"/>
          </a:xfrm>
          <a:custGeom>
            <a:avLst/>
            <a:gdLst>
              <a:gd name="connsiteX0" fmla="*/ 1275 w 1198727"/>
              <a:gd name="connsiteY0" fmla="*/ 1422 h 622284"/>
              <a:gd name="connsiteX1" fmla="*/ 1200003 w 1198727"/>
              <a:gd name="connsiteY1" fmla="*/ 1422 h 622284"/>
              <a:gd name="connsiteX2" fmla="*/ 1200003 w 1198727"/>
              <a:gd name="connsiteY2" fmla="*/ 623706 h 622284"/>
              <a:gd name="connsiteX3" fmla="*/ 1275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422"/>
                </a:moveTo>
                <a:lnTo>
                  <a:pt x="1200003" y="1422"/>
                </a:lnTo>
                <a:lnTo>
                  <a:pt x="1200003" y="623706"/>
                </a:lnTo>
                <a:lnTo>
                  <a:pt x="1275" y="623706"/>
                </a:lnTo>
                <a:close/>
              </a:path>
            </a:pathLst>
          </a:custGeom>
          <a:solidFill>
            <a:srgbClr val="FFD21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0" name="Полилиния 1089">
            <a:extLst>
              <a:ext uri="{FF2B5EF4-FFF2-40B4-BE49-F238E27FC236}">
                <a16:creationId xmlns:a16="http://schemas.microsoft.com/office/drawing/2014/main" id="{DD746B6A-BDDB-6D05-6421-1D9FDA3FD702}"/>
              </a:ext>
            </a:extLst>
          </p:cNvPr>
          <p:cNvSpPr/>
          <p:nvPr userDrawn="1"/>
        </p:nvSpPr>
        <p:spPr>
          <a:xfrm>
            <a:off x="21657280" y="6994273"/>
            <a:ext cx="717167" cy="126725"/>
          </a:xfrm>
          <a:custGeom>
            <a:avLst/>
            <a:gdLst>
              <a:gd name="connsiteX0" fmla="*/ 22099 w 614521"/>
              <a:gd name="connsiteY0" fmla="*/ 108588 h 108588"/>
              <a:gd name="connsiteX1" fmla="*/ 10147 w 614521"/>
              <a:gd name="connsiteY1" fmla="*/ 108588 h 108588"/>
              <a:gd name="connsiteX2" fmla="*/ 16434 w 614521"/>
              <a:gd name="connsiteY2" fmla="*/ 77661 h 108588"/>
              <a:gd name="connsiteX3" fmla="*/ 0 w 614521"/>
              <a:gd name="connsiteY3" fmla="*/ 77661 h 108588"/>
              <a:gd name="connsiteX4" fmla="*/ 0 w 614521"/>
              <a:gd name="connsiteY4" fmla="*/ 67206 h 108588"/>
              <a:gd name="connsiteX5" fmla="*/ 18675 w 614521"/>
              <a:gd name="connsiteY5" fmla="*/ 67206 h 108588"/>
              <a:gd name="connsiteX6" fmla="*/ 24215 w 614521"/>
              <a:gd name="connsiteY6" fmla="*/ 40012 h 108588"/>
              <a:gd name="connsiteX7" fmla="*/ 4046 w 614521"/>
              <a:gd name="connsiteY7" fmla="*/ 40012 h 108588"/>
              <a:gd name="connsiteX8" fmla="*/ 4046 w 614521"/>
              <a:gd name="connsiteY8" fmla="*/ 29559 h 108588"/>
              <a:gd name="connsiteX9" fmla="*/ 26269 w 614521"/>
              <a:gd name="connsiteY9" fmla="*/ 29559 h 108588"/>
              <a:gd name="connsiteX10" fmla="*/ 32121 w 614521"/>
              <a:gd name="connsiteY10" fmla="*/ 1493 h 108588"/>
              <a:gd name="connsiteX11" fmla="*/ 44073 w 614521"/>
              <a:gd name="connsiteY11" fmla="*/ 1493 h 108588"/>
              <a:gd name="connsiteX12" fmla="*/ 38221 w 614521"/>
              <a:gd name="connsiteY12" fmla="*/ 29559 h 108588"/>
              <a:gd name="connsiteX13" fmla="*/ 60630 w 614521"/>
              <a:gd name="connsiteY13" fmla="*/ 29559 h 108588"/>
              <a:gd name="connsiteX14" fmla="*/ 66482 w 614521"/>
              <a:gd name="connsiteY14" fmla="*/ 1493 h 108588"/>
              <a:gd name="connsiteX15" fmla="*/ 78434 w 614521"/>
              <a:gd name="connsiteY15" fmla="*/ 1493 h 108588"/>
              <a:gd name="connsiteX16" fmla="*/ 72582 w 614521"/>
              <a:gd name="connsiteY16" fmla="*/ 29559 h 108588"/>
              <a:gd name="connsiteX17" fmla="*/ 89327 w 614521"/>
              <a:gd name="connsiteY17" fmla="*/ 29559 h 108588"/>
              <a:gd name="connsiteX18" fmla="*/ 89327 w 614521"/>
              <a:gd name="connsiteY18" fmla="*/ 40012 h 108588"/>
              <a:gd name="connsiteX19" fmla="*/ 70529 w 614521"/>
              <a:gd name="connsiteY19" fmla="*/ 40012 h 108588"/>
              <a:gd name="connsiteX20" fmla="*/ 64988 w 614521"/>
              <a:gd name="connsiteY20" fmla="*/ 67206 h 108588"/>
              <a:gd name="connsiteX21" fmla="*/ 85282 w 614521"/>
              <a:gd name="connsiteY21" fmla="*/ 67206 h 108588"/>
              <a:gd name="connsiteX22" fmla="*/ 85282 w 614521"/>
              <a:gd name="connsiteY22" fmla="*/ 77661 h 108588"/>
              <a:gd name="connsiteX23" fmla="*/ 62747 w 614521"/>
              <a:gd name="connsiteY23" fmla="*/ 77661 h 108588"/>
              <a:gd name="connsiteX24" fmla="*/ 56460 w 614521"/>
              <a:gd name="connsiteY24" fmla="*/ 108588 h 108588"/>
              <a:gd name="connsiteX25" fmla="*/ 44508 w 614521"/>
              <a:gd name="connsiteY25" fmla="*/ 108588 h 108588"/>
              <a:gd name="connsiteX26" fmla="*/ 50795 w 614521"/>
              <a:gd name="connsiteY26" fmla="*/ 77661 h 108588"/>
              <a:gd name="connsiteX27" fmla="*/ 28386 w 614521"/>
              <a:gd name="connsiteY27" fmla="*/ 77661 h 108588"/>
              <a:gd name="connsiteX28" fmla="*/ 22099 w 614521"/>
              <a:gd name="connsiteY28" fmla="*/ 108588 h 108588"/>
              <a:gd name="connsiteX29" fmla="*/ 30627 w 614521"/>
              <a:gd name="connsiteY29" fmla="*/ 67206 h 108588"/>
              <a:gd name="connsiteX30" fmla="*/ 53036 w 614521"/>
              <a:gd name="connsiteY30" fmla="*/ 67206 h 108588"/>
              <a:gd name="connsiteX31" fmla="*/ 58576 w 614521"/>
              <a:gd name="connsiteY31" fmla="*/ 40012 h 108588"/>
              <a:gd name="connsiteX32" fmla="*/ 36167 w 614521"/>
              <a:gd name="connsiteY32" fmla="*/ 40012 h 108588"/>
              <a:gd name="connsiteX33" fmla="*/ 30627 w 614521"/>
              <a:gd name="connsiteY33" fmla="*/ 67206 h 108588"/>
              <a:gd name="connsiteX34" fmla="*/ 107816 w 614521"/>
              <a:gd name="connsiteY34" fmla="*/ 1493 h 108588"/>
              <a:gd name="connsiteX35" fmla="*/ 173239 w 614521"/>
              <a:gd name="connsiteY35" fmla="*/ 1493 h 108588"/>
              <a:gd name="connsiteX36" fmla="*/ 173239 w 614521"/>
              <a:gd name="connsiteY36" fmla="*/ 14374 h 108588"/>
              <a:gd name="connsiteX37" fmla="*/ 121884 w 614521"/>
              <a:gd name="connsiteY37" fmla="*/ 14374 h 108588"/>
              <a:gd name="connsiteX38" fmla="*/ 121884 w 614521"/>
              <a:gd name="connsiteY38" fmla="*/ 49907 h 108588"/>
              <a:gd name="connsiteX39" fmla="*/ 165520 w 614521"/>
              <a:gd name="connsiteY39" fmla="*/ 49907 h 108588"/>
              <a:gd name="connsiteX40" fmla="*/ 165520 w 614521"/>
              <a:gd name="connsiteY40" fmla="*/ 62601 h 108588"/>
              <a:gd name="connsiteX41" fmla="*/ 121884 w 614521"/>
              <a:gd name="connsiteY41" fmla="*/ 62601 h 108588"/>
              <a:gd name="connsiteX42" fmla="*/ 121884 w 614521"/>
              <a:gd name="connsiteY42" fmla="*/ 108588 h 108588"/>
              <a:gd name="connsiteX43" fmla="*/ 107816 w 614521"/>
              <a:gd name="connsiteY43" fmla="*/ 108588 h 108588"/>
              <a:gd name="connsiteX44" fmla="*/ 107816 w 614521"/>
              <a:gd name="connsiteY44" fmla="*/ 1493 h 108588"/>
              <a:gd name="connsiteX45" fmla="*/ 192723 w 614521"/>
              <a:gd name="connsiteY45" fmla="*/ 1493 h 108588"/>
              <a:gd name="connsiteX46" fmla="*/ 258146 w 614521"/>
              <a:gd name="connsiteY46" fmla="*/ 1493 h 108588"/>
              <a:gd name="connsiteX47" fmla="*/ 258146 w 614521"/>
              <a:gd name="connsiteY47" fmla="*/ 14374 h 108588"/>
              <a:gd name="connsiteX48" fmla="*/ 206791 w 614521"/>
              <a:gd name="connsiteY48" fmla="*/ 14374 h 108588"/>
              <a:gd name="connsiteX49" fmla="*/ 206791 w 614521"/>
              <a:gd name="connsiteY49" fmla="*/ 49907 h 108588"/>
              <a:gd name="connsiteX50" fmla="*/ 250427 w 614521"/>
              <a:gd name="connsiteY50" fmla="*/ 49907 h 108588"/>
              <a:gd name="connsiteX51" fmla="*/ 250427 w 614521"/>
              <a:gd name="connsiteY51" fmla="*/ 62601 h 108588"/>
              <a:gd name="connsiteX52" fmla="*/ 206791 w 614521"/>
              <a:gd name="connsiteY52" fmla="*/ 62601 h 108588"/>
              <a:gd name="connsiteX53" fmla="*/ 206791 w 614521"/>
              <a:gd name="connsiteY53" fmla="*/ 108588 h 108588"/>
              <a:gd name="connsiteX54" fmla="*/ 192723 w 614521"/>
              <a:gd name="connsiteY54" fmla="*/ 108588 h 108588"/>
              <a:gd name="connsiteX55" fmla="*/ 192723 w 614521"/>
              <a:gd name="connsiteY55" fmla="*/ 1493 h 108588"/>
              <a:gd name="connsiteX56" fmla="*/ 277630 w 614521"/>
              <a:gd name="connsiteY56" fmla="*/ 1493 h 108588"/>
              <a:gd name="connsiteX57" fmla="*/ 313673 w 614521"/>
              <a:gd name="connsiteY57" fmla="*/ 1493 h 108588"/>
              <a:gd name="connsiteX58" fmla="*/ 333654 w 614521"/>
              <a:gd name="connsiteY58" fmla="*/ 4044 h 108588"/>
              <a:gd name="connsiteX59" fmla="*/ 349840 w 614521"/>
              <a:gd name="connsiteY59" fmla="*/ 12383 h 108588"/>
              <a:gd name="connsiteX60" fmla="*/ 360546 w 614521"/>
              <a:gd name="connsiteY60" fmla="*/ 27629 h 108588"/>
              <a:gd name="connsiteX61" fmla="*/ 364468 w 614521"/>
              <a:gd name="connsiteY61" fmla="*/ 51401 h 108588"/>
              <a:gd name="connsiteX62" fmla="*/ 357558 w 614521"/>
              <a:gd name="connsiteY62" fmla="*/ 83075 h 108588"/>
              <a:gd name="connsiteX63" fmla="*/ 339070 w 614521"/>
              <a:gd name="connsiteY63" fmla="*/ 102179 h 108588"/>
              <a:gd name="connsiteX64" fmla="*/ 311992 w 614521"/>
              <a:gd name="connsiteY64" fmla="*/ 108588 h 108588"/>
              <a:gd name="connsiteX65" fmla="*/ 277630 w 614521"/>
              <a:gd name="connsiteY65" fmla="*/ 108588 h 108588"/>
              <a:gd name="connsiteX66" fmla="*/ 277630 w 614521"/>
              <a:gd name="connsiteY66" fmla="*/ 1493 h 108588"/>
              <a:gd name="connsiteX67" fmla="*/ 311992 w 614521"/>
              <a:gd name="connsiteY67" fmla="*/ 95893 h 108588"/>
              <a:gd name="connsiteX68" fmla="*/ 331413 w 614521"/>
              <a:gd name="connsiteY68" fmla="*/ 91413 h 108588"/>
              <a:gd name="connsiteX69" fmla="*/ 344424 w 614521"/>
              <a:gd name="connsiteY69" fmla="*/ 77225 h 108588"/>
              <a:gd name="connsiteX70" fmla="*/ 349216 w 614521"/>
              <a:gd name="connsiteY70" fmla="*/ 52458 h 108588"/>
              <a:gd name="connsiteX71" fmla="*/ 344610 w 614521"/>
              <a:gd name="connsiteY71" fmla="*/ 29122 h 108588"/>
              <a:gd name="connsiteX72" fmla="*/ 331912 w 614521"/>
              <a:gd name="connsiteY72" fmla="*/ 17610 h 108588"/>
              <a:gd name="connsiteX73" fmla="*/ 313673 w 614521"/>
              <a:gd name="connsiteY73" fmla="*/ 14374 h 108588"/>
              <a:gd name="connsiteX74" fmla="*/ 291698 w 614521"/>
              <a:gd name="connsiteY74" fmla="*/ 14374 h 108588"/>
              <a:gd name="connsiteX75" fmla="*/ 291698 w 614521"/>
              <a:gd name="connsiteY75" fmla="*/ 95893 h 108588"/>
              <a:gd name="connsiteX76" fmla="*/ 311992 w 614521"/>
              <a:gd name="connsiteY76" fmla="*/ 95893 h 108588"/>
              <a:gd name="connsiteX77" fmla="*/ 446201 w 614521"/>
              <a:gd name="connsiteY77" fmla="*/ 108588 h 108588"/>
              <a:gd name="connsiteX78" fmla="*/ 377914 w 614521"/>
              <a:gd name="connsiteY78" fmla="*/ 108588 h 108588"/>
              <a:gd name="connsiteX79" fmla="*/ 377914 w 614521"/>
              <a:gd name="connsiteY79" fmla="*/ 94400 h 108588"/>
              <a:gd name="connsiteX80" fmla="*/ 404058 w 614521"/>
              <a:gd name="connsiteY80" fmla="*/ 72433 h 108588"/>
              <a:gd name="connsiteX81" fmla="*/ 420056 w 614521"/>
              <a:gd name="connsiteY81" fmla="*/ 56628 h 108588"/>
              <a:gd name="connsiteX82" fmla="*/ 428086 w 614521"/>
              <a:gd name="connsiteY82" fmla="*/ 43933 h 108588"/>
              <a:gd name="connsiteX83" fmla="*/ 430514 w 614521"/>
              <a:gd name="connsiteY83" fmla="*/ 32109 h 108588"/>
              <a:gd name="connsiteX84" fmla="*/ 424974 w 614521"/>
              <a:gd name="connsiteY84" fmla="*/ 17610 h 108588"/>
              <a:gd name="connsiteX85" fmla="*/ 409723 w 614521"/>
              <a:gd name="connsiteY85" fmla="*/ 12383 h 108588"/>
              <a:gd name="connsiteX86" fmla="*/ 380715 w 614521"/>
              <a:gd name="connsiteY86" fmla="*/ 27194 h 108588"/>
              <a:gd name="connsiteX87" fmla="*/ 380715 w 614521"/>
              <a:gd name="connsiteY87" fmla="*/ 12134 h 108588"/>
              <a:gd name="connsiteX88" fmla="*/ 410158 w 614521"/>
              <a:gd name="connsiteY88" fmla="*/ 0 h 108588"/>
              <a:gd name="connsiteX89" fmla="*/ 435556 w 614521"/>
              <a:gd name="connsiteY89" fmla="*/ 8401 h 108588"/>
              <a:gd name="connsiteX90" fmla="*/ 444955 w 614521"/>
              <a:gd name="connsiteY90" fmla="*/ 30803 h 108588"/>
              <a:gd name="connsiteX91" fmla="*/ 442590 w 614521"/>
              <a:gd name="connsiteY91" fmla="*/ 44804 h 108588"/>
              <a:gd name="connsiteX92" fmla="*/ 434498 w 614521"/>
              <a:gd name="connsiteY92" fmla="*/ 58681 h 108588"/>
              <a:gd name="connsiteX93" fmla="*/ 418811 w 614521"/>
              <a:gd name="connsiteY93" fmla="*/ 74860 h 108588"/>
              <a:gd name="connsiteX94" fmla="*/ 393414 w 614521"/>
              <a:gd name="connsiteY94" fmla="*/ 95769 h 108588"/>
              <a:gd name="connsiteX95" fmla="*/ 446201 w 614521"/>
              <a:gd name="connsiteY95" fmla="*/ 95769 h 108588"/>
              <a:gd name="connsiteX96" fmla="*/ 446201 w 614521"/>
              <a:gd name="connsiteY96" fmla="*/ 108588 h 108588"/>
              <a:gd name="connsiteX97" fmla="*/ 508325 w 614521"/>
              <a:gd name="connsiteY97" fmla="*/ 108588 h 108588"/>
              <a:gd name="connsiteX98" fmla="*/ 494692 w 614521"/>
              <a:gd name="connsiteY98" fmla="*/ 108588 h 108588"/>
              <a:gd name="connsiteX99" fmla="*/ 494692 w 614521"/>
              <a:gd name="connsiteY99" fmla="*/ 18357 h 108588"/>
              <a:gd name="connsiteX100" fmla="*/ 465124 w 614521"/>
              <a:gd name="connsiteY100" fmla="*/ 41071 h 108588"/>
              <a:gd name="connsiteX101" fmla="*/ 465124 w 614521"/>
              <a:gd name="connsiteY101" fmla="*/ 26011 h 108588"/>
              <a:gd name="connsiteX102" fmla="*/ 496934 w 614521"/>
              <a:gd name="connsiteY102" fmla="*/ 1493 h 108588"/>
              <a:gd name="connsiteX103" fmla="*/ 508325 w 614521"/>
              <a:gd name="connsiteY103" fmla="*/ 1493 h 108588"/>
              <a:gd name="connsiteX104" fmla="*/ 508325 w 614521"/>
              <a:gd name="connsiteY104" fmla="*/ 108588 h 108588"/>
              <a:gd name="connsiteX105" fmla="*/ 547418 w 614521"/>
              <a:gd name="connsiteY105" fmla="*/ 1493 h 108588"/>
              <a:gd name="connsiteX106" fmla="*/ 613775 w 614521"/>
              <a:gd name="connsiteY106" fmla="*/ 1493 h 108588"/>
              <a:gd name="connsiteX107" fmla="*/ 613775 w 614521"/>
              <a:gd name="connsiteY107" fmla="*/ 14374 h 108588"/>
              <a:gd name="connsiteX108" fmla="*/ 561486 w 614521"/>
              <a:gd name="connsiteY108" fmla="*/ 14374 h 108588"/>
              <a:gd name="connsiteX109" fmla="*/ 561486 w 614521"/>
              <a:gd name="connsiteY109" fmla="*/ 46734 h 108588"/>
              <a:gd name="connsiteX110" fmla="*/ 605807 w 614521"/>
              <a:gd name="connsiteY110" fmla="*/ 46734 h 108588"/>
              <a:gd name="connsiteX111" fmla="*/ 605807 w 614521"/>
              <a:gd name="connsiteY111" fmla="*/ 59428 h 108588"/>
              <a:gd name="connsiteX112" fmla="*/ 561486 w 614521"/>
              <a:gd name="connsiteY112" fmla="*/ 59428 h 108588"/>
              <a:gd name="connsiteX113" fmla="*/ 561486 w 614521"/>
              <a:gd name="connsiteY113" fmla="*/ 95893 h 108588"/>
              <a:gd name="connsiteX114" fmla="*/ 614521 w 614521"/>
              <a:gd name="connsiteY114" fmla="*/ 95893 h 108588"/>
              <a:gd name="connsiteX115" fmla="*/ 614521 w 614521"/>
              <a:gd name="connsiteY115" fmla="*/ 108588 h 108588"/>
              <a:gd name="connsiteX116" fmla="*/ 547418 w 614521"/>
              <a:gd name="connsiteY116" fmla="*/ 108588 h 108588"/>
              <a:gd name="connsiteX117" fmla="*/ 547418 w 614521"/>
              <a:gd name="connsiteY117" fmla="*/ 1493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14521" h="108588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13673" y="1493"/>
                </a:lnTo>
                <a:cubicBezTo>
                  <a:pt x="320831" y="1493"/>
                  <a:pt x="327492" y="2365"/>
                  <a:pt x="333654" y="4044"/>
                </a:cubicBezTo>
                <a:cubicBezTo>
                  <a:pt x="339879" y="5725"/>
                  <a:pt x="345233" y="8525"/>
                  <a:pt x="349840" y="12383"/>
                </a:cubicBezTo>
                <a:cubicBezTo>
                  <a:pt x="354384" y="16179"/>
                  <a:pt x="357994" y="21282"/>
                  <a:pt x="360546" y="27629"/>
                </a:cubicBezTo>
                <a:cubicBezTo>
                  <a:pt x="363160" y="34039"/>
                  <a:pt x="364468" y="41942"/>
                  <a:pt x="364468" y="51401"/>
                </a:cubicBezTo>
                <a:cubicBezTo>
                  <a:pt x="364468" y="63908"/>
                  <a:pt x="362165" y="74487"/>
                  <a:pt x="357558" y="83075"/>
                </a:cubicBezTo>
                <a:cubicBezTo>
                  <a:pt x="353076" y="91538"/>
                  <a:pt x="346913" y="97885"/>
                  <a:pt x="339070" y="102179"/>
                </a:cubicBezTo>
                <a:cubicBezTo>
                  <a:pt x="331165" y="106473"/>
                  <a:pt x="322201" y="108588"/>
                  <a:pt x="311992" y="108588"/>
                </a:cubicBez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11992" y="95893"/>
                </a:moveTo>
                <a:cubicBezTo>
                  <a:pt x="319400" y="95893"/>
                  <a:pt x="325873" y="94400"/>
                  <a:pt x="331413" y="91413"/>
                </a:cubicBezTo>
                <a:cubicBezTo>
                  <a:pt x="337016" y="88302"/>
                  <a:pt x="341373" y="83572"/>
                  <a:pt x="344424" y="77225"/>
                </a:cubicBezTo>
                <a:cubicBezTo>
                  <a:pt x="347598" y="70754"/>
                  <a:pt x="349216" y="62477"/>
                  <a:pt x="349216" y="52458"/>
                </a:cubicBezTo>
                <a:cubicBezTo>
                  <a:pt x="349216" y="42377"/>
                  <a:pt x="347660" y="34599"/>
                  <a:pt x="344610" y="29122"/>
                </a:cubicBezTo>
                <a:cubicBezTo>
                  <a:pt x="341498" y="23646"/>
                  <a:pt x="337265" y="19851"/>
                  <a:pt x="331912" y="17610"/>
                </a:cubicBezTo>
                <a:cubicBezTo>
                  <a:pt x="326620" y="15433"/>
                  <a:pt x="320520" y="14374"/>
                  <a:pt x="313673" y="14374"/>
                </a:cubicBezTo>
                <a:lnTo>
                  <a:pt x="291698" y="14374"/>
                </a:lnTo>
                <a:lnTo>
                  <a:pt x="291698" y="95893"/>
                </a:lnTo>
                <a:lnTo>
                  <a:pt x="311992" y="95893"/>
                </a:lnTo>
                <a:close/>
                <a:moveTo>
                  <a:pt x="446201" y="108588"/>
                </a:moveTo>
                <a:lnTo>
                  <a:pt x="377914" y="108588"/>
                </a:lnTo>
                <a:lnTo>
                  <a:pt x="377914" y="94400"/>
                </a:lnTo>
                <a:cubicBezTo>
                  <a:pt x="388558" y="85812"/>
                  <a:pt x="397273" y="78532"/>
                  <a:pt x="404058" y="72433"/>
                </a:cubicBezTo>
                <a:cubicBezTo>
                  <a:pt x="410905" y="66397"/>
                  <a:pt x="416259" y="61108"/>
                  <a:pt x="420056" y="56628"/>
                </a:cubicBezTo>
                <a:cubicBezTo>
                  <a:pt x="423915" y="52023"/>
                  <a:pt x="426592" y="47791"/>
                  <a:pt x="428086" y="43933"/>
                </a:cubicBezTo>
                <a:cubicBezTo>
                  <a:pt x="429705" y="40012"/>
                  <a:pt x="430514" y="36092"/>
                  <a:pt x="430514" y="32109"/>
                </a:cubicBezTo>
                <a:cubicBezTo>
                  <a:pt x="430514" y="25949"/>
                  <a:pt x="428646" y="21095"/>
                  <a:pt x="424974" y="17610"/>
                </a:cubicBezTo>
                <a:cubicBezTo>
                  <a:pt x="421301" y="14125"/>
                  <a:pt x="416196" y="12383"/>
                  <a:pt x="409723" y="12383"/>
                </a:cubicBezTo>
                <a:cubicBezTo>
                  <a:pt x="399389" y="12383"/>
                  <a:pt x="389678" y="17361"/>
                  <a:pt x="380715" y="27194"/>
                </a:cubicBezTo>
                <a:lnTo>
                  <a:pt x="380715" y="12134"/>
                </a:lnTo>
                <a:cubicBezTo>
                  <a:pt x="388994" y="4044"/>
                  <a:pt x="398829" y="0"/>
                  <a:pt x="410158" y="0"/>
                </a:cubicBezTo>
                <a:cubicBezTo>
                  <a:pt x="420927" y="0"/>
                  <a:pt x="429393" y="2800"/>
                  <a:pt x="435556" y="8401"/>
                </a:cubicBezTo>
                <a:cubicBezTo>
                  <a:pt x="441843" y="13877"/>
                  <a:pt x="444955" y="21344"/>
                  <a:pt x="444955" y="30803"/>
                </a:cubicBezTo>
                <a:cubicBezTo>
                  <a:pt x="444955" y="35657"/>
                  <a:pt x="444208" y="40324"/>
                  <a:pt x="442590" y="44804"/>
                </a:cubicBezTo>
                <a:cubicBezTo>
                  <a:pt x="441096" y="49222"/>
                  <a:pt x="438420" y="53827"/>
                  <a:pt x="434498" y="58681"/>
                </a:cubicBezTo>
                <a:cubicBezTo>
                  <a:pt x="430763" y="63473"/>
                  <a:pt x="425534" y="68887"/>
                  <a:pt x="418811" y="74860"/>
                </a:cubicBezTo>
                <a:cubicBezTo>
                  <a:pt x="412151" y="80835"/>
                  <a:pt x="403684" y="87804"/>
                  <a:pt x="393414" y="95769"/>
                </a:cubicBezTo>
                <a:lnTo>
                  <a:pt x="446201" y="95769"/>
                </a:lnTo>
                <a:lnTo>
                  <a:pt x="446201" y="108588"/>
                </a:lnTo>
                <a:close/>
                <a:moveTo>
                  <a:pt x="508325" y="108588"/>
                </a:moveTo>
                <a:lnTo>
                  <a:pt x="494692" y="108588"/>
                </a:lnTo>
                <a:lnTo>
                  <a:pt x="494692" y="18357"/>
                </a:lnTo>
                <a:lnTo>
                  <a:pt x="465124" y="41071"/>
                </a:lnTo>
                <a:lnTo>
                  <a:pt x="465124" y="26011"/>
                </a:lnTo>
                <a:lnTo>
                  <a:pt x="496934" y="1493"/>
                </a:lnTo>
                <a:lnTo>
                  <a:pt x="508325" y="1493"/>
                </a:lnTo>
                <a:lnTo>
                  <a:pt x="508325" y="108588"/>
                </a:lnTo>
                <a:close/>
                <a:moveTo>
                  <a:pt x="547418" y="1493"/>
                </a:moveTo>
                <a:lnTo>
                  <a:pt x="613775" y="1493"/>
                </a:lnTo>
                <a:lnTo>
                  <a:pt x="613775" y="14374"/>
                </a:lnTo>
                <a:lnTo>
                  <a:pt x="561486" y="14374"/>
                </a:lnTo>
                <a:lnTo>
                  <a:pt x="561486" y="46734"/>
                </a:lnTo>
                <a:lnTo>
                  <a:pt x="605807" y="46734"/>
                </a:lnTo>
                <a:lnTo>
                  <a:pt x="605807" y="59428"/>
                </a:lnTo>
                <a:lnTo>
                  <a:pt x="561486" y="59428"/>
                </a:lnTo>
                <a:lnTo>
                  <a:pt x="561486" y="95893"/>
                </a:lnTo>
                <a:lnTo>
                  <a:pt x="614521" y="95893"/>
                </a:lnTo>
                <a:lnTo>
                  <a:pt x="614521" y="108588"/>
                </a:lnTo>
                <a:lnTo>
                  <a:pt x="547418" y="108588"/>
                </a:lnTo>
                <a:lnTo>
                  <a:pt x="547418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1" name="Полилиния 1090">
            <a:extLst>
              <a:ext uri="{FF2B5EF4-FFF2-40B4-BE49-F238E27FC236}">
                <a16:creationId xmlns:a16="http://schemas.microsoft.com/office/drawing/2014/main" id="{7D0D3B08-1A51-BDE7-B083-B95C6D36C80B}"/>
              </a:ext>
            </a:extLst>
          </p:cNvPr>
          <p:cNvSpPr/>
          <p:nvPr userDrawn="1"/>
        </p:nvSpPr>
        <p:spPr>
          <a:xfrm>
            <a:off x="21534071" y="7418752"/>
            <a:ext cx="1398954" cy="726227"/>
          </a:xfrm>
          <a:custGeom>
            <a:avLst/>
            <a:gdLst>
              <a:gd name="connsiteX0" fmla="*/ 1275 w 1198727"/>
              <a:gd name="connsiteY0" fmla="*/ 1522 h 622284"/>
              <a:gd name="connsiteX1" fmla="*/ 1200003 w 1198727"/>
              <a:gd name="connsiteY1" fmla="*/ 1522 h 622284"/>
              <a:gd name="connsiteX2" fmla="*/ 1200003 w 1198727"/>
              <a:gd name="connsiteY2" fmla="*/ 623806 h 622284"/>
              <a:gd name="connsiteX3" fmla="*/ 1275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522"/>
                </a:moveTo>
                <a:lnTo>
                  <a:pt x="1200003" y="1522"/>
                </a:lnTo>
                <a:lnTo>
                  <a:pt x="1200003" y="623806"/>
                </a:lnTo>
                <a:lnTo>
                  <a:pt x="1275" y="623806"/>
                </a:lnTo>
                <a:close/>
              </a:path>
            </a:pathLst>
          </a:custGeom>
          <a:solidFill>
            <a:srgbClr val="FFDC5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2" name="Полилиния 1091">
            <a:extLst>
              <a:ext uri="{FF2B5EF4-FFF2-40B4-BE49-F238E27FC236}">
                <a16:creationId xmlns:a16="http://schemas.microsoft.com/office/drawing/2014/main" id="{04D939BF-E01B-A53B-D744-AFAE15F3897E}"/>
              </a:ext>
            </a:extLst>
          </p:cNvPr>
          <p:cNvSpPr/>
          <p:nvPr userDrawn="1"/>
        </p:nvSpPr>
        <p:spPr>
          <a:xfrm>
            <a:off x="21657280" y="7720717"/>
            <a:ext cx="736346" cy="128252"/>
          </a:xfrm>
          <a:custGeom>
            <a:avLst/>
            <a:gdLst>
              <a:gd name="connsiteX0" fmla="*/ 22099 w 630955"/>
              <a:gd name="connsiteY0" fmla="*/ 108402 h 109895"/>
              <a:gd name="connsiteX1" fmla="*/ 10147 w 630955"/>
              <a:gd name="connsiteY1" fmla="*/ 108402 h 109895"/>
              <a:gd name="connsiteX2" fmla="*/ 16434 w 630955"/>
              <a:gd name="connsiteY2" fmla="*/ 77475 h 109895"/>
              <a:gd name="connsiteX3" fmla="*/ 0 w 630955"/>
              <a:gd name="connsiteY3" fmla="*/ 77475 h 109895"/>
              <a:gd name="connsiteX4" fmla="*/ 0 w 630955"/>
              <a:gd name="connsiteY4" fmla="*/ 67020 h 109895"/>
              <a:gd name="connsiteX5" fmla="*/ 18675 w 630955"/>
              <a:gd name="connsiteY5" fmla="*/ 67020 h 109895"/>
              <a:gd name="connsiteX6" fmla="*/ 24215 w 630955"/>
              <a:gd name="connsiteY6" fmla="*/ 39826 h 109895"/>
              <a:gd name="connsiteX7" fmla="*/ 4046 w 630955"/>
              <a:gd name="connsiteY7" fmla="*/ 39826 h 109895"/>
              <a:gd name="connsiteX8" fmla="*/ 4046 w 630955"/>
              <a:gd name="connsiteY8" fmla="*/ 29372 h 109895"/>
              <a:gd name="connsiteX9" fmla="*/ 26269 w 630955"/>
              <a:gd name="connsiteY9" fmla="*/ 29372 h 109895"/>
              <a:gd name="connsiteX10" fmla="*/ 32121 w 630955"/>
              <a:gd name="connsiteY10" fmla="*/ 1307 h 109895"/>
              <a:gd name="connsiteX11" fmla="*/ 44073 w 630955"/>
              <a:gd name="connsiteY11" fmla="*/ 1307 h 109895"/>
              <a:gd name="connsiteX12" fmla="*/ 38221 w 630955"/>
              <a:gd name="connsiteY12" fmla="*/ 29372 h 109895"/>
              <a:gd name="connsiteX13" fmla="*/ 60630 w 630955"/>
              <a:gd name="connsiteY13" fmla="*/ 29372 h 109895"/>
              <a:gd name="connsiteX14" fmla="*/ 66482 w 630955"/>
              <a:gd name="connsiteY14" fmla="*/ 1307 h 109895"/>
              <a:gd name="connsiteX15" fmla="*/ 78434 w 630955"/>
              <a:gd name="connsiteY15" fmla="*/ 1307 h 109895"/>
              <a:gd name="connsiteX16" fmla="*/ 72582 w 630955"/>
              <a:gd name="connsiteY16" fmla="*/ 29372 h 109895"/>
              <a:gd name="connsiteX17" fmla="*/ 89327 w 630955"/>
              <a:gd name="connsiteY17" fmla="*/ 29372 h 109895"/>
              <a:gd name="connsiteX18" fmla="*/ 89327 w 630955"/>
              <a:gd name="connsiteY18" fmla="*/ 39826 h 109895"/>
              <a:gd name="connsiteX19" fmla="*/ 70529 w 630955"/>
              <a:gd name="connsiteY19" fmla="*/ 39826 h 109895"/>
              <a:gd name="connsiteX20" fmla="*/ 64988 w 630955"/>
              <a:gd name="connsiteY20" fmla="*/ 67020 h 109895"/>
              <a:gd name="connsiteX21" fmla="*/ 85282 w 630955"/>
              <a:gd name="connsiteY21" fmla="*/ 67020 h 109895"/>
              <a:gd name="connsiteX22" fmla="*/ 85282 w 630955"/>
              <a:gd name="connsiteY22" fmla="*/ 77475 h 109895"/>
              <a:gd name="connsiteX23" fmla="*/ 62747 w 630955"/>
              <a:gd name="connsiteY23" fmla="*/ 77475 h 109895"/>
              <a:gd name="connsiteX24" fmla="*/ 56460 w 630955"/>
              <a:gd name="connsiteY24" fmla="*/ 108402 h 109895"/>
              <a:gd name="connsiteX25" fmla="*/ 44508 w 630955"/>
              <a:gd name="connsiteY25" fmla="*/ 108402 h 109895"/>
              <a:gd name="connsiteX26" fmla="*/ 50795 w 630955"/>
              <a:gd name="connsiteY26" fmla="*/ 77475 h 109895"/>
              <a:gd name="connsiteX27" fmla="*/ 28386 w 630955"/>
              <a:gd name="connsiteY27" fmla="*/ 77475 h 109895"/>
              <a:gd name="connsiteX28" fmla="*/ 22099 w 630955"/>
              <a:gd name="connsiteY28" fmla="*/ 108402 h 109895"/>
              <a:gd name="connsiteX29" fmla="*/ 30627 w 630955"/>
              <a:gd name="connsiteY29" fmla="*/ 67020 h 109895"/>
              <a:gd name="connsiteX30" fmla="*/ 53036 w 630955"/>
              <a:gd name="connsiteY30" fmla="*/ 67020 h 109895"/>
              <a:gd name="connsiteX31" fmla="*/ 58576 w 630955"/>
              <a:gd name="connsiteY31" fmla="*/ 39826 h 109895"/>
              <a:gd name="connsiteX32" fmla="*/ 36167 w 630955"/>
              <a:gd name="connsiteY32" fmla="*/ 39826 h 109895"/>
              <a:gd name="connsiteX33" fmla="*/ 30627 w 630955"/>
              <a:gd name="connsiteY33" fmla="*/ 67020 h 109895"/>
              <a:gd name="connsiteX34" fmla="*/ 107816 w 630955"/>
              <a:gd name="connsiteY34" fmla="*/ 1307 h 109895"/>
              <a:gd name="connsiteX35" fmla="*/ 173239 w 630955"/>
              <a:gd name="connsiteY35" fmla="*/ 1307 h 109895"/>
              <a:gd name="connsiteX36" fmla="*/ 173239 w 630955"/>
              <a:gd name="connsiteY36" fmla="*/ 14188 h 109895"/>
              <a:gd name="connsiteX37" fmla="*/ 121884 w 630955"/>
              <a:gd name="connsiteY37" fmla="*/ 14188 h 109895"/>
              <a:gd name="connsiteX38" fmla="*/ 121884 w 630955"/>
              <a:gd name="connsiteY38" fmla="*/ 49720 h 109895"/>
              <a:gd name="connsiteX39" fmla="*/ 165520 w 630955"/>
              <a:gd name="connsiteY39" fmla="*/ 49720 h 109895"/>
              <a:gd name="connsiteX40" fmla="*/ 165520 w 630955"/>
              <a:gd name="connsiteY40" fmla="*/ 62415 h 109895"/>
              <a:gd name="connsiteX41" fmla="*/ 121884 w 630955"/>
              <a:gd name="connsiteY41" fmla="*/ 62415 h 109895"/>
              <a:gd name="connsiteX42" fmla="*/ 121884 w 630955"/>
              <a:gd name="connsiteY42" fmla="*/ 108402 h 109895"/>
              <a:gd name="connsiteX43" fmla="*/ 107816 w 630955"/>
              <a:gd name="connsiteY43" fmla="*/ 108402 h 109895"/>
              <a:gd name="connsiteX44" fmla="*/ 107816 w 630955"/>
              <a:gd name="connsiteY44" fmla="*/ 1307 h 109895"/>
              <a:gd name="connsiteX45" fmla="*/ 192723 w 630955"/>
              <a:gd name="connsiteY45" fmla="*/ 1307 h 109895"/>
              <a:gd name="connsiteX46" fmla="*/ 258146 w 630955"/>
              <a:gd name="connsiteY46" fmla="*/ 1307 h 109895"/>
              <a:gd name="connsiteX47" fmla="*/ 258146 w 630955"/>
              <a:gd name="connsiteY47" fmla="*/ 14188 h 109895"/>
              <a:gd name="connsiteX48" fmla="*/ 206791 w 630955"/>
              <a:gd name="connsiteY48" fmla="*/ 14188 h 109895"/>
              <a:gd name="connsiteX49" fmla="*/ 206791 w 630955"/>
              <a:gd name="connsiteY49" fmla="*/ 49720 h 109895"/>
              <a:gd name="connsiteX50" fmla="*/ 250427 w 630955"/>
              <a:gd name="connsiteY50" fmla="*/ 49720 h 109895"/>
              <a:gd name="connsiteX51" fmla="*/ 250427 w 630955"/>
              <a:gd name="connsiteY51" fmla="*/ 62415 h 109895"/>
              <a:gd name="connsiteX52" fmla="*/ 206791 w 630955"/>
              <a:gd name="connsiteY52" fmla="*/ 62415 h 109895"/>
              <a:gd name="connsiteX53" fmla="*/ 206791 w 630955"/>
              <a:gd name="connsiteY53" fmla="*/ 108402 h 109895"/>
              <a:gd name="connsiteX54" fmla="*/ 192723 w 630955"/>
              <a:gd name="connsiteY54" fmla="*/ 108402 h 109895"/>
              <a:gd name="connsiteX55" fmla="*/ 192723 w 630955"/>
              <a:gd name="connsiteY55" fmla="*/ 1307 h 109895"/>
              <a:gd name="connsiteX56" fmla="*/ 277630 w 630955"/>
              <a:gd name="connsiteY56" fmla="*/ 1307 h 109895"/>
              <a:gd name="connsiteX57" fmla="*/ 313673 w 630955"/>
              <a:gd name="connsiteY57" fmla="*/ 1307 h 109895"/>
              <a:gd name="connsiteX58" fmla="*/ 333654 w 630955"/>
              <a:gd name="connsiteY58" fmla="*/ 3858 h 109895"/>
              <a:gd name="connsiteX59" fmla="*/ 349840 w 630955"/>
              <a:gd name="connsiteY59" fmla="*/ 12197 h 109895"/>
              <a:gd name="connsiteX60" fmla="*/ 360546 w 630955"/>
              <a:gd name="connsiteY60" fmla="*/ 27443 h 109895"/>
              <a:gd name="connsiteX61" fmla="*/ 364468 w 630955"/>
              <a:gd name="connsiteY61" fmla="*/ 51215 h 109895"/>
              <a:gd name="connsiteX62" fmla="*/ 357558 w 630955"/>
              <a:gd name="connsiteY62" fmla="*/ 82889 h 109895"/>
              <a:gd name="connsiteX63" fmla="*/ 339070 w 630955"/>
              <a:gd name="connsiteY63" fmla="*/ 101992 h 109895"/>
              <a:gd name="connsiteX64" fmla="*/ 311992 w 630955"/>
              <a:gd name="connsiteY64" fmla="*/ 108402 h 109895"/>
              <a:gd name="connsiteX65" fmla="*/ 277630 w 630955"/>
              <a:gd name="connsiteY65" fmla="*/ 108402 h 109895"/>
              <a:gd name="connsiteX66" fmla="*/ 277630 w 630955"/>
              <a:gd name="connsiteY66" fmla="*/ 1307 h 109895"/>
              <a:gd name="connsiteX67" fmla="*/ 311992 w 630955"/>
              <a:gd name="connsiteY67" fmla="*/ 95707 h 109895"/>
              <a:gd name="connsiteX68" fmla="*/ 331413 w 630955"/>
              <a:gd name="connsiteY68" fmla="*/ 91227 h 109895"/>
              <a:gd name="connsiteX69" fmla="*/ 344424 w 630955"/>
              <a:gd name="connsiteY69" fmla="*/ 77039 h 109895"/>
              <a:gd name="connsiteX70" fmla="*/ 349216 w 630955"/>
              <a:gd name="connsiteY70" fmla="*/ 52272 h 109895"/>
              <a:gd name="connsiteX71" fmla="*/ 344610 w 630955"/>
              <a:gd name="connsiteY71" fmla="*/ 28936 h 109895"/>
              <a:gd name="connsiteX72" fmla="*/ 331912 w 630955"/>
              <a:gd name="connsiteY72" fmla="*/ 17424 h 109895"/>
              <a:gd name="connsiteX73" fmla="*/ 313673 w 630955"/>
              <a:gd name="connsiteY73" fmla="*/ 14188 h 109895"/>
              <a:gd name="connsiteX74" fmla="*/ 291698 w 630955"/>
              <a:gd name="connsiteY74" fmla="*/ 14188 h 109895"/>
              <a:gd name="connsiteX75" fmla="*/ 291698 w 630955"/>
              <a:gd name="connsiteY75" fmla="*/ 95707 h 109895"/>
              <a:gd name="connsiteX76" fmla="*/ 311992 w 630955"/>
              <a:gd name="connsiteY76" fmla="*/ 95707 h 109895"/>
              <a:gd name="connsiteX77" fmla="*/ 429580 w 630955"/>
              <a:gd name="connsiteY77" fmla="*/ 109896 h 109895"/>
              <a:gd name="connsiteX78" fmla="*/ 401817 w 630955"/>
              <a:gd name="connsiteY78" fmla="*/ 103300 h 109895"/>
              <a:gd name="connsiteX79" fmla="*/ 383453 w 630955"/>
              <a:gd name="connsiteY79" fmla="*/ 84507 h 109895"/>
              <a:gd name="connsiteX80" fmla="*/ 376855 w 630955"/>
              <a:gd name="connsiteY80" fmla="*/ 54948 h 109895"/>
              <a:gd name="connsiteX81" fmla="*/ 390425 w 630955"/>
              <a:gd name="connsiteY81" fmla="*/ 14624 h 109895"/>
              <a:gd name="connsiteX82" fmla="*/ 429269 w 630955"/>
              <a:gd name="connsiteY82" fmla="*/ 0 h 109895"/>
              <a:gd name="connsiteX83" fmla="*/ 447196 w 630955"/>
              <a:gd name="connsiteY83" fmla="*/ 2054 h 109895"/>
              <a:gd name="connsiteX84" fmla="*/ 461888 w 630955"/>
              <a:gd name="connsiteY84" fmla="*/ 7716 h 109895"/>
              <a:gd name="connsiteX85" fmla="*/ 461888 w 630955"/>
              <a:gd name="connsiteY85" fmla="*/ 21158 h 109895"/>
              <a:gd name="connsiteX86" fmla="*/ 446761 w 630955"/>
              <a:gd name="connsiteY86" fmla="*/ 14935 h 109895"/>
              <a:gd name="connsiteX87" fmla="*/ 429145 w 630955"/>
              <a:gd name="connsiteY87" fmla="*/ 12695 h 109895"/>
              <a:gd name="connsiteX88" fmla="*/ 401195 w 630955"/>
              <a:gd name="connsiteY88" fmla="*/ 23273 h 109895"/>
              <a:gd name="connsiteX89" fmla="*/ 392106 w 630955"/>
              <a:gd name="connsiteY89" fmla="*/ 54948 h 109895"/>
              <a:gd name="connsiteX90" fmla="*/ 401942 w 630955"/>
              <a:gd name="connsiteY90" fmla="*/ 86747 h 109895"/>
              <a:gd name="connsiteX91" fmla="*/ 430763 w 630955"/>
              <a:gd name="connsiteY91" fmla="*/ 97201 h 109895"/>
              <a:gd name="connsiteX92" fmla="*/ 461888 w 630955"/>
              <a:gd name="connsiteY92" fmla="*/ 87369 h 109895"/>
              <a:gd name="connsiteX93" fmla="*/ 461888 w 630955"/>
              <a:gd name="connsiteY93" fmla="*/ 100811 h 109895"/>
              <a:gd name="connsiteX94" fmla="*/ 447944 w 630955"/>
              <a:gd name="connsiteY94" fmla="*/ 107531 h 109895"/>
              <a:gd name="connsiteX95" fmla="*/ 429580 w 630955"/>
              <a:gd name="connsiteY95" fmla="*/ 109896 h 109895"/>
              <a:gd name="connsiteX96" fmla="*/ 507267 w 630955"/>
              <a:gd name="connsiteY96" fmla="*/ 109896 h 109895"/>
              <a:gd name="connsiteX97" fmla="*/ 478757 w 630955"/>
              <a:gd name="connsiteY97" fmla="*/ 102304 h 109895"/>
              <a:gd name="connsiteX98" fmla="*/ 478757 w 630955"/>
              <a:gd name="connsiteY98" fmla="*/ 87618 h 109895"/>
              <a:gd name="connsiteX99" fmla="*/ 491891 w 630955"/>
              <a:gd name="connsiteY99" fmla="*/ 95272 h 109895"/>
              <a:gd name="connsiteX100" fmla="*/ 507267 w 630955"/>
              <a:gd name="connsiteY100" fmla="*/ 97637 h 109895"/>
              <a:gd name="connsiteX101" fmla="*/ 524323 w 630955"/>
              <a:gd name="connsiteY101" fmla="*/ 90916 h 109895"/>
              <a:gd name="connsiteX102" fmla="*/ 530424 w 630955"/>
              <a:gd name="connsiteY102" fmla="*/ 73305 h 109895"/>
              <a:gd name="connsiteX103" fmla="*/ 524447 w 630955"/>
              <a:gd name="connsiteY103" fmla="*/ 56255 h 109895"/>
              <a:gd name="connsiteX104" fmla="*/ 509384 w 630955"/>
              <a:gd name="connsiteY104" fmla="*/ 50903 h 109895"/>
              <a:gd name="connsiteX105" fmla="*/ 498739 w 630955"/>
              <a:gd name="connsiteY105" fmla="*/ 53143 h 109895"/>
              <a:gd name="connsiteX106" fmla="*/ 492638 w 630955"/>
              <a:gd name="connsiteY106" fmla="*/ 57624 h 109895"/>
              <a:gd name="connsiteX107" fmla="*/ 481745 w 630955"/>
              <a:gd name="connsiteY107" fmla="*/ 57624 h 109895"/>
              <a:gd name="connsiteX108" fmla="*/ 481745 w 630955"/>
              <a:gd name="connsiteY108" fmla="*/ 1307 h 109895"/>
              <a:gd name="connsiteX109" fmla="*/ 539699 w 630955"/>
              <a:gd name="connsiteY109" fmla="*/ 1307 h 109895"/>
              <a:gd name="connsiteX110" fmla="*/ 539699 w 630955"/>
              <a:gd name="connsiteY110" fmla="*/ 14188 h 109895"/>
              <a:gd name="connsiteX111" fmla="*/ 493945 w 630955"/>
              <a:gd name="connsiteY111" fmla="*/ 14188 h 109895"/>
              <a:gd name="connsiteX112" fmla="*/ 493945 w 630955"/>
              <a:gd name="connsiteY112" fmla="*/ 44805 h 109895"/>
              <a:gd name="connsiteX113" fmla="*/ 501291 w 630955"/>
              <a:gd name="connsiteY113" fmla="*/ 40885 h 109895"/>
              <a:gd name="connsiteX114" fmla="*/ 511625 w 630955"/>
              <a:gd name="connsiteY114" fmla="*/ 39080 h 109895"/>
              <a:gd name="connsiteX115" fmla="*/ 528307 w 630955"/>
              <a:gd name="connsiteY115" fmla="*/ 43000 h 109895"/>
              <a:gd name="connsiteX116" fmla="*/ 540134 w 630955"/>
              <a:gd name="connsiteY116" fmla="*/ 54326 h 109895"/>
              <a:gd name="connsiteX117" fmla="*/ 544616 w 630955"/>
              <a:gd name="connsiteY117" fmla="*/ 72995 h 109895"/>
              <a:gd name="connsiteX118" fmla="*/ 540010 w 630955"/>
              <a:gd name="connsiteY118" fmla="*/ 92410 h 109895"/>
              <a:gd name="connsiteX119" fmla="*/ 527124 w 630955"/>
              <a:gd name="connsiteY119" fmla="*/ 105415 h 109895"/>
              <a:gd name="connsiteX120" fmla="*/ 507267 w 630955"/>
              <a:gd name="connsiteY120" fmla="*/ 109896 h 109895"/>
              <a:gd name="connsiteX121" fmla="*/ 565532 w 630955"/>
              <a:gd name="connsiteY121" fmla="*/ 1307 h 109895"/>
              <a:gd name="connsiteX122" fmla="*/ 630955 w 630955"/>
              <a:gd name="connsiteY122" fmla="*/ 1307 h 109895"/>
              <a:gd name="connsiteX123" fmla="*/ 630955 w 630955"/>
              <a:gd name="connsiteY123" fmla="*/ 14188 h 109895"/>
              <a:gd name="connsiteX124" fmla="*/ 579538 w 630955"/>
              <a:gd name="connsiteY124" fmla="*/ 14188 h 109895"/>
              <a:gd name="connsiteX125" fmla="*/ 579538 w 630955"/>
              <a:gd name="connsiteY125" fmla="*/ 49720 h 109895"/>
              <a:gd name="connsiteX126" fmla="*/ 623174 w 630955"/>
              <a:gd name="connsiteY126" fmla="*/ 49720 h 109895"/>
              <a:gd name="connsiteX127" fmla="*/ 623174 w 630955"/>
              <a:gd name="connsiteY127" fmla="*/ 62415 h 109895"/>
              <a:gd name="connsiteX128" fmla="*/ 579538 w 630955"/>
              <a:gd name="connsiteY128" fmla="*/ 62415 h 109895"/>
              <a:gd name="connsiteX129" fmla="*/ 579538 w 630955"/>
              <a:gd name="connsiteY129" fmla="*/ 108402 h 109895"/>
              <a:gd name="connsiteX130" fmla="*/ 565532 w 630955"/>
              <a:gd name="connsiteY130" fmla="*/ 108402 h 109895"/>
              <a:gd name="connsiteX131" fmla="*/ 565532 w 630955"/>
              <a:gd name="connsiteY131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630955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13673" y="1307"/>
                </a:lnTo>
                <a:cubicBezTo>
                  <a:pt x="320831" y="1307"/>
                  <a:pt x="327492" y="2179"/>
                  <a:pt x="333654" y="3858"/>
                </a:cubicBezTo>
                <a:cubicBezTo>
                  <a:pt x="339879" y="5538"/>
                  <a:pt x="345233" y="8339"/>
                  <a:pt x="349840" y="12197"/>
                </a:cubicBezTo>
                <a:cubicBezTo>
                  <a:pt x="354384" y="15993"/>
                  <a:pt x="357994" y="21096"/>
                  <a:pt x="360546" y="27443"/>
                </a:cubicBezTo>
                <a:cubicBezTo>
                  <a:pt x="363160" y="33853"/>
                  <a:pt x="364468" y="41756"/>
                  <a:pt x="364468" y="51215"/>
                </a:cubicBezTo>
                <a:cubicBezTo>
                  <a:pt x="364468" y="63722"/>
                  <a:pt x="362165" y="74301"/>
                  <a:pt x="357558" y="82889"/>
                </a:cubicBezTo>
                <a:cubicBezTo>
                  <a:pt x="353076" y="91352"/>
                  <a:pt x="346913" y="97699"/>
                  <a:pt x="339070" y="101992"/>
                </a:cubicBezTo>
                <a:cubicBezTo>
                  <a:pt x="331165" y="106287"/>
                  <a:pt x="322201" y="108402"/>
                  <a:pt x="311992" y="108402"/>
                </a:cubicBez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11992" y="95707"/>
                </a:moveTo>
                <a:cubicBezTo>
                  <a:pt x="319400" y="95707"/>
                  <a:pt x="325873" y="94214"/>
                  <a:pt x="331413" y="91227"/>
                </a:cubicBezTo>
                <a:cubicBezTo>
                  <a:pt x="337016" y="88116"/>
                  <a:pt x="341373" y="83386"/>
                  <a:pt x="344424" y="77039"/>
                </a:cubicBezTo>
                <a:cubicBezTo>
                  <a:pt x="347598" y="70568"/>
                  <a:pt x="349216" y="62291"/>
                  <a:pt x="349216" y="52272"/>
                </a:cubicBezTo>
                <a:cubicBezTo>
                  <a:pt x="349216" y="42191"/>
                  <a:pt x="347660" y="34413"/>
                  <a:pt x="344610" y="28936"/>
                </a:cubicBezTo>
                <a:cubicBezTo>
                  <a:pt x="341498" y="23460"/>
                  <a:pt x="337265" y="19664"/>
                  <a:pt x="331912" y="17424"/>
                </a:cubicBezTo>
                <a:cubicBezTo>
                  <a:pt x="326620" y="15246"/>
                  <a:pt x="320520" y="14188"/>
                  <a:pt x="313673" y="14188"/>
                </a:cubicBezTo>
                <a:lnTo>
                  <a:pt x="291698" y="14188"/>
                </a:lnTo>
                <a:lnTo>
                  <a:pt x="291698" y="95707"/>
                </a:lnTo>
                <a:lnTo>
                  <a:pt x="311992" y="95707"/>
                </a:lnTo>
                <a:close/>
                <a:moveTo>
                  <a:pt x="429580" y="109896"/>
                </a:moveTo>
                <a:cubicBezTo>
                  <a:pt x="419060" y="109896"/>
                  <a:pt x="409785" y="107718"/>
                  <a:pt x="401817" y="103300"/>
                </a:cubicBezTo>
                <a:cubicBezTo>
                  <a:pt x="393912" y="98943"/>
                  <a:pt x="387811" y="92658"/>
                  <a:pt x="383453" y="84507"/>
                </a:cubicBezTo>
                <a:cubicBezTo>
                  <a:pt x="379034" y="76230"/>
                  <a:pt x="376855" y="66398"/>
                  <a:pt x="376855" y="54948"/>
                </a:cubicBezTo>
                <a:cubicBezTo>
                  <a:pt x="376855" y="37711"/>
                  <a:pt x="381399" y="24269"/>
                  <a:pt x="390425" y="14624"/>
                </a:cubicBezTo>
                <a:cubicBezTo>
                  <a:pt x="399514" y="4854"/>
                  <a:pt x="412462" y="0"/>
                  <a:pt x="429269" y="0"/>
                </a:cubicBezTo>
                <a:cubicBezTo>
                  <a:pt x="435556" y="0"/>
                  <a:pt x="441532" y="684"/>
                  <a:pt x="447196" y="2054"/>
                </a:cubicBezTo>
                <a:cubicBezTo>
                  <a:pt x="452986" y="3361"/>
                  <a:pt x="457904" y="5228"/>
                  <a:pt x="461888" y="7716"/>
                </a:cubicBezTo>
                <a:lnTo>
                  <a:pt x="461888" y="21158"/>
                </a:lnTo>
                <a:cubicBezTo>
                  <a:pt x="457592" y="18482"/>
                  <a:pt x="452550" y="16428"/>
                  <a:pt x="446761" y="14935"/>
                </a:cubicBezTo>
                <a:cubicBezTo>
                  <a:pt x="441096" y="13442"/>
                  <a:pt x="435245" y="12695"/>
                  <a:pt x="429145" y="12695"/>
                </a:cubicBezTo>
                <a:cubicBezTo>
                  <a:pt x="416570" y="12695"/>
                  <a:pt x="407295" y="16180"/>
                  <a:pt x="401195" y="23273"/>
                </a:cubicBezTo>
                <a:cubicBezTo>
                  <a:pt x="395156" y="30368"/>
                  <a:pt x="392106" y="40885"/>
                  <a:pt x="392106" y="54948"/>
                </a:cubicBezTo>
                <a:cubicBezTo>
                  <a:pt x="392106" y="69074"/>
                  <a:pt x="395405" y="79653"/>
                  <a:pt x="401942" y="86747"/>
                </a:cubicBezTo>
                <a:cubicBezTo>
                  <a:pt x="408540" y="93716"/>
                  <a:pt x="418126" y="97201"/>
                  <a:pt x="430763" y="97201"/>
                </a:cubicBezTo>
                <a:cubicBezTo>
                  <a:pt x="442715" y="97201"/>
                  <a:pt x="453110" y="93903"/>
                  <a:pt x="461888" y="87369"/>
                </a:cubicBezTo>
                <a:lnTo>
                  <a:pt x="461888" y="100811"/>
                </a:lnTo>
                <a:cubicBezTo>
                  <a:pt x="458401" y="103548"/>
                  <a:pt x="453733" y="105788"/>
                  <a:pt x="447944" y="107531"/>
                </a:cubicBezTo>
                <a:cubicBezTo>
                  <a:pt x="442217" y="109087"/>
                  <a:pt x="436054" y="109896"/>
                  <a:pt x="429580" y="109896"/>
                </a:cubicBezTo>
                <a:close/>
                <a:moveTo>
                  <a:pt x="507267" y="109896"/>
                </a:moveTo>
                <a:cubicBezTo>
                  <a:pt x="495315" y="109896"/>
                  <a:pt x="485791" y="107344"/>
                  <a:pt x="478757" y="102304"/>
                </a:cubicBezTo>
                <a:lnTo>
                  <a:pt x="478757" y="87618"/>
                </a:lnTo>
                <a:cubicBezTo>
                  <a:pt x="482928" y="91040"/>
                  <a:pt x="487285" y="93592"/>
                  <a:pt x="491891" y="95272"/>
                </a:cubicBezTo>
                <a:cubicBezTo>
                  <a:pt x="496435" y="96828"/>
                  <a:pt x="501603" y="97637"/>
                  <a:pt x="507267" y="97637"/>
                </a:cubicBezTo>
                <a:cubicBezTo>
                  <a:pt x="514612" y="97637"/>
                  <a:pt x="520339" y="95397"/>
                  <a:pt x="524323" y="90916"/>
                </a:cubicBezTo>
                <a:cubicBezTo>
                  <a:pt x="528369" y="86435"/>
                  <a:pt x="530424" y="80586"/>
                  <a:pt x="530424" y="73305"/>
                </a:cubicBezTo>
                <a:cubicBezTo>
                  <a:pt x="530424" y="65527"/>
                  <a:pt x="528431" y="59864"/>
                  <a:pt x="524447" y="56255"/>
                </a:cubicBezTo>
                <a:cubicBezTo>
                  <a:pt x="520463" y="52708"/>
                  <a:pt x="515422" y="50903"/>
                  <a:pt x="509384" y="50903"/>
                </a:cubicBezTo>
                <a:cubicBezTo>
                  <a:pt x="504963" y="50903"/>
                  <a:pt x="501416" y="51650"/>
                  <a:pt x="498739" y="53143"/>
                </a:cubicBezTo>
                <a:cubicBezTo>
                  <a:pt x="496062" y="54512"/>
                  <a:pt x="494008" y="56006"/>
                  <a:pt x="492638" y="57624"/>
                </a:cubicBezTo>
                <a:lnTo>
                  <a:pt x="481745" y="57624"/>
                </a:lnTo>
                <a:lnTo>
                  <a:pt x="481745" y="1307"/>
                </a:lnTo>
                <a:lnTo>
                  <a:pt x="539699" y="1307"/>
                </a:lnTo>
                <a:lnTo>
                  <a:pt x="539699" y="14188"/>
                </a:lnTo>
                <a:lnTo>
                  <a:pt x="493945" y="14188"/>
                </a:lnTo>
                <a:lnTo>
                  <a:pt x="493945" y="44805"/>
                </a:lnTo>
                <a:cubicBezTo>
                  <a:pt x="495938" y="43312"/>
                  <a:pt x="498428" y="42004"/>
                  <a:pt x="501291" y="40885"/>
                </a:cubicBezTo>
                <a:cubicBezTo>
                  <a:pt x="504154" y="39702"/>
                  <a:pt x="507640" y="39080"/>
                  <a:pt x="511625" y="39080"/>
                </a:cubicBezTo>
                <a:cubicBezTo>
                  <a:pt x="517787" y="39080"/>
                  <a:pt x="523327" y="40386"/>
                  <a:pt x="528307" y="43000"/>
                </a:cubicBezTo>
                <a:cubicBezTo>
                  <a:pt x="533287" y="45489"/>
                  <a:pt x="537271" y="49285"/>
                  <a:pt x="540134" y="54326"/>
                </a:cubicBezTo>
                <a:cubicBezTo>
                  <a:pt x="543122" y="59304"/>
                  <a:pt x="544616" y="65527"/>
                  <a:pt x="544616" y="72995"/>
                </a:cubicBezTo>
                <a:cubicBezTo>
                  <a:pt x="544616" y="80399"/>
                  <a:pt x="543060" y="86871"/>
                  <a:pt x="540010" y="92410"/>
                </a:cubicBezTo>
                <a:cubicBezTo>
                  <a:pt x="537022" y="98010"/>
                  <a:pt x="532727" y="102304"/>
                  <a:pt x="527124" y="105415"/>
                </a:cubicBezTo>
                <a:cubicBezTo>
                  <a:pt x="521584" y="108402"/>
                  <a:pt x="514923" y="109896"/>
                  <a:pt x="507267" y="109896"/>
                </a:cubicBezTo>
                <a:close/>
                <a:moveTo>
                  <a:pt x="565532" y="1307"/>
                </a:moveTo>
                <a:lnTo>
                  <a:pt x="630955" y="1307"/>
                </a:lnTo>
                <a:lnTo>
                  <a:pt x="630955" y="14188"/>
                </a:lnTo>
                <a:lnTo>
                  <a:pt x="579538" y="14188"/>
                </a:lnTo>
                <a:lnTo>
                  <a:pt x="579538" y="49720"/>
                </a:lnTo>
                <a:lnTo>
                  <a:pt x="623174" y="49720"/>
                </a:lnTo>
                <a:lnTo>
                  <a:pt x="623174" y="62415"/>
                </a:lnTo>
                <a:lnTo>
                  <a:pt x="579538" y="62415"/>
                </a:lnTo>
                <a:lnTo>
                  <a:pt x="579538" y="108402"/>
                </a:lnTo>
                <a:lnTo>
                  <a:pt x="565532" y="108402"/>
                </a:lnTo>
                <a:lnTo>
                  <a:pt x="565532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3" name="Полилиния 1092">
            <a:extLst>
              <a:ext uri="{FF2B5EF4-FFF2-40B4-BE49-F238E27FC236}">
                <a16:creationId xmlns:a16="http://schemas.microsoft.com/office/drawing/2014/main" id="{B92DEB19-4B81-712E-0989-C6BEE752296B}"/>
              </a:ext>
            </a:extLst>
          </p:cNvPr>
          <p:cNvSpPr/>
          <p:nvPr userDrawn="1"/>
        </p:nvSpPr>
        <p:spPr>
          <a:xfrm>
            <a:off x="21534071" y="8144980"/>
            <a:ext cx="1398954" cy="726227"/>
          </a:xfrm>
          <a:custGeom>
            <a:avLst/>
            <a:gdLst>
              <a:gd name="connsiteX0" fmla="*/ 1275 w 1198727"/>
              <a:gd name="connsiteY0" fmla="*/ 1622 h 622284"/>
              <a:gd name="connsiteX1" fmla="*/ 1200003 w 1198727"/>
              <a:gd name="connsiteY1" fmla="*/ 1622 h 622284"/>
              <a:gd name="connsiteX2" fmla="*/ 1200003 w 1198727"/>
              <a:gd name="connsiteY2" fmla="*/ 623906 h 622284"/>
              <a:gd name="connsiteX3" fmla="*/ 1275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622"/>
                </a:moveTo>
                <a:lnTo>
                  <a:pt x="1200003" y="1622"/>
                </a:lnTo>
                <a:lnTo>
                  <a:pt x="1200003" y="623906"/>
                </a:lnTo>
                <a:lnTo>
                  <a:pt x="1275" y="623906"/>
                </a:lnTo>
                <a:close/>
              </a:path>
            </a:pathLst>
          </a:custGeom>
          <a:solidFill>
            <a:srgbClr val="FFEB9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4" name="Полилиния 1093">
            <a:extLst>
              <a:ext uri="{FF2B5EF4-FFF2-40B4-BE49-F238E27FC236}">
                <a16:creationId xmlns:a16="http://schemas.microsoft.com/office/drawing/2014/main" id="{598CD82F-B187-CCBF-CC10-62C9A3FA80CC}"/>
              </a:ext>
            </a:extLst>
          </p:cNvPr>
          <p:cNvSpPr/>
          <p:nvPr userDrawn="1"/>
        </p:nvSpPr>
        <p:spPr>
          <a:xfrm>
            <a:off x="21657280" y="8446726"/>
            <a:ext cx="725376" cy="128468"/>
          </a:xfrm>
          <a:custGeom>
            <a:avLst/>
            <a:gdLst>
              <a:gd name="connsiteX0" fmla="*/ 22099 w 621555"/>
              <a:gd name="connsiteY0" fmla="*/ 108588 h 110081"/>
              <a:gd name="connsiteX1" fmla="*/ 10147 w 621555"/>
              <a:gd name="connsiteY1" fmla="*/ 108588 h 110081"/>
              <a:gd name="connsiteX2" fmla="*/ 16434 w 621555"/>
              <a:gd name="connsiteY2" fmla="*/ 77661 h 110081"/>
              <a:gd name="connsiteX3" fmla="*/ 0 w 621555"/>
              <a:gd name="connsiteY3" fmla="*/ 77661 h 110081"/>
              <a:gd name="connsiteX4" fmla="*/ 0 w 621555"/>
              <a:gd name="connsiteY4" fmla="*/ 67206 h 110081"/>
              <a:gd name="connsiteX5" fmla="*/ 18675 w 621555"/>
              <a:gd name="connsiteY5" fmla="*/ 67206 h 110081"/>
              <a:gd name="connsiteX6" fmla="*/ 24215 w 621555"/>
              <a:gd name="connsiteY6" fmla="*/ 40012 h 110081"/>
              <a:gd name="connsiteX7" fmla="*/ 4046 w 621555"/>
              <a:gd name="connsiteY7" fmla="*/ 40012 h 110081"/>
              <a:gd name="connsiteX8" fmla="*/ 4046 w 621555"/>
              <a:gd name="connsiteY8" fmla="*/ 29559 h 110081"/>
              <a:gd name="connsiteX9" fmla="*/ 26269 w 621555"/>
              <a:gd name="connsiteY9" fmla="*/ 29559 h 110081"/>
              <a:gd name="connsiteX10" fmla="*/ 32121 w 621555"/>
              <a:gd name="connsiteY10" fmla="*/ 1493 h 110081"/>
              <a:gd name="connsiteX11" fmla="*/ 44073 w 621555"/>
              <a:gd name="connsiteY11" fmla="*/ 1493 h 110081"/>
              <a:gd name="connsiteX12" fmla="*/ 38221 w 621555"/>
              <a:gd name="connsiteY12" fmla="*/ 29559 h 110081"/>
              <a:gd name="connsiteX13" fmla="*/ 60630 w 621555"/>
              <a:gd name="connsiteY13" fmla="*/ 29559 h 110081"/>
              <a:gd name="connsiteX14" fmla="*/ 66482 w 621555"/>
              <a:gd name="connsiteY14" fmla="*/ 1493 h 110081"/>
              <a:gd name="connsiteX15" fmla="*/ 78434 w 621555"/>
              <a:gd name="connsiteY15" fmla="*/ 1493 h 110081"/>
              <a:gd name="connsiteX16" fmla="*/ 72582 w 621555"/>
              <a:gd name="connsiteY16" fmla="*/ 29559 h 110081"/>
              <a:gd name="connsiteX17" fmla="*/ 89327 w 621555"/>
              <a:gd name="connsiteY17" fmla="*/ 29559 h 110081"/>
              <a:gd name="connsiteX18" fmla="*/ 89327 w 621555"/>
              <a:gd name="connsiteY18" fmla="*/ 40012 h 110081"/>
              <a:gd name="connsiteX19" fmla="*/ 70529 w 621555"/>
              <a:gd name="connsiteY19" fmla="*/ 40012 h 110081"/>
              <a:gd name="connsiteX20" fmla="*/ 64988 w 621555"/>
              <a:gd name="connsiteY20" fmla="*/ 67206 h 110081"/>
              <a:gd name="connsiteX21" fmla="*/ 85282 w 621555"/>
              <a:gd name="connsiteY21" fmla="*/ 67206 h 110081"/>
              <a:gd name="connsiteX22" fmla="*/ 85282 w 621555"/>
              <a:gd name="connsiteY22" fmla="*/ 77661 h 110081"/>
              <a:gd name="connsiteX23" fmla="*/ 62747 w 621555"/>
              <a:gd name="connsiteY23" fmla="*/ 77661 h 110081"/>
              <a:gd name="connsiteX24" fmla="*/ 56460 w 621555"/>
              <a:gd name="connsiteY24" fmla="*/ 108588 h 110081"/>
              <a:gd name="connsiteX25" fmla="*/ 44508 w 621555"/>
              <a:gd name="connsiteY25" fmla="*/ 108588 h 110081"/>
              <a:gd name="connsiteX26" fmla="*/ 50795 w 621555"/>
              <a:gd name="connsiteY26" fmla="*/ 77661 h 110081"/>
              <a:gd name="connsiteX27" fmla="*/ 28386 w 621555"/>
              <a:gd name="connsiteY27" fmla="*/ 77661 h 110081"/>
              <a:gd name="connsiteX28" fmla="*/ 22099 w 621555"/>
              <a:gd name="connsiteY28" fmla="*/ 108588 h 110081"/>
              <a:gd name="connsiteX29" fmla="*/ 30627 w 621555"/>
              <a:gd name="connsiteY29" fmla="*/ 67206 h 110081"/>
              <a:gd name="connsiteX30" fmla="*/ 53036 w 621555"/>
              <a:gd name="connsiteY30" fmla="*/ 67206 h 110081"/>
              <a:gd name="connsiteX31" fmla="*/ 58576 w 621555"/>
              <a:gd name="connsiteY31" fmla="*/ 40012 h 110081"/>
              <a:gd name="connsiteX32" fmla="*/ 36167 w 621555"/>
              <a:gd name="connsiteY32" fmla="*/ 40012 h 110081"/>
              <a:gd name="connsiteX33" fmla="*/ 30627 w 621555"/>
              <a:gd name="connsiteY33" fmla="*/ 67206 h 110081"/>
              <a:gd name="connsiteX34" fmla="*/ 107816 w 621555"/>
              <a:gd name="connsiteY34" fmla="*/ 1493 h 110081"/>
              <a:gd name="connsiteX35" fmla="*/ 173239 w 621555"/>
              <a:gd name="connsiteY35" fmla="*/ 1493 h 110081"/>
              <a:gd name="connsiteX36" fmla="*/ 173239 w 621555"/>
              <a:gd name="connsiteY36" fmla="*/ 14374 h 110081"/>
              <a:gd name="connsiteX37" fmla="*/ 121884 w 621555"/>
              <a:gd name="connsiteY37" fmla="*/ 14374 h 110081"/>
              <a:gd name="connsiteX38" fmla="*/ 121884 w 621555"/>
              <a:gd name="connsiteY38" fmla="*/ 49907 h 110081"/>
              <a:gd name="connsiteX39" fmla="*/ 165520 w 621555"/>
              <a:gd name="connsiteY39" fmla="*/ 49907 h 110081"/>
              <a:gd name="connsiteX40" fmla="*/ 165520 w 621555"/>
              <a:gd name="connsiteY40" fmla="*/ 62601 h 110081"/>
              <a:gd name="connsiteX41" fmla="*/ 121884 w 621555"/>
              <a:gd name="connsiteY41" fmla="*/ 62601 h 110081"/>
              <a:gd name="connsiteX42" fmla="*/ 121884 w 621555"/>
              <a:gd name="connsiteY42" fmla="*/ 108588 h 110081"/>
              <a:gd name="connsiteX43" fmla="*/ 107816 w 621555"/>
              <a:gd name="connsiteY43" fmla="*/ 108588 h 110081"/>
              <a:gd name="connsiteX44" fmla="*/ 107816 w 621555"/>
              <a:gd name="connsiteY44" fmla="*/ 1493 h 110081"/>
              <a:gd name="connsiteX45" fmla="*/ 192723 w 621555"/>
              <a:gd name="connsiteY45" fmla="*/ 1493 h 110081"/>
              <a:gd name="connsiteX46" fmla="*/ 258146 w 621555"/>
              <a:gd name="connsiteY46" fmla="*/ 1493 h 110081"/>
              <a:gd name="connsiteX47" fmla="*/ 258146 w 621555"/>
              <a:gd name="connsiteY47" fmla="*/ 14374 h 110081"/>
              <a:gd name="connsiteX48" fmla="*/ 206791 w 621555"/>
              <a:gd name="connsiteY48" fmla="*/ 14374 h 110081"/>
              <a:gd name="connsiteX49" fmla="*/ 206791 w 621555"/>
              <a:gd name="connsiteY49" fmla="*/ 49907 h 110081"/>
              <a:gd name="connsiteX50" fmla="*/ 250427 w 621555"/>
              <a:gd name="connsiteY50" fmla="*/ 49907 h 110081"/>
              <a:gd name="connsiteX51" fmla="*/ 250427 w 621555"/>
              <a:gd name="connsiteY51" fmla="*/ 62601 h 110081"/>
              <a:gd name="connsiteX52" fmla="*/ 206791 w 621555"/>
              <a:gd name="connsiteY52" fmla="*/ 62601 h 110081"/>
              <a:gd name="connsiteX53" fmla="*/ 206791 w 621555"/>
              <a:gd name="connsiteY53" fmla="*/ 108588 h 110081"/>
              <a:gd name="connsiteX54" fmla="*/ 192723 w 621555"/>
              <a:gd name="connsiteY54" fmla="*/ 108588 h 110081"/>
              <a:gd name="connsiteX55" fmla="*/ 192723 w 621555"/>
              <a:gd name="connsiteY55" fmla="*/ 1493 h 110081"/>
              <a:gd name="connsiteX56" fmla="*/ 277630 w 621555"/>
              <a:gd name="connsiteY56" fmla="*/ 1493 h 110081"/>
              <a:gd name="connsiteX57" fmla="*/ 343988 w 621555"/>
              <a:gd name="connsiteY57" fmla="*/ 1493 h 110081"/>
              <a:gd name="connsiteX58" fmla="*/ 343988 w 621555"/>
              <a:gd name="connsiteY58" fmla="*/ 14374 h 110081"/>
              <a:gd name="connsiteX59" fmla="*/ 291698 w 621555"/>
              <a:gd name="connsiteY59" fmla="*/ 14374 h 110081"/>
              <a:gd name="connsiteX60" fmla="*/ 291698 w 621555"/>
              <a:gd name="connsiteY60" fmla="*/ 46734 h 110081"/>
              <a:gd name="connsiteX61" fmla="*/ 336082 w 621555"/>
              <a:gd name="connsiteY61" fmla="*/ 46734 h 110081"/>
              <a:gd name="connsiteX62" fmla="*/ 336082 w 621555"/>
              <a:gd name="connsiteY62" fmla="*/ 59428 h 110081"/>
              <a:gd name="connsiteX63" fmla="*/ 291698 w 621555"/>
              <a:gd name="connsiteY63" fmla="*/ 59428 h 110081"/>
              <a:gd name="connsiteX64" fmla="*/ 291698 w 621555"/>
              <a:gd name="connsiteY64" fmla="*/ 95893 h 110081"/>
              <a:gd name="connsiteX65" fmla="*/ 344735 w 621555"/>
              <a:gd name="connsiteY65" fmla="*/ 95893 h 110081"/>
              <a:gd name="connsiteX66" fmla="*/ 344735 w 621555"/>
              <a:gd name="connsiteY66" fmla="*/ 108588 h 110081"/>
              <a:gd name="connsiteX67" fmla="*/ 277630 w 621555"/>
              <a:gd name="connsiteY67" fmla="*/ 108588 h 110081"/>
              <a:gd name="connsiteX68" fmla="*/ 277630 w 621555"/>
              <a:gd name="connsiteY68" fmla="*/ 1493 h 110081"/>
              <a:gd name="connsiteX69" fmla="*/ 366958 w 621555"/>
              <a:gd name="connsiteY69" fmla="*/ 1493 h 110081"/>
              <a:gd name="connsiteX70" fmla="*/ 403249 w 621555"/>
              <a:gd name="connsiteY70" fmla="*/ 1493 h 110081"/>
              <a:gd name="connsiteX71" fmla="*/ 430016 w 621555"/>
              <a:gd name="connsiteY71" fmla="*/ 7467 h 110081"/>
              <a:gd name="connsiteX72" fmla="*/ 439229 w 621555"/>
              <a:gd name="connsiteY72" fmla="*/ 27629 h 110081"/>
              <a:gd name="connsiteX73" fmla="*/ 433439 w 621555"/>
              <a:gd name="connsiteY73" fmla="*/ 45116 h 110081"/>
              <a:gd name="connsiteX74" fmla="*/ 417877 w 621555"/>
              <a:gd name="connsiteY74" fmla="*/ 53018 h 110081"/>
              <a:gd name="connsiteX75" fmla="*/ 436739 w 621555"/>
              <a:gd name="connsiteY75" fmla="*/ 60361 h 110081"/>
              <a:gd name="connsiteX76" fmla="*/ 443151 w 621555"/>
              <a:gd name="connsiteY76" fmla="*/ 77661 h 110081"/>
              <a:gd name="connsiteX77" fmla="*/ 437921 w 621555"/>
              <a:gd name="connsiteY77" fmla="*/ 95583 h 110081"/>
              <a:gd name="connsiteX78" fmla="*/ 423542 w 621555"/>
              <a:gd name="connsiteY78" fmla="*/ 105601 h 110081"/>
              <a:gd name="connsiteX79" fmla="*/ 402937 w 621555"/>
              <a:gd name="connsiteY79" fmla="*/ 108588 h 110081"/>
              <a:gd name="connsiteX80" fmla="*/ 366958 w 621555"/>
              <a:gd name="connsiteY80" fmla="*/ 108588 h 110081"/>
              <a:gd name="connsiteX81" fmla="*/ 366958 w 621555"/>
              <a:gd name="connsiteY81" fmla="*/ 1493 h 110081"/>
              <a:gd name="connsiteX82" fmla="*/ 402190 w 621555"/>
              <a:gd name="connsiteY82" fmla="*/ 47231 h 110081"/>
              <a:gd name="connsiteX83" fmla="*/ 418624 w 621555"/>
              <a:gd name="connsiteY83" fmla="*/ 42751 h 110081"/>
              <a:gd name="connsiteX84" fmla="*/ 425036 w 621555"/>
              <a:gd name="connsiteY84" fmla="*/ 28376 h 110081"/>
              <a:gd name="connsiteX85" fmla="*/ 419371 w 621555"/>
              <a:gd name="connsiteY85" fmla="*/ 17361 h 110081"/>
              <a:gd name="connsiteX86" fmla="*/ 403249 w 621555"/>
              <a:gd name="connsiteY86" fmla="*/ 14374 h 110081"/>
              <a:gd name="connsiteX87" fmla="*/ 380964 w 621555"/>
              <a:gd name="connsiteY87" fmla="*/ 14374 h 110081"/>
              <a:gd name="connsiteX88" fmla="*/ 380964 w 621555"/>
              <a:gd name="connsiteY88" fmla="*/ 47231 h 110081"/>
              <a:gd name="connsiteX89" fmla="*/ 402190 w 621555"/>
              <a:gd name="connsiteY89" fmla="*/ 47231 h 110081"/>
              <a:gd name="connsiteX90" fmla="*/ 402937 w 621555"/>
              <a:gd name="connsiteY90" fmla="*/ 95893 h 110081"/>
              <a:gd name="connsiteX91" fmla="*/ 421301 w 621555"/>
              <a:gd name="connsiteY91" fmla="*/ 92035 h 110081"/>
              <a:gd name="connsiteX92" fmla="*/ 428335 w 621555"/>
              <a:gd name="connsiteY92" fmla="*/ 77972 h 110081"/>
              <a:gd name="connsiteX93" fmla="*/ 421799 w 621555"/>
              <a:gd name="connsiteY93" fmla="*/ 63908 h 110081"/>
              <a:gd name="connsiteX94" fmla="*/ 401319 w 621555"/>
              <a:gd name="connsiteY94" fmla="*/ 59926 h 110081"/>
              <a:gd name="connsiteX95" fmla="*/ 380964 w 621555"/>
              <a:gd name="connsiteY95" fmla="*/ 59926 h 110081"/>
              <a:gd name="connsiteX96" fmla="*/ 380964 w 621555"/>
              <a:gd name="connsiteY96" fmla="*/ 95893 h 110081"/>
              <a:gd name="connsiteX97" fmla="*/ 402937 w 621555"/>
              <a:gd name="connsiteY97" fmla="*/ 95893 h 110081"/>
              <a:gd name="connsiteX98" fmla="*/ 455600 w 621555"/>
              <a:gd name="connsiteY98" fmla="*/ 35844 h 110081"/>
              <a:gd name="connsiteX99" fmla="*/ 460269 w 621555"/>
              <a:gd name="connsiteY99" fmla="*/ 17051 h 110081"/>
              <a:gd name="connsiteX100" fmla="*/ 473092 w 621555"/>
              <a:gd name="connsiteY100" fmla="*/ 4480 h 110081"/>
              <a:gd name="connsiteX101" fmla="*/ 491144 w 621555"/>
              <a:gd name="connsiteY101" fmla="*/ 0 h 110081"/>
              <a:gd name="connsiteX102" fmla="*/ 512807 w 621555"/>
              <a:gd name="connsiteY102" fmla="*/ 5849 h 110081"/>
              <a:gd name="connsiteX103" fmla="*/ 524946 w 621555"/>
              <a:gd name="connsiteY103" fmla="*/ 21842 h 110081"/>
              <a:gd name="connsiteX104" fmla="*/ 528681 w 621555"/>
              <a:gd name="connsiteY104" fmla="*/ 45426 h 110081"/>
              <a:gd name="connsiteX105" fmla="*/ 524012 w 621555"/>
              <a:gd name="connsiteY105" fmla="*/ 80088 h 110081"/>
              <a:gd name="connsiteX106" fmla="*/ 509694 w 621555"/>
              <a:gd name="connsiteY106" fmla="*/ 102303 h 110081"/>
              <a:gd name="connsiteX107" fmla="*/ 485169 w 621555"/>
              <a:gd name="connsiteY107" fmla="*/ 110082 h 110081"/>
              <a:gd name="connsiteX108" fmla="*/ 462198 w 621555"/>
              <a:gd name="connsiteY108" fmla="*/ 104543 h 110081"/>
              <a:gd name="connsiteX109" fmla="*/ 462198 w 621555"/>
              <a:gd name="connsiteY109" fmla="*/ 91413 h 110081"/>
              <a:gd name="connsiteX110" fmla="*/ 485169 w 621555"/>
              <a:gd name="connsiteY110" fmla="*/ 98010 h 110081"/>
              <a:gd name="connsiteX111" fmla="*/ 500731 w 621555"/>
              <a:gd name="connsiteY111" fmla="*/ 92907 h 110081"/>
              <a:gd name="connsiteX112" fmla="*/ 510441 w 621555"/>
              <a:gd name="connsiteY112" fmla="*/ 79154 h 110081"/>
              <a:gd name="connsiteX113" fmla="*/ 514799 w 621555"/>
              <a:gd name="connsiteY113" fmla="*/ 59739 h 110081"/>
              <a:gd name="connsiteX114" fmla="*/ 503719 w 621555"/>
              <a:gd name="connsiteY114" fmla="*/ 68389 h 110081"/>
              <a:gd name="connsiteX115" fmla="*/ 489837 w 621555"/>
              <a:gd name="connsiteY115" fmla="*/ 71127 h 110081"/>
              <a:gd name="connsiteX116" fmla="*/ 472470 w 621555"/>
              <a:gd name="connsiteY116" fmla="*/ 67082 h 110081"/>
              <a:gd name="connsiteX117" fmla="*/ 460082 w 621555"/>
              <a:gd name="connsiteY117" fmla="*/ 55134 h 110081"/>
              <a:gd name="connsiteX118" fmla="*/ 455600 w 621555"/>
              <a:gd name="connsiteY118" fmla="*/ 35844 h 110081"/>
              <a:gd name="connsiteX119" fmla="*/ 491642 w 621555"/>
              <a:gd name="connsiteY119" fmla="*/ 12134 h 110081"/>
              <a:gd name="connsiteX120" fmla="*/ 480873 w 621555"/>
              <a:gd name="connsiteY120" fmla="*/ 14810 h 110081"/>
              <a:gd name="connsiteX121" fmla="*/ 472781 w 621555"/>
              <a:gd name="connsiteY121" fmla="*/ 22589 h 110081"/>
              <a:gd name="connsiteX122" fmla="*/ 469793 w 621555"/>
              <a:gd name="connsiteY122" fmla="*/ 35532 h 110081"/>
              <a:gd name="connsiteX123" fmla="*/ 472781 w 621555"/>
              <a:gd name="connsiteY123" fmla="*/ 48725 h 110081"/>
              <a:gd name="connsiteX124" fmla="*/ 480438 w 621555"/>
              <a:gd name="connsiteY124" fmla="*/ 56752 h 110081"/>
              <a:gd name="connsiteX125" fmla="*/ 490148 w 621555"/>
              <a:gd name="connsiteY125" fmla="*/ 59428 h 110081"/>
              <a:gd name="connsiteX126" fmla="*/ 506582 w 621555"/>
              <a:gd name="connsiteY126" fmla="*/ 53329 h 110081"/>
              <a:gd name="connsiteX127" fmla="*/ 513305 w 621555"/>
              <a:gd name="connsiteY127" fmla="*/ 35283 h 110081"/>
              <a:gd name="connsiteX128" fmla="*/ 507454 w 621555"/>
              <a:gd name="connsiteY128" fmla="*/ 18544 h 110081"/>
              <a:gd name="connsiteX129" fmla="*/ 491642 w 621555"/>
              <a:gd name="connsiteY129" fmla="*/ 12134 h 110081"/>
              <a:gd name="connsiteX130" fmla="*/ 545363 w 621555"/>
              <a:gd name="connsiteY130" fmla="*/ 1493 h 110081"/>
              <a:gd name="connsiteX131" fmla="*/ 581655 w 621555"/>
              <a:gd name="connsiteY131" fmla="*/ 1493 h 110081"/>
              <a:gd name="connsiteX132" fmla="*/ 608421 w 621555"/>
              <a:gd name="connsiteY132" fmla="*/ 7467 h 110081"/>
              <a:gd name="connsiteX133" fmla="*/ 617696 w 621555"/>
              <a:gd name="connsiteY133" fmla="*/ 27629 h 110081"/>
              <a:gd name="connsiteX134" fmla="*/ 611845 w 621555"/>
              <a:gd name="connsiteY134" fmla="*/ 45116 h 110081"/>
              <a:gd name="connsiteX135" fmla="*/ 596345 w 621555"/>
              <a:gd name="connsiteY135" fmla="*/ 53018 h 110081"/>
              <a:gd name="connsiteX136" fmla="*/ 615145 w 621555"/>
              <a:gd name="connsiteY136" fmla="*/ 60361 h 110081"/>
              <a:gd name="connsiteX137" fmla="*/ 621556 w 621555"/>
              <a:gd name="connsiteY137" fmla="*/ 77661 h 110081"/>
              <a:gd name="connsiteX138" fmla="*/ 616327 w 621555"/>
              <a:gd name="connsiteY138" fmla="*/ 95583 h 110081"/>
              <a:gd name="connsiteX139" fmla="*/ 602010 w 621555"/>
              <a:gd name="connsiteY139" fmla="*/ 105601 h 110081"/>
              <a:gd name="connsiteX140" fmla="*/ 581405 w 621555"/>
              <a:gd name="connsiteY140" fmla="*/ 108588 h 110081"/>
              <a:gd name="connsiteX141" fmla="*/ 545363 w 621555"/>
              <a:gd name="connsiteY141" fmla="*/ 108588 h 110081"/>
              <a:gd name="connsiteX142" fmla="*/ 545363 w 621555"/>
              <a:gd name="connsiteY142" fmla="*/ 1493 h 110081"/>
              <a:gd name="connsiteX143" fmla="*/ 580658 w 621555"/>
              <a:gd name="connsiteY143" fmla="*/ 47231 h 110081"/>
              <a:gd name="connsiteX144" fmla="*/ 597092 w 621555"/>
              <a:gd name="connsiteY144" fmla="*/ 42751 h 110081"/>
              <a:gd name="connsiteX145" fmla="*/ 603504 w 621555"/>
              <a:gd name="connsiteY145" fmla="*/ 28376 h 110081"/>
              <a:gd name="connsiteX146" fmla="*/ 597839 w 621555"/>
              <a:gd name="connsiteY146" fmla="*/ 17361 h 110081"/>
              <a:gd name="connsiteX147" fmla="*/ 581655 w 621555"/>
              <a:gd name="connsiteY147" fmla="*/ 14374 h 110081"/>
              <a:gd name="connsiteX148" fmla="*/ 559431 w 621555"/>
              <a:gd name="connsiteY148" fmla="*/ 14374 h 110081"/>
              <a:gd name="connsiteX149" fmla="*/ 559431 w 621555"/>
              <a:gd name="connsiteY149" fmla="*/ 47231 h 110081"/>
              <a:gd name="connsiteX150" fmla="*/ 580658 w 621555"/>
              <a:gd name="connsiteY150" fmla="*/ 47231 h 110081"/>
              <a:gd name="connsiteX151" fmla="*/ 581405 w 621555"/>
              <a:gd name="connsiteY151" fmla="*/ 95893 h 110081"/>
              <a:gd name="connsiteX152" fmla="*/ 599768 w 621555"/>
              <a:gd name="connsiteY152" fmla="*/ 92035 h 110081"/>
              <a:gd name="connsiteX153" fmla="*/ 606803 w 621555"/>
              <a:gd name="connsiteY153" fmla="*/ 77972 h 110081"/>
              <a:gd name="connsiteX154" fmla="*/ 600205 w 621555"/>
              <a:gd name="connsiteY154" fmla="*/ 63908 h 110081"/>
              <a:gd name="connsiteX155" fmla="*/ 579725 w 621555"/>
              <a:gd name="connsiteY155" fmla="*/ 59926 h 110081"/>
              <a:gd name="connsiteX156" fmla="*/ 559431 w 621555"/>
              <a:gd name="connsiteY156" fmla="*/ 59926 h 110081"/>
              <a:gd name="connsiteX157" fmla="*/ 559431 w 621555"/>
              <a:gd name="connsiteY157" fmla="*/ 95893 h 110081"/>
              <a:gd name="connsiteX158" fmla="*/ 581405 w 621555"/>
              <a:gd name="connsiteY15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621555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988" y="1493"/>
                </a:lnTo>
                <a:lnTo>
                  <a:pt x="343988" y="14374"/>
                </a:lnTo>
                <a:lnTo>
                  <a:pt x="291698" y="14374"/>
                </a:lnTo>
                <a:lnTo>
                  <a:pt x="291698" y="46734"/>
                </a:lnTo>
                <a:lnTo>
                  <a:pt x="336082" y="46734"/>
                </a:lnTo>
                <a:lnTo>
                  <a:pt x="336082" y="59428"/>
                </a:lnTo>
                <a:lnTo>
                  <a:pt x="291698" y="59428"/>
                </a:lnTo>
                <a:lnTo>
                  <a:pt x="291698" y="95893"/>
                </a:lnTo>
                <a:lnTo>
                  <a:pt x="344735" y="95893"/>
                </a:lnTo>
                <a:lnTo>
                  <a:pt x="344735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66958" y="1493"/>
                </a:moveTo>
                <a:lnTo>
                  <a:pt x="403249" y="1493"/>
                </a:lnTo>
                <a:cubicBezTo>
                  <a:pt x="415014" y="1493"/>
                  <a:pt x="423915" y="3484"/>
                  <a:pt x="430016" y="7467"/>
                </a:cubicBezTo>
                <a:cubicBezTo>
                  <a:pt x="436179" y="11450"/>
                  <a:pt x="439229" y="18170"/>
                  <a:pt x="439229" y="27629"/>
                </a:cubicBezTo>
                <a:cubicBezTo>
                  <a:pt x="439229" y="35283"/>
                  <a:pt x="437299" y="41133"/>
                  <a:pt x="433439" y="45116"/>
                </a:cubicBezTo>
                <a:cubicBezTo>
                  <a:pt x="429518" y="48974"/>
                  <a:pt x="424351" y="51649"/>
                  <a:pt x="417877" y="53018"/>
                </a:cubicBezTo>
                <a:cubicBezTo>
                  <a:pt x="426157" y="54014"/>
                  <a:pt x="432443" y="56441"/>
                  <a:pt x="436739" y="60361"/>
                </a:cubicBezTo>
                <a:cubicBezTo>
                  <a:pt x="440971" y="64157"/>
                  <a:pt x="443151" y="69882"/>
                  <a:pt x="443151" y="77661"/>
                </a:cubicBezTo>
                <a:cubicBezTo>
                  <a:pt x="443151" y="85066"/>
                  <a:pt x="441408" y="91040"/>
                  <a:pt x="437921" y="95583"/>
                </a:cubicBezTo>
                <a:cubicBezTo>
                  <a:pt x="434436" y="100188"/>
                  <a:pt x="429642" y="103486"/>
                  <a:pt x="423542" y="105601"/>
                </a:cubicBezTo>
                <a:cubicBezTo>
                  <a:pt x="417504" y="107592"/>
                  <a:pt x="410595" y="108588"/>
                  <a:pt x="402937" y="108588"/>
                </a:cubicBezTo>
                <a:lnTo>
                  <a:pt x="366958" y="108588"/>
                </a:lnTo>
                <a:lnTo>
                  <a:pt x="366958" y="1493"/>
                </a:lnTo>
                <a:close/>
                <a:moveTo>
                  <a:pt x="402190" y="47231"/>
                </a:moveTo>
                <a:cubicBezTo>
                  <a:pt x="408976" y="47231"/>
                  <a:pt x="414454" y="45738"/>
                  <a:pt x="418624" y="42751"/>
                </a:cubicBezTo>
                <a:cubicBezTo>
                  <a:pt x="422920" y="39639"/>
                  <a:pt x="425036" y="34848"/>
                  <a:pt x="425036" y="28376"/>
                </a:cubicBezTo>
                <a:cubicBezTo>
                  <a:pt x="425036" y="22900"/>
                  <a:pt x="423168" y="19228"/>
                  <a:pt x="419371" y="17361"/>
                </a:cubicBezTo>
                <a:cubicBezTo>
                  <a:pt x="415574" y="15370"/>
                  <a:pt x="410221" y="14374"/>
                  <a:pt x="403249" y="14374"/>
                </a:cubicBezTo>
                <a:lnTo>
                  <a:pt x="380964" y="14374"/>
                </a:lnTo>
                <a:lnTo>
                  <a:pt x="380964" y="47231"/>
                </a:lnTo>
                <a:lnTo>
                  <a:pt x="402190" y="47231"/>
                </a:lnTo>
                <a:close/>
                <a:moveTo>
                  <a:pt x="402937" y="95893"/>
                </a:moveTo>
                <a:cubicBezTo>
                  <a:pt x="410532" y="95893"/>
                  <a:pt x="416633" y="94587"/>
                  <a:pt x="421301" y="92035"/>
                </a:cubicBezTo>
                <a:cubicBezTo>
                  <a:pt x="426032" y="89422"/>
                  <a:pt x="428335" y="84755"/>
                  <a:pt x="428335" y="77972"/>
                </a:cubicBezTo>
                <a:cubicBezTo>
                  <a:pt x="428335" y="71189"/>
                  <a:pt x="426157" y="66522"/>
                  <a:pt x="421799" y="63908"/>
                </a:cubicBezTo>
                <a:cubicBezTo>
                  <a:pt x="417504" y="61233"/>
                  <a:pt x="410656" y="59926"/>
                  <a:pt x="401319" y="59926"/>
                </a:cubicBezTo>
                <a:lnTo>
                  <a:pt x="380964" y="59926"/>
                </a:lnTo>
                <a:lnTo>
                  <a:pt x="380964" y="95893"/>
                </a:lnTo>
                <a:lnTo>
                  <a:pt x="402937" y="95893"/>
                </a:lnTo>
                <a:close/>
                <a:moveTo>
                  <a:pt x="455600" y="35844"/>
                </a:moveTo>
                <a:cubicBezTo>
                  <a:pt x="455600" y="28687"/>
                  <a:pt x="457157" y="22402"/>
                  <a:pt x="460269" y="17051"/>
                </a:cubicBezTo>
                <a:cubicBezTo>
                  <a:pt x="463444" y="11637"/>
                  <a:pt x="467739" y="7467"/>
                  <a:pt x="473092" y="4480"/>
                </a:cubicBezTo>
                <a:cubicBezTo>
                  <a:pt x="478445" y="1493"/>
                  <a:pt x="484484" y="0"/>
                  <a:pt x="491144" y="0"/>
                </a:cubicBezTo>
                <a:cubicBezTo>
                  <a:pt x="500108" y="0"/>
                  <a:pt x="507329" y="1929"/>
                  <a:pt x="512807" y="5849"/>
                </a:cubicBezTo>
                <a:cubicBezTo>
                  <a:pt x="518409" y="9645"/>
                  <a:pt x="522456" y="14934"/>
                  <a:pt x="524946" y="21842"/>
                </a:cubicBezTo>
                <a:cubicBezTo>
                  <a:pt x="527435" y="28563"/>
                  <a:pt x="528681" y="36466"/>
                  <a:pt x="528681" y="45426"/>
                </a:cubicBezTo>
                <a:cubicBezTo>
                  <a:pt x="528681" y="58868"/>
                  <a:pt x="527124" y="70380"/>
                  <a:pt x="524012" y="80088"/>
                </a:cubicBezTo>
                <a:cubicBezTo>
                  <a:pt x="520962" y="89733"/>
                  <a:pt x="516169" y="97138"/>
                  <a:pt x="509694" y="102303"/>
                </a:cubicBezTo>
                <a:cubicBezTo>
                  <a:pt x="503345" y="107468"/>
                  <a:pt x="495128" y="110082"/>
                  <a:pt x="485169" y="110082"/>
                </a:cubicBezTo>
                <a:cubicBezTo>
                  <a:pt x="476204" y="110082"/>
                  <a:pt x="468548" y="108215"/>
                  <a:pt x="462198" y="104543"/>
                </a:cubicBezTo>
                <a:lnTo>
                  <a:pt x="462198" y="91413"/>
                </a:lnTo>
                <a:cubicBezTo>
                  <a:pt x="468983" y="95769"/>
                  <a:pt x="476641" y="98010"/>
                  <a:pt x="485169" y="98010"/>
                </a:cubicBezTo>
                <a:cubicBezTo>
                  <a:pt x="491394" y="98010"/>
                  <a:pt x="496560" y="96267"/>
                  <a:pt x="500731" y="92907"/>
                </a:cubicBezTo>
                <a:cubicBezTo>
                  <a:pt x="504901" y="89546"/>
                  <a:pt x="508138" y="84941"/>
                  <a:pt x="510441" y="79154"/>
                </a:cubicBezTo>
                <a:cubicBezTo>
                  <a:pt x="512807" y="73367"/>
                  <a:pt x="514301" y="66896"/>
                  <a:pt x="514799" y="59739"/>
                </a:cubicBezTo>
                <a:cubicBezTo>
                  <a:pt x="511687" y="63660"/>
                  <a:pt x="508014" y="66522"/>
                  <a:pt x="503719" y="68389"/>
                </a:cubicBezTo>
                <a:cubicBezTo>
                  <a:pt x="499423" y="70193"/>
                  <a:pt x="494817" y="71127"/>
                  <a:pt x="489837" y="71127"/>
                </a:cubicBezTo>
                <a:cubicBezTo>
                  <a:pt x="483426" y="71127"/>
                  <a:pt x="477698" y="69758"/>
                  <a:pt x="472470" y="67082"/>
                </a:cubicBezTo>
                <a:cubicBezTo>
                  <a:pt x="467303" y="64406"/>
                  <a:pt x="463195" y="60424"/>
                  <a:pt x="460082" y="55134"/>
                </a:cubicBezTo>
                <a:cubicBezTo>
                  <a:pt x="457094" y="49845"/>
                  <a:pt x="455600" y="43435"/>
                  <a:pt x="455600" y="35844"/>
                </a:cubicBezTo>
                <a:close/>
                <a:moveTo>
                  <a:pt x="491642" y="12134"/>
                </a:moveTo>
                <a:cubicBezTo>
                  <a:pt x="487845" y="12134"/>
                  <a:pt x="484235" y="13006"/>
                  <a:pt x="480873" y="14810"/>
                </a:cubicBezTo>
                <a:cubicBezTo>
                  <a:pt x="477574" y="16490"/>
                  <a:pt x="474897" y="19104"/>
                  <a:pt x="472781" y="22589"/>
                </a:cubicBezTo>
                <a:cubicBezTo>
                  <a:pt x="470789" y="25949"/>
                  <a:pt x="469793" y="30305"/>
                  <a:pt x="469793" y="35532"/>
                </a:cubicBezTo>
                <a:cubicBezTo>
                  <a:pt x="469793" y="40759"/>
                  <a:pt x="470789" y="45116"/>
                  <a:pt x="472781" y="48725"/>
                </a:cubicBezTo>
                <a:cubicBezTo>
                  <a:pt x="474773" y="52271"/>
                  <a:pt x="477325" y="54947"/>
                  <a:pt x="480438" y="56752"/>
                </a:cubicBezTo>
                <a:cubicBezTo>
                  <a:pt x="483488" y="58556"/>
                  <a:pt x="486725" y="59428"/>
                  <a:pt x="490148" y="59428"/>
                </a:cubicBezTo>
                <a:cubicBezTo>
                  <a:pt x="496685" y="59428"/>
                  <a:pt x="502163" y="57437"/>
                  <a:pt x="506582" y="53329"/>
                </a:cubicBezTo>
                <a:cubicBezTo>
                  <a:pt x="511064" y="49160"/>
                  <a:pt x="513305" y="43124"/>
                  <a:pt x="513305" y="35283"/>
                </a:cubicBezTo>
                <a:cubicBezTo>
                  <a:pt x="513305" y="28313"/>
                  <a:pt x="511313" y="22713"/>
                  <a:pt x="507454" y="18544"/>
                </a:cubicBezTo>
                <a:cubicBezTo>
                  <a:pt x="503594" y="14250"/>
                  <a:pt x="498303" y="12134"/>
                  <a:pt x="491642" y="12134"/>
                </a:cubicBezTo>
                <a:close/>
                <a:moveTo>
                  <a:pt x="545363" y="1493"/>
                </a:moveTo>
                <a:lnTo>
                  <a:pt x="581655" y="1493"/>
                </a:lnTo>
                <a:cubicBezTo>
                  <a:pt x="593420" y="1493"/>
                  <a:pt x="602321" y="3484"/>
                  <a:pt x="608421" y="7467"/>
                </a:cubicBezTo>
                <a:cubicBezTo>
                  <a:pt x="614584" y="11450"/>
                  <a:pt x="617696" y="18170"/>
                  <a:pt x="617696" y="27629"/>
                </a:cubicBezTo>
                <a:cubicBezTo>
                  <a:pt x="617696" y="35283"/>
                  <a:pt x="615767" y="41133"/>
                  <a:pt x="611845" y="45116"/>
                </a:cubicBezTo>
                <a:cubicBezTo>
                  <a:pt x="607986" y="48974"/>
                  <a:pt x="602819" y="51649"/>
                  <a:pt x="596345" y="53018"/>
                </a:cubicBezTo>
                <a:cubicBezTo>
                  <a:pt x="604562" y="54014"/>
                  <a:pt x="610849" y="56441"/>
                  <a:pt x="615145" y="60361"/>
                </a:cubicBezTo>
                <a:cubicBezTo>
                  <a:pt x="619439" y="64157"/>
                  <a:pt x="621556" y="69882"/>
                  <a:pt x="621556" y="77661"/>
                </a:cubicBezTo>
                <a:cubicBezTo>
                  <a:pt x="621556" y="85066"/>
                  <a:pt x="619813" y="91040"/>
                  <a:pt x="616327" y="95583"/>
                </a:cubicBezTo>
                <a:cubicBezTo>
                  <a:pt x="612841" y="100188"/>
                  <a:pt x="608048" y="103486"/>
                  <a:pt x="602010" y="105601"/>
                </a:cubicBezTo>
                <a:cubicBezTo>
                  <a:pt x="595909" y="107592"/>
                  <a:pt x="589062" y="108588"/>
                  <a:pt x="581405" y="108588"/>
                </a:cubicBezTo>
                <a:lnTo>
                  <a:pt x="545363" y="108588"/>
                </a:lnTo>
                <a:lnTo>
                  <a:pt x="545363" y="1493"/>
                </a:lnTo>
                <a:close/>
                <a:moveTo>
                  <a:pt x="580658" y="47231"/>
                </a:moveTo>
                <a:cubicBezTo>
                  <a:pt x="587381" y="47231"/>
                  <a:pt x="592859" y="45738"/>
                  <a:pt x="597092" y="42751"/>
                </a:cubicBezTo>
                <a:cubicBezTo>
                  <a:pt x="601325" y="39639"/>
                  <a:pt x="603504" y="34848"/>
                  <a:pt x="603504" y="28376"/>
                </a:cubicBezTo>
                <a:cubicBezTo>
                  <a:pt x="603504" y="22900"/>
                  <a:pt x="601574" y="19228"/>
                  <a:pt x="597839" y="17361"/>
                </a:cubicBezTo>
                <a:cubicBezTo>
                  <a:pt x="594042" y="15370"/>
                  <a:pt x="588626" y="14374"/>
                  <a:pt x="581655" y="14374"/>
                </a:cubicBezTo>
                <a:lnTo>
                  <a:pt x="559431" y="14374"/>
                </a:lnTo>
                <a:lnTo>
                  <a:pt x="559431" y="47231"/>
                </a:lnTo>
                <a:lnTo>
                  <a:pt x="580658" y="47231"/>
                </a:lnTo>
                <a:close/>
                <a:moveTo>
                  <a:pt x="581405" y="95893"/>
                </a:moveTo>
                <a:cubicBezTo>
                  <a:pt x="588937" y="95893"/>
                  <a:pt x="595100" y="94587"/>
                  <a:pt x="599768" y="92035"/>
                </a:cubicBezTo>
                <a:cubicBezTo>
                  <a:pt x="604437" y="89422"/>
                  <a:pt x="606803" y="84755"/>
                  <a:pt x="606803" y="77972"/>
                </a:cubicBezTo>
                <a:cubicBezTo>
                  <a:pt x="606803" y="71189"/>
                  <a:pt x="604562" y="66522"/>
                  <a:pt x="600205" y="63908"/>
                </a:cubicBezTo>
                <a:cubicBezTo>
                  <a:pt x="595909" y="61233"/>
                  <a:pt x="589124" y="59926"/>
                  <a:pt x="579725" y="59926"/>
                </a:cubicBezTo>
                <a:lnTo>
                  <a:pt x="559431" y="59926"/>
                </a:lnTo>
                <a:lnTo>
                  <a:pt x="559431" y="95893"/>
                </a:lnTo>
                <a:lnTo>
                  <a:pt x="581405" y="958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5" name="Полилиния 1094">
            <a:extLst>
              <a:ext uri="{FF2B5EF4-FFF2-40B4-BE49-F238E27FC236}">
                <a16:creationId xmlns:a16="http://schemas.microsoft.com/office/drawing/2014/main" id="{69926424-E1DB-E279-FE30-AFD201682E89}"/>
              </a:ext>
            </a:extLst>
          </p:cNvPr>
          <p:cNvSpPr/>
          <p:nvPr userDrawn="1"/>
        </p:nvSpPr>
        <p:spPr>
          <a:xfrm>
            <a:off x="21534071" y="8871205"/>
            <a:ext cx="1398954" cy="726227"/>
          </a:xfrm>
          <a:custGeom>
            <a:avLst/>
            <a:gdLst>
              <a:gd name="connsiteX0" fmla="*/ 1275 w 1198727"/>
              <a:gd name="connsiteY0" fmla="*/ 1722 h 622284"/>
              <a:gd name="connsiteX1" fmla="*/ 1200003 w 1198727"/>
              <a:gd name="connsiteY1" fmla="*/ 1722 h 622284"/>
              <a:gd name="connsiteX2" fmla="*/ 1200003 w 1198727"/>
              <a:gd name="connsiteY2" fmla="*/ 624006 h 622284"/>
              <a:gd name="connsiteX3" fmla="*/ 1275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722"/>
                </a:moveTo>
                <a:lnTo>
                  <a:pt x="1200003" y="1722"/>
                </a:lnTo>
                <a:lnTo>
                  <a:pt x="1200003" y="624006"/>
                </a:lnTo>
                <a:lnTo>
                  <a:pt x="1275" y="624006"/>
                </a:lnTo>
                <a:close/>
              </a:path>
            </a:pathLst>
          </a:custGeom>
          <a:solidFill>
            <a:srgbClr val="FFF0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6" name="Полилиния 1095">
            <a:extLst>
              <a:ext uri="{FF2B5EF4-FFF2-40B4-BE49-F238E27FC236}">
                <a16:creationId xmlns:a16="http://schemas.microsoft.com/office/drawing/2014/main" id="{9A66479A-13C5-6F7C-9091-F3A59E655366}"/>
              </a:ext>
            </a:extLst>
          </p:cNvPr>
          <p:cNvSpPr/>
          <p:nvPr userDrawn="1"/>
        </p:nvSpPr>
        <p:spPr>
          <a:xfrm>
            <a:off x="21657280" y="9173169"/>
            <a:ext cx="716078" cy="128252"/>
          </a:xfrm>
          <a:custGeom>
            <a:avLst/>
            <a:gdLst>
              <a:gd name="connsiteX0" fmla="*/ 22099 w 613588"/>
              <a:gd name="connsiteY0" fmla="*/ 108402 h 109895"/>
              <a:gd name="connsiteX1" fmla="*/ 10147 w 613588"/>
              <a:gd name="connsiteY1" fmla="*/ 108402 h 109895"/>
              <a:gd name="connsiteX2" fmla="*/ 16434 w 613588"/>
              <a:gd name="connsiteY2" fmla="*/ 77475 h 109895"/>
              <a:gd name="connsiteX3" fmla="*/ 0 w 613588"/>
              <a:gd name="connsiteY3" fmla="*/ 77475 h 109895"/>
              <a:gd name="connsiteX4" fmla="*/ 0 w 613588"/>
              <a:gd name="connsiteY4" fmla="*/ 67020 h 109895"/>
              <a:gd name="connsiteX5" fmla="*/ 18675 w 613588"/>
              <a:gd name="connsiteY5" fmla="*/ 67020 h 109895"/>
              <a:gd name="connsiteX6" fmla="*/ 24215 w 613588"/>
              <a:gd name="connsiteY6" fmla="*/ 39826 h 109895"/>
              <a:gd name="connsiteX7" fmla="*/ 4046 w 613588"/>
              <a:gd name="connsiteY7" fmla="*/ 39826 h 109895"/>
              <a:gd name="connsiteX8" fmla="*/ 4046 w 613588"/>
              <a:gd name="connsiteY8" fmla="*/ 29372 h 109895"/>
              <a:gd name="connsiteX9" fmla="*/ 26269 w 613588"/>
              <a:gd name="connsiteY9" fmla="*/ 29372 h 109895"/>
              <a:gd name="connsiteX10" fmla="*/ 32121 w 613588"/>
              <a:gd name="connsiteY10" fmla="*/ 1307 h 109895"/>
              <a:gd name="connsiteX11" fmla="*/ 44073 w 613588"/>
              <a:gd name="connsiteY11" fmla="*/ 1307 h 109895"/>
              <a:gd name="connsiteX12" fmla="*/ 38221 w 613588"/>
              <a:gd name="connsiteY12" fmla="*/ 29372 h 109895"/>
              <a:gd name="connsiteX13" fmla="*/ 60630 w 613588"/>
              <a:gd name="connsiteY13" fmla="*/ 29372 h 109895"/>
              <a:gd name="connsiteX14" fmla="*/ 66482 w 613588"/>
              <a:gd name="connsiteY14" fmla="*/ 1307 h 109895"/>
              <a:gd name="connsiteX15" fmla="*/ 78434 w 613588"/>
              <a:gd name="connsiteY15" fmla="*/ 1307 h 109895"/>
              <a:gd name="connsiteX16" fmla="*/ 72582 w 613588"/>
              <a:gd name="connsiteY16" fmla="*/ 29372 h 109895"/>
              <a:gd name="connsiteX17" fmla="*/ 89327 w 613588"/>
              <a:gd name="connsiteY17" fmla="*/ 29372 h 109895"/>
              <a:gd name="connsiteX18" fmla="*/ 89327 w 613588"/>
              <a:gd name="connsiteY18" fmla="*/ 39826 h 109895"/>
              <a:gd name="connsiteX19" fmla="*/ 70529 w 613588"/>
              <a:gd name="connsiteY19" fmla="*/ 39826 h 109895"/>
              <a:gd name="connsiteX20" fmla="*/ 64988 w 613588"/>
              <a:gd name="connsiteY20" fmla="*/ 67020 h 109895"/>
              <a:gd name="connsiteX21" fmla="*/ 85282 w 613588"/>
              <a:gd name="connsiteY21" fmla="*/ 67020 h 109895"/>
              <a:gd name="connsiteX22" fmla="*/ 85282 w 613588"/>
              <a:gd name="connsiteY22" fmla="*/ 77475 h 109895"/>
              <a:gd name="connsiteX23" fmla="*/ 62747 w 613588"/>
              <a:gd name="connsiteY23" fmla="*/ 77475 h 109895"/>
              <a:gd name="connsiteX24" fmla="*/ 56460 w 613588"/>
              <a:gd name="connsiteY24" fmla="*/ 108402 h 109895"/>
              <a:gd name="connsiteX25" fmla="*/ 44508 w 613588"/>
              <a:gd name="connsiteY25" fmla="*/ 108402 h 109895"/>
              <a:gd name="connsiteX26" fmla="*/ 50795 w 613588"/>
              <a:gd name="connsiteY26" fmla="*/ 77475 h 109895"/>
              <a:gd name="connsiteX27" fmla="*/ 28386 w 613588"/>
              <a:gd name="connsiteY27" fmla="*/ 77475 h 109895"/>
              <a:gd name="connsiteX28" fmla="*/ 22099 w 613588"/>
              <a:gd name="connsiteY28" fmla="*/ 108402 h 109895"/>
              <a:gd name="connsiteX29" fmla="*/ 30627 w 613588"/>
              <a:gd name="connsiteY29" fmla="*/ 67020 h 109895"/>
              <a:gd name="connsiteX30" fmla="*/ 53036 w 613588"/>
              <a:gd name="connsiteY30" fmla="*/ 67020 h 109895"/>
              <a:gd name="connsiteX31" fmla="*/ 58576 w 613588"/>
              <a:gd name="connsiteY31" fmla="*/ 39826 h 109895"/>
              <a:gd name="connsiteX32" fmla="*/ 36167 w 613588"/>
              <a:gd name="connsiteY32" fmla="*/ 39826 h 109895"/>
              <a:gd name="connsiteX33" fmla="*/ 30627 w 613588"/>
              <a:gd name="connsiteY33" fmla="*/ 67020 h 109895"/>
              <a:gd name="connsiteX34" fmla="*/ 107816 w 613588"/>
              <a:gd name="connsiteY34" fmla="*/ 1307 h 109895"/>
              <a:gd name="connsiteX35" fmla="*/ 173239 w 613588"/>
              <a:gd name="connsiteY35" fmla="*/ 1307 h 109895"/>
              <a:gd name="connsiteX36" fmla="*/ 173239 w 613588"/>
              <a:gd name="connsiteY36" fmla="*/ 14188 h 109895"/>
              <a:gd name="connsiteX37" fmla="*/ 121884 w 613588"/>
              <a:gd name="connsiteY37" fmla="*/ 14188 h 109895"/>
              <a:gd name="connsiteX38" fmla="*/ 121884 w 613588"/>
              <a:gd name="connsiteY38" fmla="*/ 49720 h 109895"/>
              <a:gd name="connsiteX39" fmla="*/ 165520 w 613588"/>
              <a:gd name="connsiteY39" fmla="*/ 49720 h 109895"/>
              <a:gd name="connsiteX40" fmla="*/ 165520 w 613588"/>
              <a:gd name="connsiteY40" fmla="*/ 62415 h 109895"/>
              <a:gd name="connsiteX41" fmla="*/ 121884 w 613588"/>
              <a:gd name="connsiteY41" fmla="*/ 62415 h 109895"/>
              <a:gd name="connsiteX42" fmla="*/ 121884 w 613588"/>
              <a:gd name="connsiteY42" fmla="*/ 108402 h 109895"/>
              <a:gd name="connsiteX43" fmla="*/ 107816 w 613588"/>
              <a:gd name="connsiteY43" fmla="*/ 108402 h 109895"/>
              <a:gd name="connsiteX44" fmla="*/ 107816 w 613588"/>
              <a:gd name="connsiteY44" fmla="*/ 1307 h 109895"/>
              <a:gd name="connsiteX45" fmla="*/ 192723 w 613588"/>
              <a:gd name="connsiteY45" fmla="*/ 1307 h 109895"/>
              <a:gd name="connsiteX46" fmla="*/ 258146 w 613588"/>
              <a:gd name="connsiteY46" fmla="*/ 1307 h 109895"/>
              <a:gd name="connsiteX47" fmla="*/ 258146 w 613588"/>
              <a:gd name="connsiteY47" fmla="*/ 14188 h 109895"/>
              <a:gd name="connsiteX48" fmla="*/ 206791 w 613588"/>
              <a:gd name="connsiteY48" fmla="*/ 14188 h 109895"/>
              <a:gd name="connsiteX49" fmla="*/ 206791 w 613588"/>
              <a:gd name="connsiteY49" fmla="*/ 49720 h 109895"/>
              <a:gd name="connsiteX50" fmla="*/ 250427 w 613588"/>
              <a:gd name="connsiteY50" fmla="*/ 49720 h 109895"/>
              <a:gd name="connsiteX51" fmla="*/ 250427 w 613588"/>
              <a:gd name="connsiteY51" fmla="*/ 62415 h 109895"/>
              <a:gd name="connsiteX52" fmla="*/ 206791 w 613588"/>
              <a:gd name="connsiteY52" fmla="*/ 62415 h 109895"/>
              <a:gd name="connsiteX53" fmla="*/ 206791 w 613588"/>
              <a:gd name="connsiteY53" fmla="*/ 108402 h 109895"/>
              <a:gd name="connsiteX54" fmla="*/ 192723 w 613588"/>
              <a:gd name="connsiteY54" fmla="*/ 108402 h 109895"/>
              <a:gd name="connsiteX55" fmla="*/ 192723 w 613588"/>
              <a:gd name="connsiteY55" fmla="*/ 1307 h 109895"/>
              <a:gd name="connsiteX56" fmla="*/ 277630 w 613588"/>
              <a:gd name="connsiteY56" fmla="*/ 1307 h 109895"/>
              <a:gd name="connsiteX57" fmla="*/ 343116 w 613588"/>
              <a:gd name="connsiteY57" fmla="*/ 1307 h 109895"/>
              <a:gd name="connsiteX58" fmla="*/ 343116 w 613588"/>
              <a:gd name="connsiteY58" fmla="*/ 14188 h 109895"/>
              <a:gd name="connsiteX59" fmla="*/ 291698 w 613588"/>
              <a:gd name="connsiteY59" fmla="*/ 14188 h 109895"/>
              <a:gd name="connsiteX60" fmla="*/ 291698 w 613588"/>
              <a:gd name="connsiteY60" fmla="*/ 49720 h 109895"/>
              <a:gd name="connsiteX61" fmla="*/ 335335 w 613588"/>
              <a:gd name="connsiteY61" fmla="*/ 49720 h 109895"/>
              <a:gd name="connsiteX62" fmla="*/ 335335 w 613588"/>
              <a:gd name="connsiteY62" fmla="*/ 62415 h 109895"/>
              <a:gd name="connsiteX63" fmla="*/ 291698 w 613588"/>
              <a:gd name="connsiteY63" fmla="*/ 62415 h 109895"/>
              <a:gd name="connsiteX64" fmla="*/ 291698 w 613588"/>
              <a:gd name="connsiteY64" fmla="*/ 108402 h 109895"/>
              <a:gd name="connsiteX65" fmla="*/ 277630 w 613588"/>
              <a:gd name="connsiteY65" fmla="*/ 108402 h 109895"/>
              <a:gd name="connsiteX66" fmla="*/ 277630 w 613588"/>
              <a:gd name="connsiteY66" fmla="*/ 1307 h 109895"/>
              <a:gd name="connsiteX67" fmla="*/ 391421 w 613588"/>
              <a:gd name="connsiteY67" fmla="*/ 109896 h 109895"/>
              <a:gd name="connsiteX68" fmla="*/ 373183 w 613588"/>
              <a:gd name="connsiteY68" fmla="*/ 104047 h 109895"/>
              <a:gd name="connsiteX69" fmla="*/ 360484 w 613588"/>
              <a:gd name="connsiteY69" fmla="*/ 86125 h 109895"/>
              <a:gd name="connsiteX70" fmla="*/ 356002 w 613588"/>
              <a:gd name="connsiteY70" fmla="*/ 54761 h 109895"/>
              <a:gd name="connsiteX71" fmla="*/ 360484 w 613588"/>
              <a:gd name="connsiteY71" fmla="*/ 23398 h 109895"/>
              <a:gd name="connsiteX72" fmla="*/ 373183 w 613588"/>
              <a:gd name="connsiteY72" fmla="*/ 5663 h 109895"/>
              <a:gd name="connsiteX73" fmla="*/ 391421 w 613588"/>
              <a:gd name="connsiteY73" fmla="*/ 0 h 109895"/>
              <a:gd name="connsiteX74" fmla="*/ 409474 w 613588"/>
              <a:gd name="connsiteY74" fmla="*/ 5663 h 109895"/>
              <a:gd name="connsiteX75" fmla="*/ 421861 w 613588"/>
              <a:gd name="connsiteY75" fmla="*/ 23398 h 109895"/>
              <a:gd name="connsiteX76" fmla="*/ 426343 w 613588"/>
              <a:gd name="connsiteY76" fmla="*/ 54512 h 109895"/>
              <a:gd name="connsiteX77" fmla="*/ 421861 w 613588"/>
              <a:gd name="connsiteY77" fmla="*/ 85876 h 109895"/>
              <a:gd name="connsiteX78" fmla="*/ 409474 w 613588"/>
              <a:gd name="connsiteY78" fmla="*/ 104047 h 109895"/>
              <a:gd name="connsiteX79" fmla="*/ 391421 w 613588"/>
              <a:gd name="connsiteY79" fmla="*/ 109896 h 109895"/>
              <a:gd name="connsiteX80" fmla="*/ 391235 w 613588"/>
              <a:gd name="connsiteY80" fmla="*/ 98072 h 109895"/>
              <a:gd name="connsiteX81" fmla="*/ 402627 w 613588"/>
              <a:gd name="connsiteY81" fmla="*/ 94089 h 109895"/>
              <a:gd name="connsiteX82" fmla="*/ 409785 w 613588"/>
              <a:gd name="connsiteY82" fmla="*/ 80462 h 109895"/>
              <a:gd name="connsiteX83" fmla="*/ 412337 w 613588"/>
              <a:gd name="connsiteY83" fmla="*/ 54948 h 109895"/>
              <a:gd name="connsiteX84" fmla="*/ 409909 w 613588"/>
              <a:gd name="connsiteY84" fmla="*/ 29559 h 109895"/>
              <a:gd name="connsiteX85" fmla="*/ 402751 w 613588"/>
              <a:gd name="connsiteY85" fmla="*/ 15931 h 109895"/>
              <a:gd name="connsiteX86" fmla="*/ 391421 w 613588"/>
              <a:gd name="connsiteY86" fmla="*/ 11761 h 109895"/>
              <a:gd name="connsiteX87" fmla="*/ 379906 w 613588"/>
              <a:gd name="connsiteY87" fmla="*/ 15931 h 109895"/>
              <a:gd name="connsiteX88" fmla="*/ 372560 w 613588"/>
              <a:gd name="connsiteY88" fmla="*/ 29559 h 109895"/>
              <a:gd name="connsiteX89" fmla="*/ 370008 w 613588"/>
              <a:gd name="connsiteY89" fmla="*/ 54948 h 109895"/>
              <a:gd name="connsiteX90" fmla="*/ 372436 w 613588"/>
              <a:gd name="connsiteY90" fmla="*/ 80462 h 109895"/>
              <a:gd name="connsiteX91" fmla="*/ 379719 w 613588"/>
              <a:gd name="connsiteY91" fmla="*/ 94089 h 109895"/>
              <a:gd name="connsiteX92" fmla="*/ 391235 w 613588"/>
              <a:gd name="connsiteY92" fmla="*/ 98072 h 109895"/>
              <a:gd name="connsiteX93" fmla="*/ 532540 w 613588"/>
              <a:gd name="connsiteY93" fmla="*/ 108402 h 109895"/>
              <a:gd name="connsiteX94" fmla="*/ 517600 w 613588"/>
              <a:gd name="connsiteY94" fmla="*/ 108402 h 109895"/>
              <a:gd name="connsiteX95" fmla="*/ 506582 w 613588"/>
              <a:gd name="connsiteY95" fmla="*/ 77786 h 109895"/>
              <a:gd name="connsiteX96" fmla="*/ 459211 w 613588"/>
              <a:gd name="connsiteY96" fmla="*/ 77786 h 109895"/>
              <a:gd name="connsiteX97" fmla="*/ 448317 w 613588"/>
              <a:gd name="connsiteY97" fmla="*/ 108402 h 109895"/>
              <a:gd name="connsiteX98" fmla="*/ 435120 w 613588"/>
              <a:gd name="connsiteY98" fmla="*/ 108402 h 109895"/>
              <a:gd name="connsiteX99" fmla="*/ 473217 w 613588"/>
              <a:gd name="connsiteY99" fmla="*/ 1307 h 109895"/>
              <a:gd name="connsiteX100" fmla="*/ 494132 w 613588"/>
              <a:gd name="connsiteY100" fmla="*/ 1307 h 109895"/>
              <a:gd name="connsiteX101" fmla="*/ 532540 w 613588"/>
              <a:gd name="connsiteY101" fmla="*/ 108402 h 109895"/>
              <a:gd name="connsiteX102" fmla="*/ 463817 w 613588"/>
              <a:gd name="connsiteY102" fmla="*/ 65091 h 109895"/>
              <a:gd name="connsiteX103" fmla="*/ 502100 w 613588"/>
              <a:gd name="connsiteY103" fmla="*/ 65091 h 109895"/>
              <a:gd name="connsiteX104" fmla="*/ 482928 w 613588"/>
              <a:gd name="connsiteY104" fmla="*/ 11761 h 109895"/>
              <a:gd name="connsiteX105" fmla="*/ 463817 w 613588"/>
              <a:gd name="connsiteY105" fmla="*/ 65091 h 109895"/>
              <a:gd name="connsiteX106" fmla="*/ 548165 w 613588"/>
              <a:gd name="connsiteY106" fmla="*/ 1307 h 109895"/>
              <a:gd name="connsiteX107" fmla="*/ 613588 w 613588"/>
              <a:gd name="connsiteY107" fmla="*/ 1307 h 109895"/>
              <a:gd name="connsiteX108" fmla="*/ 613588 w 613588"/>
              <a:gd name="connsiteY108" fmla="*/ 14188 h 109895"/>
              <a:gd name="connsiteX109" fmla="*/ 562171 w 613588"/>
              <a:gd name="connsiteY109" fmla="*/ 14188 h 109895"/>
              <a:gd name="connsiteX110" fmla="*/ 562171 w 613588"/>
              <a:gd name="connsiteY110" fmla="*/ 49720 h 109895"/>
              <a:gd name="connsiteX111" fmla="*/ 605807 w 613588"/>
              <a:gd name="connsiteY111" fmla="*/ 49720 h 109895"/>
              <a:gd name="connsiteX112" fmla="*/ 605807 w 613588"/>
              <a:gd name="connsiteY112" fmla="*/ 62415 h 109895"/>
              <a:gd name="connsiteX113" fmla="*/ 562171 w 613588"/>
              <a:gd name="connsiteY113" fmla="*/ 62415 h 109895"/>
              <a:gd name="connsiteX114" fmla="*/ 562171 w 613588"/>
              <a:gd name="connsiteY114" fmla="*/ 108402 h 109895"/>
              <a:gd name="connsiteX115" fmla="*/ 548165 w 613588"/>
              <a:gd name="connsiteY115" fmla="*/ 108402 h 109895"/>
              <a:gd name="connsiteX116" fmla="*/ 548165 w 613588"/>
              <a:gd name="connsiteY116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61358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43116" y="1307"/>
                </a:lnTo>
                <a:lnTo>
                  <a:pt x="343116" y="14188"/>
                </a:lnTo>
                <a:lnTo>
                  <a:pt x="291698" y="14188"/>
                </a:lnTo>
                <a:lnTo>
                  <a:pt x="291698" y="49720"/>
                </a:lnTo>
                <a:lnTo>
                  <a:pt x="335335" y="49720"/>
                </a:lnTo>
                <a:lnTo>
                  <a:pt x="335335" y="62415"/>
                </a:lnTo>
                <a:lnTo>
                  <a:pt x="291698" y="62415"/>
                </a:lnTo>
                <a:lnTo>
                  <a:pt x="291698" y="108402"/>
                </a:ln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91421" y="109896"/>
                </a:moveTo>
                <a:cubicBezTo>
                  <a:pt x="384637" y="109896"/>
                  <a:pt x="378536" y="107967"/>
                  <a:pt x="373183" y="104047"/>
                </a:cubicBezTo>
                <a:cubicBezTo>
                  <a:pt x="367767" y="100188"/>
                  <a:pt x="363534" y="94214"/>
                  <a:pt x="360484" y="86125"/>
                </a:cubicBezTo>
                <a:cubicBezTo>
                  <a:pt x="357496" y="77972"/>
                  <a:pt x="356002" y="67518"/>
                  <a:pt x="356002" y="54761"/>
                </a:cubicBezTo>
                <a:cubicBezTo>
                  <a:pt x="356002" y="41942"/>
                  <a:pt x="357496" y="31488"/>
                  <a:pt x="360484" y="23398"/>
                </a:cubicBezTo>
                <a:cubicBezTo>
                  <a:pt x="363534" y="15371"/>
                  <a:pt x="367767" y="9459"/>
                  <a:pt x="373183" y="5663"/>
                </a:cubicBezTo>
                <a:cubicBezTo>
                  <a:pt x="378536" y="1867"/>
                  <a:pt x="384637" y="0"/>
                  <a:pt x="391421" y="0"/>
                </a:cubicBezTo>
                <a:cubicBezTo>
                  <a:pt x="398145" y="0"/>
                  <a:pt x="404183" y="1867"/>
                  <a:pt x="409474" y="5663"/>
                </a:cubicBezTo>
                <a:cubicBezTo>
                  <a:pt x="414765" y="9459"/>
                  <a:pt x="418873" y="15371"/>
                  <a:pt x="421861" y="23398"/>
                </a:cubicBezTo>
                <a:cubicBezTo>
                  <a:pt x="424849" y="31363"/>
                  <a:pt x="426343" y="41756"/>
                  <a:pt x="426343" y="54512"/>
                </a:cubicBezTo>
                <a:cubicBezTo>
                  <a:pt x="426343" y="67145"/>
                  <a:pt x="424849" y="77599"/>
                  <a:pt x="421861" y="85876"/>
                </a:cubicBezTo>
                <a:cubicBezTo>
                  <a:pt x="418873" y="94027"/>
                  <a:pt x="414765" y="100064"/>
                  <a:pt x="409474" y="104047"/>
                </a:cubicBezTo>
                <a:cubicBezTo>
                  <a:pt x="404183" y="107967"/>
                  <a:pt x="398145" y="109896"/>
                  <a:pt x="391421" y="109896"/>
                </a:cubicBezTo>
                <a:close/>
                <a:moveTo>
                  <a:pt x="391235" y="98072"/>
                </a:moveTo>
                <a:cubicBezTo>
                  <a:pt x="395717" y="98072"/>
                  <a:pt x="399514" y="96766"/>
                  <a:pt x="402627" y="94089"/>
                </a:cubicBezTo>
                <a:cubicBezTo>
                  <a:pt x="405801" y="91289"/>
                  <a:pt x="408167" y="86747"/>
                  <a:pt x="409785" y="80462"/>
                </a:cubicBezTo>
                <a:cubicBezTo>
                  <a:pt x="411465" y="74114"/>
                  <a:pt x="412337" y="65589"/>
                  <a:pt x="412337" y="54948"/>
                </a:cubicBezTo>
                <a:cubicBezTo>
                  <a:pt x="412337" y="44307"/>
                  <a:pt x="411528" y="35844"/>
                  <a:pt x="409909" y="29559"/>
                </a:cubicBezTo>
                <a:cubicBezTo>
                  <a:pt x="408353" y="23150"/>
                  <a:pt x="405926" y="18669"/>
                  <a:pt x="402751" y="15931"/>
                </a:cubicBezTo>
                <a:cubicBezTo>
                  <a:pt x="399639" y="13192"/>
                  <a:pt x="395903" y="11761"/>
                  <a:pt x="391421" y="11761"/>
                </a:cubicBezTo>
                <a:cubicBezTo>
                  <a:pt x="386940" y="11761"/>
                  <a:pt x="383080" y="13192"/>
                  <a:pt x="379906" y="15931"/>
                </a:cubicBezTo>
                <a:cubicBezTo>
                  <a:pt x="376731" y="18669"/>
                  <a:pt x="374241" y="23150"/>
                  <a:pt x="372560" y="29559"/>
                </a:cubicBezTo>
                <a:cubicBezTo>
                  <a:pt x="370880" y="35844"/>
                  <a:pt x="370008" y="44307"/>
                  <a:pt x="370008" y="54948"/>
                </a:cubicBezTo>
                <a:cubicBezTo>
                  <a:pt x="370008" y="65589"/>
                  <a:pt x="370817" y="74114"/>
                  <a:pt x="372436" y="80462"/>
                </a:cubicBezTo>
                <a:cubicBezTo>
                  <a:pt x="374116" y="86747"/>
                  <a:pt x="376544" y="91289"/>
                  <a:pt x="379719" y="94089"/>
                </a:cubicBezTo>
                <a:cubicBezTo>
                  <a:pt x="382956" y="96766"/>
                  <a:pt x="386753" y="98072"/>
                  <a:pt x="391235" y="98072"/>
                </a:cubicBezTo>
                <a:close/>
                <a:moveTo>
                  <a:pt x="532540" y="108402"/>
                </a:moveTo>
                <a:lnTo>
                  <a:pt x="517600" y="108402"/>
                </a:lnTo>
                <a:lnTo>
                  <a:pt x="506582" y="77786"/>
                </a:lnTo>
                <a:lnTo>
                  <a:pt x="459211" y="77786"/>
                </a:lnTo>
                <a:lnTo>
                  <a:pt x="448317" y="108402"/>
                </a:lnTo>
                <a:lnTo>
                  <a:pt x="435120" y="108402"/>
                </a:lnTo>
                <a:lnTo>
                  <a:pt x="473217" y="1307"/>
                </a:lnTo>
                <a:lnTo>
                  <a:pt x="494132" y="1307"/>
                </a:lnTo>
                <a:lnTo>
                  <a:pt x="532540" y="108402"/>
                </a:lnTo>
                <a:close/>
                <a:moveTo>
                  <a:pt x="463817" y="65091"/>
                </a:moveTo>
                <a:lnTo>
                  <a:pt x="502100" y="65091"/>
                </a:lnTo>
                <a:lnTo>
                  <a:pt x="482928" y="11761"/>
                </a:lnTo>
                <a:lnTo>
                  <a:pt x="463817" y="65091"/>
                </a:lnTo>
                <a:close/>
                <a:moveTo>
                  <a:pt x="548165" y="1307"/>
                </a:moveTo>
                <a:lnTo>
                  <a:pt x="613588" y="1307"/>
                </a:lnTo>
                <a:lnTo>
                  <a:pt x="613588" y="14188"/>
                </a:lnTo>
                <a:lnTo>
                  <a:pt x="562171" y="14188"/>
                </a:lnTo>
                <a:lnTo>
                  <a:pt x="562171" y="49720"/>
                </a:lnTo>
                <a:lnTo>
                  <a:pt x="605807" y="49720"/>
                </a:lnTo>
                <a:lnTo>
                  <a:pt x="605807" y="62415"/>
                </a:lnTo>
                <a:lnTo>
                  <a:pt x="562171" y="62415"/>
                </a:lnTo>
                <a:lnTo>
                  <a:pt x="562171" y="108402"/>
                </a:lnTo>
                <a:lnTo>
                  <a:pt x="548165" y="108402"/>
                </a:lnTo>
                <a:lnTo>
                  <a:pt x="548165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7" name="Полилиния 1096">
            <a:extLst>
              <a:ext uri="{FF2B5EF4-FFF2-40B4-BE49-F238E27FC236}">
                <a16:creationId xmlns:a16="http://schemas.microsoft.com/office/drawing/2014/main" id="{87EB0B46-C6CF-A8F1-BC2C-EF846900782A}"/>
              </a:ext>
            </a:extLst>
          </p:cNvPr>
          <p:cNvSpPr/>
          <p:nvPr userDrawn="1"/>
        </p:nvSpPr>
        <p:spPr>
          <a:xfrm>
            <a:off x="21534071" y="9597431"/>
            <a:ext cx="1398954" cy="726227"/>
          </a:xfrm>
          <a:custGeom>
            <a:avLst/>
            <a:gdLst>
              <a:gd name="connsiteX0" fmla="*/ 1275 w 1198727"/>
              <a:gd name="connsiteY0" fmla="*/ 1822 h 622284"/>
              <a:gd name="connsiteX1" fmla="*/ 1200003 w 1198727"/>
              <a:gd name="connsiteY1" fmla="*/ 1822 h 622284"/>
              <a:gd name="connsiteX2" fmla="*/ 1200003 w 1198727"/>
              <a:gd name="connsiteY2" fmla="*/ 624106 h 622284"/>
              <a:gd name="connsiteX3" fmla="*/ 1275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822"/>
                </a:moveTo>
                <a:lnTo>
                  <a:pt x="1200003" y="1822"/>
                </a:lnTo>
                <a:lnTo>
                  <a:pt x="1200003" y="624106"/>
                </a:lnTo>
                <a:lnTo>
                  <a:pt x="1275" y="624106"/>
                </a:lnTo>
                <a:close/>
              </a:path>
            </a:pathLst>
          </a:custGeom>
          <a:solidFill>
            <a:srgbClr val="FFF5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8" name="Полилиния 1097">
            <a:extLst>
              <a:ext uri="{FF2B5EF4-FFF2-40B4-BE49-F238E27FC236}">
                <a16:creationId xmlns:a16="http://schemas.microsoft.com/office/drawing/2014/main" id="{0AB7DA65-8CE3-FECF-7F83-E9BDBE7B402D}"/>
              </a:ext>
            </a:extLst>
          </p:cNvPr>
          <p:cNvSpPr/>
          <p:nvPr userDrawn="1"/>
        </p:nvSpPr>
        <p:spPr>
          <a:xfrm>
            <a:off x="21657280" y="9899178"/>
            <a:ext cx="715640" cy="128468"/>
          </a:xfrm>
          <a:custGeom>
            <a:avLst/>
            <a:gdLst>
              <a:gd name="connsiteX0" fmla="*/ 22099 w 613214"/>
              <a:gd name="connsiteY0" fmla="*/ 108588 h 110081"/>
              <a:gd name="connsiteX1" fmla="*/ 10147 w 613214"/>
              <a:gd name="connsiteY1" fmla="*/ 108588 h 110081"/>
              <a:gd name="connsiteX2" fmla="*/ 16434 w 613214"/>
              <a:gd name="connsiteY2" fmla="*/ 77661 h 110081"/>
              <a:gd name="connsiteX3" fmla="*/ 0 w 613214"/>
              <a:gd name="connsiteY3" fmla="*/ 77661 h 110081"/>
              <a:gd name="connsiteX4" fmla="*/ 0 w 613214"/>
              <a:gd name="connsiteY4" fmla="*/ 67206 h 110081"/>
              <a:gd name="connsiteX5" fmla="*/ 18675 w 613214"/>
              <a:gd name="connsiteY5" fmla="*/ 67206 h 110081"/>
              <a:gd name="connsiteX6" fmla="*/ 24215 w 613214"/>
              <a:gd name="connsiteY6" fmla="*/ 40012 h 110081"/>
              <a:gd name="connsiteX7" fmla="*/ 4046 w 613214"/>
              <a:gd name="connsiteY7" fmla="*/ 40012 h 110081"/>
              <a:gd name="connsiteX8" fmla="*/ 4046 w 613214"/>
              <a:gd name="connsiteY8" fmla="*/ 29559 h 110081"/>
              <a:gd name="connsiteX9" fmla="*/ 26269 w 613214"/>
              <a:gd name="connsiteY9" fmla="*/ 29559 h 110081"/>
              <a:gd name="connsiteX10" fmla="*/ 32121 w 613214"/>
              <a:gd name="connsiteY10" fmla="*/ 1493 h 110081"/>
              <a:gd name="connsiteX11" fmla="*/ 44073 w 613214"/>
              <a:gd name="connsiteY11" fmla="*/ 1493 h 110081"/>
              <a:gd name="connsiteX12" fmla="*/ 38221 w 613214"/>
              <a:gd name="connsiteY12" fmla="*/ 29559 h 110081"/>
              <a:gd name="connsiteX13" fmla="*/ 60630 w 613214"/>
              <a:gd name="connsiteY13" fmla="*/ 29559 h 110081"/>
              <a:gd name="connsiteX14" fmla="*/ 66482 w 613214"/>
              <a:gd name="connsiteY14" fmla="*/ 1493 h 110081"/>
              <a:gd name="connsiteX15" fmla="*/ 78434 w 613214"/>
              <a:gd name="connsiteY15" fmla="*/ 1493 h 110081"/>
              <a:gd name="connsiteX16" fmla="*/ 72582 w 613214"/>
              <a:gd name="connsiteY16" fmla="*/ 29559 h 110081"/>
              <a:gd name="connsiteX17" fmla="*/ 89327 w 613214"/>
              <a:gd name="connsiteY17" fmla="*/ 29559 h 110081"/>
              <a:gd name="connsiteX18" fmla="*/ 89327 w 613214"/>
              <a:gd name="connsiteY18" fmla="*/ 40012 h 110081"/>
              <a:gd name="connsiteX19" fmla="*/ 70529 w 613214"/>
              <a:gd name="connsiteY19" fmla="*/ 40012 h 110081"/>
              <a:gd name="connsiteX20" fmla="*/ 64988 w 613214"/>
              <a:gd name="connsiteY20" fmla="*/ 67206 h 110081"/>
              <a:gd name="connsiteX21" fmla="*/ 85282 w 613214"/>
              <a:gd name="connsiteY21" fmla="*/ 67206 h 110081"/>
              <a:gd name="connsiteX22" fmla="*/ 85282 w 613214"/>
              <a:gd name="connsiteY22" fmla="*/ 77661 h 110081"/>
              <a:gd name="connsiteX23" fmla="*/ 62747 w 613214"/>
              <a:gd name="connsiteY23" fmla="*/ 77661 h 110081"/>
              <a:gd name="connsiteX24" fmla="*/ 56460 w 613214"/>
              <a:gd name="connsiteY24" fmla="*/ 108588 h 110081"/>
              <a:gd name="connsiteX25" fmla="*/ 44508 w 613214"/>
              <a:gd name="connsiteY25" fmla="*/ 108588 h 110081"/>
              <a:gd name="connsiteX26" fmla="*/ 50795 w 613214"/>
              <a:gd name="connsiteY26" fmla="*/ 77661 h 110081"/>
              <a:gd name="connsiteX27" fmla="*/ 28386 w 613214"/>
              <a:gd name="connsiteY27" fmla="*/ 77661 h 110081"/>
              <a:gd name="connsiteX28" fmla="*/ 22099 w 613214"/>
              <a:gd name="connsiteY28" fmla="*/ 108588 h 110081"/>
              <a:gd name="connsiteX29" fmla="*/ 30627 w 613214"/>
              <a:gd name="connsiteY29" fmla="*/ 67206 h 110081"/>
              <a:gd name="connsiteX30" fmla="*/ 53036 w 613214"/>
              <a:gd name="connsiteY30" fmla="*/ 67206 h 110081"/>
              <a:gd name="connsiteX31" fmla="*/ 58576 w 613214"/>
              <a:gd name="connsiteY31" fmla="*/ 40012 h 110081"/>
              <a:gd name="connsiteX32" fmla="*/ 36167 w 613214"/>
              <a:gd name="connsiteY32" fmla="*/ 40012 h 110081"/>
              <a:gd name="connsiteX33" fmla="*/ 30627 w 613214"/>
              <a:gd name="connsiteY33" fmla="*/ 67206 h 110081"/>
              <a:gd name="connsiteX34" fmla="*/ 107816 w 613214"/>
              <a:gd name="connsiteY34" fmla="*/ 1493 h 110081"/>
              <a:gd name="connsiteX35" fmla="*/ 173239 w 613214"/>
              <a:gd name="connsiteY35" fmla="*/ 1493 h 110081"/>
              <a:gd name="connsiteX36" fmla="*/ 173239 w 613214"/>
              <a:gd name="connsiteY36" fmla="*/ 14374 h 110081"/>
              <a:gd name="connsiteX37" fmla="*/ 121884 w 613214"/>
              <a:gd name="connsiteY37" fmla="*/ 14374 h 110081"/>
              <a:gd name="connsiteX38" fmla="*/ 121884 w 613214"/>
              <a:gd name="connsiteY38" fmla="*/ 49907 h 110081"/>
              <a:gd name="connsiteX39" fmla="*/ 165520 w 613214"/>
              <a:gd name="connsiteY39" fmla="*/ 49907 h 110081"/>
              <a:gd name="connsiteX40" fmla="*/ 165520 w 613214"/>
              <a:gd name="connsiteY40" fmla="*/ 62601 h 110081"/>
              <a:gd name="connsiteX41" fmla="*/ 121884 w 613214"/>
              <a:gd name="connsiteY41" fmla="*/ 62601 h 110081"/>
              <a:gd name="connsiteX42" fmla="*/ 121884 w 613214"/>
              <a:gd name="connsiteY42" fmla="*/ 108588 h 110081"/>
              <a:gd name="connsiteX43" fmla="*/ 107816 w 613214"/>
              <a:gd name="connsiteY43" fmla="*/ 108588 h 110081"/>
              <a:gd name="connsiteX44" fmla="*/ 107816 w 613214"/>
              <a:gd name="connsiteY44" fmla="*/ 1493 h 110081"/>
              <a:gd name="connsiteX45" fmla="*/ 192723 w 613214"/>
              <a:gd name="connsiteY45" fmla="*/ 1493 h 110081"/>
              <a:gd name="connsiteX46" fmla="*/ 258146 w 613214"/>
              <a:gd name="connsiteY46" fmla="*/ 1493 h 110081"/>
              <a:gd name="connsiteX47" fmla="*/ 258146 w 613214"/>
              <a:gd name="connsiteY47" fmla="*/ 14374 h 110081"/>
              <a:gd name="connsiteX48" fmla="*/ 206791 w 613214"/>
              <a:gd name="connsiteY48" fmla="*/ 14374 h 110081"/>
              <a:gd name="connsiteX49" fmla="*/ 206791 w 613214"/>
              <a:gd name="connsiteY49" fmla="*/ 49907 h 110081"/>
              <a:gd name="connsiteX50" fmla="*/ 250427 w 613214"/>
              <a:gd name="connsiteY50" fmla="*/ 49907 h 110081"/>
              <a:gd name="connsiteX51" fmla="*/ 250427 w 613214"/>
              <a:gd name="connsiteY51" fmla="*/ 62601 h 110081"/>
              <a:gd name="connsiteX52" fmla="*/ 206791 w 613214"/>
              <a:gd name="connsiteY52" fmla="*/ 62601 h 110081"/>
              <a:gd name="connsiteX53" fmla="*/ 206791 w 613214"/>
              <a:gd name="connsiteY53" fmla="*/ 108588 h 110081"/>
              <a:gd name="connsiteX54" fmla="*/ 192723 w 613214"/>
              <a:gd name="connsiteY54" fmla="*/ 108588 h 110081"/>
              <a:gd name="connsiteX55" fmla="*/ 192723 w 613214"/>
              <a:gd name="connsiteY55" fmla="*/ 1493 h 110081"/>
              <a:gd name="connsiteX56" fmla="*/ 277630 w 613214"/>
              <a:gd name="connsiteY56" fmla="*/ 1493 h 110081"/>
              <a:gd name="connsiteX57" fmla="*/ 343116 w 613214"/>
              <a:gd name="connsiteY57" fmla="*/ 1493 h 110081"/>
              <a:gd name="connsiteX58" fmla="*/ 343116 w 613214"/>
              <a:gd name="connsiteY58" fmla="*/ 14374 h 110081"/>
              <a:gd name="connsiteX59" fmla="*/ 291698 w 613214"/>
              <a:gd name="connsiteY59" fmla="*/ 14374 h 110081"/>
              <a:gd name="connsiteX60" fmla="*/ 291698 w 613214"/>
              <a:gd name="connsiteY60" fmla="*/ 49907 h 110081"/>
              <a:gd name="connsiteX61" fmla="*/ 335335 w 613214"/>
              <a:gd name="connsiteY61" fmla="*/ 49907 h 110081"/>
              <a:gd name="connsiteX62" fmla="*/ 335335 w 613214"/>
              <a:gd name="connsiteY62" fmla="*/ 62601 h 110081"/>
              <a:gd name="connsiteX63" fmla="*/ 291698 w 613214"/>
              <a:gd name="connsiteY63" fmla="*/ 62601 h 110081"/>
              <a:gd name="connsiteX64" fmla="*/ 291698 w 613214"/>
              <a:gd name="connsiteY64" fmla="*/ 108588 h 110081"/>
              <a:gd name="connsiteX65" fmla="*/ 277630 w 613214"/>
              <a:gd name="connsiteY65" fmla="*/ 108588 h 110081"/>
              <a:gd name="connsiteX66" fmla="*/ 277630 w 613214"/>
              <a:gd name="connsiteY66" fmla="*/ 1493 h 110081"/>
              <a:gd name="connsiteX67" fmla="*/ 386442 w 613214"/>
              <a:gd name="connsiteY67" fmla="*/ 110082 h 110081"/>
              <a:gd name="connsiteX68" fmla="*/ 357931 w 613214"/>
              <a:gd name="connsiteY68" fmla="*/ 102490 h 110081"/>
              <a:gd name="connsiteX69" fmla="*/ 357931 w 613214"/>
              <a:gd name="connsiteY69" fmla="*/ 87804 h 110081"/>
              <a:gd name="connsiteX70" fmla="*/ 371066 w 613214"/>
              <a:gd name="connsiteY70" fmla="*/ 95458 h 110081"/>
              <a:gd name="connsiteX71" fmla="*/ 386442 w 613214"/>
              <a:gd name="connsiteY71" fmla="*/ 97823 h 110081"/>
              <a:gd name="connsiteX72" fmla="*/ 403498 w 613214"/>
              <a:gd name="connsiteY72" fmla="*/ 91102 h 110081"/>
              <a:gd name="connsiteX73" fmla="*/ 409598 w 613214"/>
              <a:gd name="connsiteY73" fmla="*/ 73491 h 110081"/>
              <a:gd name="connsiteX74" fmla="*/ 403622 w 613214"/>
              <a:gd name="connsiteY74" fmla="*/ 56441 h 110081"/>
              <a:gd name="connsiteX75" fmla="*/ 388558 w 613214"/>
              <a:gd name="connsiteY75" fmla="*/ 51089 h 110081"/>
              <a:gd name="connsiteX76" fmla="*/ 377975 w 613214"/>
              <a:gd name="connsiteY76" fmla="*/ 53329 h 110081"/>
              <a:gd name="connsiteX77" fmla="*/ 371813 w 613214"/>
              <a:gd name="connsiteY77" fmla="*/ 57810 h 110081"/>
              <a:gd name="connsiteX78" fmla="*/ 360919 w 613214"/>
              <a:gd name="connsiteY78" fmla="*/ 57810 h 110081"/>
              <a:gd name="connsiteX79" fmla="*/ 360919 w 613214"/>
              <a:gd name="connsiteY79" fmla="*/ 1493 h 110081"/>
              <a:gd name="connsiteX80" fmla="*/ 418873 w 613214"/>
              <a:gd name="connsiteY80" fmla="*/ 1493 h 110081"/>
              <a:gd name="connsiteX81" fmla="*/ 418873 w 613214"/>
              <a:gd name="connsiteY81" fmla="*/ 14374 h 110081"/>
              <a:gd name="connsiteX82" fmla="*/ 373183 w 613214"/>
              <a:gd name="connsiteY82" fmla="*/ 14374 h 110081"/>
              <a:gd name="connsiteX83" fmla="*/ 373183 w 613214"/>
              <a:gd name="connsiteY83" fmla="*/ 44991 h 110081"/>
              <a:gd name="connsiteX84" fmla="*/ 380466 w 613214"/>
              <a:gd name="connsiteY84" fmla="*/ 41071 h 110081"/>
              <a:gd name="connsiteX85" fmla="*/ 390799 w 613214"/>
              <a:gd name="connsiteY85" fmla="*/ 39266 h 110081"/>
              <a:gd name="connsiteX86" fmla="*/ 407544 w 613214"/>
              <a:gd name="connsiteY86" fmla="*/ 43186 h 110081"/>
              <a:gd name="connsiteX87" fmla="*/ 419309 w 613214"/>
              <a:gd name="connsiteY87" fmla="*/ 54512 h 110081"/>
              <a:gd name="connsiteX88" fmla="*/ 423791 w 613214"/>
              <a:gd name="connsiteY88" fmla="*/ 73181 h 110081"/>
              <a:gd name="connsiteX89" fmla="*/ 419184 w 613214"/>
              <a:gd name="connsiteY89" fmla="*/ 92596 h 110081"/>
              <a:gd name="connsiteX90" fmla="*/ 406361 w 613214"/>
              <a:gd name="connsiteY90" fmla="*/ 105601 h 110081"/>
              <a:gd name="connsiteX91" fmla="*/ 386442 w 613214"/>
              <a:gd name="connsiteY91" fmla="*/ 110082 h 110081"/>
              <a:gd name="connsiteX92" fmla="*/ 444707 w 613214"/>
              <a:gd name="connsiteY92" fmla="*/ 1493 h 110081"/>
              <a:gd name="connsiteX93" fmla="*/ 480686 w 613214"/>
              <a:gd name="connsiteY93" fmla="*/ 1493 h 110081"/>
              <a:gd name="connsiteX94" fmla="*/ 500731 w 613214"/>
              <a:gd name="connsiteY94" fmla="*/ 4044 h 110081"/>
              <a:gd name="connsiteX95" fmla="*/ 516853 w 613214"/>
              <a:gd name="connsiteY95" fmla="*/ 12383 h 110081"/>
              <a:gd name="connsiteX96" fmla="*/ 527622 w 613214"/>
              <a:gd name="connsiteY96" fmla="*/ 27629 h 110081"/>
              <a:gd name="connsiteX97" fmla="*/ 531482 w 613214"/>
              <a:gd name="connsiteY97" fmla="*/ 51401 h 110081"/>
              <a:gd name="connsiteX98" fmla="*/ 524634 w 613214"/>
              <a:gd name="connsiteY98" fmla="*/ 83075 h 110081"/>
              <a:gd name="connsiteX99" fmla="*/ 506084 w 613214"/>
              <a:gd name="connsiteY99" fmla="*/ 102179 h 110081"/>
              <a:gd name="connsiteX100" fmla="*/ 479068 w 613214"/>
              <a:gd name="connsiteY100" fmla="*/ 108588 h 110081"/>
              <a:gd name="connsiteX101" fmla="*/ 444707 w 613214"/>
              <a:gd name="connsiteY101" fmla="*/ 108588 h 110081"/>
              <a:gd name="connsiteX102" fmla="*/ 444707 w 613214"/>
              <a:gd name="connsiteY102" fmla="*/ 1493 h 110081"/>
              <a:gd name="connsiteX103" fmla="*/ 479068 w 613214"/>
              <a:gd name="connsiteY103" fmla="*/ 95893 h 110081"/>
              <a:gd name="connsiteX104" fmla="*/ 498490 w 613214"/>
              <a:gd name="connsiteY104" fmla="*/ 91413 h 110081"/>
              <a:gd name="connsiteX105" fmla="*/ 511500 w 613214"/>
              <a:gd name="connsiteY105" fmla="*/ 77225 h 110081"/>
              <a:gd name="connsiteX106" fmla="*/ 516293 w 613214"/>
              <a:gd name="connsiteY106" fmla="*/ 52458 h 110081"/>
              <a:gd name="connsiteX107" fmla="*/ 511625 w 613214"/>
              <a:gd name="connsiteY107" fmla="*/ 29122 h 110081"/>
              <a:gd name="connsiteX108" fmla="*/ 498925 w 613214"/>
              <a:gd name="connsiteY108" fmla="*/ 17610 h 110081"/>
              <a:gd name="connsiteX109" fmla="*/ 480686 w 613214"/>
              <a:gd name="connsiteY109" fmla="*/ 14374 h 110081"/>
              <a:gd name="connsiteX110" fmla="*/ 458775 w 613214"/>
              <a:gd name="connsiteY110" fmla="*/ 14374 h 110081"/>
              <a:gd name="connsiteX111" fmla="*/ 458775 w 613214"/>
              <a:gd name="connsiteY111" fmla="*/ 95893 h 110081"/>
              <a:gd name="connsiteX112" fmla="*/ 479068 w 613214"/>
              <a:gd name="connsiteY112" fmla="*/ 95893 h 110081"/>
              <a:gd name="connsiteX113" fmla="*/ 613214 w 613214"/>
              <a:gd name="connsiteY113" fmla="*/ 108588 h 110081"/>
              <a:gd name="connsiteX114" fmla="*/ 544928 w 613214"/>
              <a:gd name="connsiteY114" fmla="*/ 108588 h 110081"/>
              <a:gd name="connsiteX115" fmla="*/ 544928 w 613214"/>
              <a:gd name="connsiteY115" fmla="*/ 94400 h 110081"/>
              <a:gd name="connsiteX116" fmla="*/ 571072 w 613214"/>
              <a:gd name="connsiteY116" fmla="*/ 72433 h 110081"/>
              <a:gd name="connsiteX117" fmla="*/ 587070 w 613214"/>
              <a:gd name="connsiteY117" fmla="*/ 56628 h 110081"/>
              <a:gd name="connsiteX118" fmla="*/ 595162 w 613214"/>
              <a:gd name="connsiteY118" fmla="*/ 43933 h 110081"/>
              <a:gd name="connsiteX119" fmla="*/ 597528 w 613214"/>
              <a:gd name="connsiteY119" fmla="*/ 32109 h 110081"/>
              <a:gd name="connsiteX120" fmla="*/ 591987 w 613214"/>
              <a:gd name="connsiteY120" fmla="*/ 17610 h 110081"/>
              <a:gd name="connsiteX121" fmla="*/ 576799 w 613214"/>
              <a:gd name="connsiteY121" fmla="*/ 12383 h 110081"/>
              <a:gd name="connsiteX122" fmla="*/ 547791 w 613214"/>
              <a:gd name="connsiteY122" fmla="*/ 27194 h 110081"/>
              <a:gd name="connsiteX123" fmla="*/ 547791 w 613214"/>
              <a:gd name="connsiteY123" fmla="*/ 12134 h 110081"/>
              <a:gd name="connsiteX124" fmla="*/ 577234 w 613214"/>
              <a:gd name="connsiteY124" fmla="*/ 0 h 110081"/>
              <a:gd name="connsiteX125" fmla="*/ 602632 w 613214"/>
              <a:gd name="connsiteY125" fmla="*/ 8401 h 110081"/>
              <a:gd name="connsiteX126" fmla="*/ 612032 w 613214"/>
              <a:gd name="connsiteY126" fmla="*/ 30803 h 110081"/>
              <a:gd name="connsiteX127" fmla="*/ 609667 w 613214"/>
              <a:gd name="connsiteY127" fmla="*/ 44804 h 110081"/>
              <a:gd name="connsiteX128" fmla="*/ 601574 w 613214"/>
              <a:gd name="connsiteY128" fmla="*/ 58681 h 110081"/>
              <a:gd name="connsiteX129" fmla="*/ 585887 w 613214"/>
              <a:gd name="connsiteY129" fmla="*/ 74860 h 110081"/>
              <a:gd name="connsiteX130" fmla="*/ 560490 w 613214"/>
              <a:gd name="connsiteY130" fmla="*/ 95769 h 110081"/>
              <a:gd name="connsiteX131" fmla="*/ 613214 w 613214"/>
              <a:gd name="connsiteY131" fmla="*/ 95769 h 110081"/>
              <a:gd name="connsiteX132" fmla="*/ 613214 w 613214"/>
              <a:gd name="connsiteY132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</a:cxnLst>
            <a:rect l="l" t="t" r="r" b="b"/>
            <a:pathLst>
              <a:path w="613214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116" y="1493"/>
                </a:lnTo>
                <a:lnTo>
                  <a:pt x="343116" y="14374"/>
                </a:lnTo>
                <a:lnTo>
                  <a:pt x="291698" y="14374"/>
                </a:lnTo>
                <a:lnTo>
                  <a:pt x="291698" y="49907"/>
                </a:lnTo>
                <a:lnTo>
                  <a:pt x="335335" y="49907"/>
                </a:lnTo>
                <a:lnTo>
                  <a:pt x="335335" y="62601"/>
                </a:lnTo>
                <a:lnTo>
                  <a:pt x="291698" y="62601"/>
                </a:lnTo>
                <a:lnTo>
                  <a:pt x="291698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86442" y="110082"/>
                </a:moveTo>
                <a:cubicBezTo>
                  <a:pt x="374490" y="110082"/>
                  <a:pt x="365028" y="107530"/>
                  <a:pt x="357931" y="102490"/>
                </a:cubicBezTo>
                <a:lnTo>
                  <a:pt x="357931" y="87804"/>
                </a:lnTo>
                <a:cubicBezTo>
                  <a:pt x="362102" y="91226"/>
                  <a:pt x="366522" y="93778"/>
                  <a:pt x="371066" y="95458"/>
                </a:cubicBezTo>
                <a:cubicBezTo>
                  <a:pt x="375672" y="97014"/>
                  <a:pt x="380777" y="97823"/>
                  <a:pt x="386442" y="97823"/>
                </a:cubicBezTo>
                <a:cubicBezTo>
                  <a:pt x="393849" y="97823"/>
                  <a:pt x="399514" y="95583"/>
                  <a:pt x="403498" y="91102"/>
                </a:cubicBezTo>
                <a:cubicBezTo>
                  <a:pt x="407606" y="86621"/>
                  <a:pt x="409598" y="80772"/>
                  <a:pt x="409598" y="73491"/>
                </a:cubicBezTo>
                <a:cubicBezTo>
                  <a:pt x="409598" y="65713"/>
                  <a:pt x="407606" y="60050"/>
                  <a:pt x="403622" y="56441"/>
                </a:cubicBezTo>
                <a:cubicBezTo>
                  <a:pt x="399639" y="52894"/>
                  <a:pt x="394658" y="51089"/>
                  <a:pt x="388558" y="51089"/>
                </a:cubicBezTo>
                <a:cubicBezTo>
                  <a:pt x="384200" y="51089"/>
                  <a:pt x="380652" y="51836"/>
                  <a:pt x="377975" y="53329"/>
                </a:cubicBezTo>
                <a:cubicBezTo>
                  <a:pt x="375237" y="54698"/>
                  <a:pt x="373245" y="56192"/>
                  <a:pt x="371813" y="57810"/>
                </a:cubicBezTo>
                <a:lnTo>
                  <a:pt x="360919" y="57810"/>
                </a:lnTo>
                <a:lnTo>
                  <a:pt x="360919" y="1493"/>
                </a:lnTo>
                <a:lnTo>
                  <a:pt x="418873" y="1493"/>
                </a:lnTo>
                <a:lnTo>
                  <a:pt x="418873" y="14374"/>
                </a:lnTo>
                <a:lnTo>
                  <a:pt x="373183" y="14374"/>
                </a:lnTo>
                <a:lnTo>
                  <a:pt x="373183" y="44991"/>
                </a:lnTo>
                <a:cubicBezTo>
                  <a:pt x="375175" y="43498"/>
                  <a:pt x="377602" y="42190"/>
                  <a:pt x="380466" y="41071"/>
                </a:cubicBezTo>
                <a:cubicBezTo>
                  <a:pt x="383391" y="39888"/>
                  <a:pt x="386815" y="39266"/>
                  <a:pt x="390799" y="39266"/>
                </a:cubicBezTo>
                <a:cubicBezTo>
                  <a:pt x="396962" y="39266"/>
                  <a:pt x="402564" y="40572"/>
                  <a:pt x="407544" y="43186"/>
                </a:cubicBezTo>
                <a:cubicBezTo>
                  <a:pt x="412524" y="45675"/>
                  <a:pt x="416446" y="49471"/>
                  <a:pt x="419309" y="54512"/>
                </a:cubicBezTo>
                <a:cubicBezTo>
                  <a:pt x="422297" y="59490"/>
                  <a:pt x="423791" y="65713"/>
                  <a:pt x="423791" y="73181"/>
                </a:cubicBezTo>
                <a:cubicBezTo>
                  <a:pt x="423791" y="80586"/>
                  <a:pt x="422297" y="87058"/>
                  <a:pt x="419184" y="92596"/>
                </a:cubicBezTo>
                <a:cubicBezTo>
                  <a:pt x="416196" y="98196"/>
                  <a:pt x="411902" y="102490"/>
                  <a:pt x="406361" y="105601"/>
                </a:cubicBezTo>
                <a:cubicBezTo>
                  <a:pt x="400759" y="108588"/>
                  <a:pt x="394161" y="110082"/>
                  <a:pt x="386442" y="110082"/>
                </a:cubicBezTo>
                <a:close/>
                <a:moveTo>
                  <a:pt x="444707" y="1493"/>
                </a:moveTo>
                <a:lnTo>
                  <a:pt x="480686" y="1493"/>
                </a:lnTo>
                <a:cubicBezTo>
                  <a:pt x="487907" y="1493"/>
                  <a:pt x="494568" y="2365"/>
                  <a:pt x="500731" y="4044"/>
                </a:cubicBezTo>
                <a:cubicBezTo>
                  <a:pt x="506894" y="5725"/>
                  <a:pt x="512309" y="8525"/>
                  <a:pt x="516853" y="12383"/>
                </a:cubicBezTo>
                <a:cubicBezTo>
                  <a:pt x="521460" y="16179"/>
                  <a:pt x="525007" y="21282"/>
                  <a:pt x="527622" y="27629"/>
                </a:cubicBezTo>
                <a:cubicBezTo>
                  <a:pt x="530237" y="34039"/>
                  <a:pt x="531482" y="41942"/>
                  <a:pt x="531482" y="51401"/>
                </a:cubicBezTo>
                <a:cubicBezTo>
                  <a:pt x="531482" y="63908"/>
                  <a:pt x="529241" y="74487"/>
                  <a:pt x="524634" y="83075"/>
                </a:cubicBezTo>
                <a:cubicBezTo>
                  <a:pt x="520153" y="91538"/>
                  <a:pt x="513990" y="97885"/>
                  <a:pt x="506084" y="102179"/>
                </a:cubicBezTo>
                <a:cubicBezTo>
                  <a:pt x="498241" y="106473"/>
                  <a:pt x="489214" y="108588"/>
                  <a:pt x="479068" y="108588"/>
                </a:cubicBezTo>
                <a:lnTo>
                  <a:pt x="444707" y="108588"/>
                </a:lnTo>
                <a:lnTo>
                  <a:pt x="444707" y="1493"/>
                </a:lnTo>
                <a:close/>
                <a:moveTo>
                  <a:pt x="479068" y="95893"/>
                </a:moveTo>
                <a:cubicBezTo>
                  <a:pt x="486413" y="95893"/>
                  <a:pt x="492888" y="94400"/>
                  <a:pt x="498490" y="91413"/>
                </a:cubicBezTo>
                <a:cubicBezTo>
                  <a:pt x="504092" y="88302"/>
                  <a:pt x="508387" y="83572"/>
                  <a:pt x="511500" y="77225"/>
                </a:cubicBezTo>
                <a:cubicBezTo>
                  <a:pt x="514675" y="70754"/>
                  <a:pt x="516293" y="62477"/>
                  <a:pt x="516293" y="52458"/>
                </a:cubicBezTo>
                <a:cubicBezTo>
                  <a:pt x="516293" y="42377"/>
                  <a:pt x="514737" y="34599"/>
                  <a:pt x="511625" y="29122"/>
                </a:cubicBezTo>
                <a:cubicBezTo>
                  <a:pt x="508574" y="23646"/>
                  <a:pt x="504341" y="19851"/>
                  <a:pt x="498925" y="17610"/>
                </a:cubicBezTo>
                <a:cubicBezTo>
                  <a:pt x="493634" y="15433"/>
                  <a:pt x="487597" y="14374"/>
                  <a:pt x="480686" y="14374"/>
                </a:cubicBezTo>
                <a:lnTo>
                  <a:pt x="458775" y="14374"/>
                </a:lnTo>
                <a:lnTo>
                  <a:pt x="458775" y="95893"/>
                </a:lnTo>
                <a:lnTo>
                  <a:pt x="479068" y="95893"/>
                </a:lnTo>
                <a:close/>
                <a:moveTo>
                  <a:pt x="613214" y="108588"/>
                </a:moveTo>
                <a:lnTo>
                  <a:pt x="544928" y="108588"/>
                </a:lnTo>
                <a:lnTo>
                  <a:pt x="544928" y="94400"/>
                </a:lnTo>
                <a:cubicBezTo>
                  <a:pt x="555634" y="85812"/>
                  <a:pt x="564349" y="78532"/>
                  <a:pt x="571072" y="72433"/>
                </a:cubicBezTo>
                <a:cubicBezTo>
                  <a:pt x="577981" y="66397"/>
                  <a:pt x="583273" y="61108"/>
                  <a:pt x="587070" y="56628"/>
                </a:cubicBezTo>
                <a:cubicBezTo>
                  <a:pt x="590992" y="52023"/>
                  <a:pt x="593668" y="47791"/>
                  <a:pt x="595162" y="43933"/>
                </a:cubicBezTo>
                <a:cubicBezTo>
                  <a:pt x="596718" y="40012"/>
                  <a:pt x="597528" y="36092"/>
                  <a:pt x="597528" y="32109"/>
                </a:cubicBezTo>
                <a:cubicBezTo>
                  <a:pt x="597528" y="25949"/>
                  <a:pt x="595723" y="21095"/>
                  <a:pt x="591987" y="17610"/>
                </a:cubicBezTo>
                <a:cubicBezTo>
                  <a:pt x="588315" y="14125"/>
                  <a:pt x="583273" y="12383"/>
                  <a:pt x="576799" y="12383"/>
                </a:cubicBezTo>
                <a:cubicBezTo>
                  <a:pt x="566403" y="12383"/>
                  <a:pt x="556755" y="17361"/>
                  <a:pt x="547791" y="27194"/>
                </a:cubicBezTo>
                <a:lnTo>
                  <a:pt x="547791" y="12134"/>
                </a:lnTo>
                <a:cubicBezTo>
                  <a:pt x="556070" y="4044"/>
                  <a:pt x="565843" y="0"/>
                  <a:pt x="577234" y="0"/>
                </a:cubicBezTo>
                <a:cubicBezTo>
                  <a:pt x="588004" y="0"/>
                  <a:pt x="596470" y="2800"/>
                  <a:pt x="602632" y="8401"/>
                </a:cubicBezTo>
                <a:cubicBezTo>
                  <a:pt x="608920" y="13877"/>
                  <a:pt x="612032" y="21344"/>
                  <a:pt x="612032" y="30803"/>
                </a:cubicBezTo>
                <a:cubicBezTo>
                  <a:pt x="612032" y="35657"/>
                  <a:pt x="611223" y="40324"/>
                  <a:pt x="609667" y="44804"/>
                </a:cubicBezTo>
                <a:cubicBezTo>
                  <a:pt x="608173" y="49222"/>
                  <a:pt x="605433" y="53827"/>
                  <a:pt x="601574" y="58681"/>
                </a:cubicBezTo>
                <a:cubicBezTo>
                  <a:pt x="597777" y="63473"/>
                  <a:pt x="592548" y="68887"/>
                  <a:pt x="585887" y="74860"/>
                </a:cubicBezTo>
                <a:cubicBezTo>
                  <a:pt x="579227" y="80835"/>
                  <a:pt x="570761" y="87804"/>
                  <a:pt x="560490" y="95769"/>
                </a:cubicBezTo>
                <a:lnTo>
                  <a:pt x="613214" y="95769"/>
                </a:lnTo>
                <a:lnTo>
                  <a:pt x="613214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9" name="Полилиния 1098">
            <a:extLst>
              <a:ext uri="{FF2B5EF4-FFF2-40B4-BE49-F238E27FC236}">
                <a16:creationId xmlns:a16="http://schemas.microsoft.com/office/drawing/2014/main" id="{F719CB48-7054-6BBD-6D74-11D765312B08}"/>
              </a:ext>
            </a:extLst>
          </p:cNvPr>
          <p:cNvSpPr/>
          <p:nvPr userDrawn="1"/>
        </p:nvSpPr>
        <p:spPr>
          <a:xfrm>
            <a:off x="21534071" y="10323656"/>
            <a:ext cx="1398954" cy="726227"/>
          </a:xfrm>
          <a:custGeom>
            <a:avLst/>
            <a:gdLst>
              <a:gd name="connsiteX0" fmla="*/ 0 w 1198727"/>
              <a:gd name="connsiteY0" fmla="*/ 0 h 622284"/>
              <a:gd name="connsiteX1" fmla="*/ 1198728 w 1198727"/>
              <a:gd name="connsiteY1" fmla="*/ 0 h 622284"/>
              <a:gd name="connsiteX2" fmla="*/ 1198728 w 1198727"/>
              <a:gd name="connsiteY2" fmla="*/ 472936 h 622284"/>
              <a:gd name="connsiteX3" fmla="*/ 1049330 w 1198727"/>
              <a:gd name="connsiteY3" fmla="*/ 622284 h 622284"/>
              <a:gd name="connsiteX4" fmla="*/ 149397 w 1198727"/>
              <a:gd name="connsiteY4" fmla="*/ 622284 h 622284"/>
              <a:gd name="connsiteX5" fmla="*/ 0 w 1198727"/>
              <a:gd name="connsiteY5" fmla="*/ 472936 h 622284"/>
              <a:gd name="connsiteX6" fmla="*/ 0 w 1198727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7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72" y="622284"/>
                  <a:pt x="1049330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AE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100" name="Полилиния 1099">
            <a:extLst>
              <a:ext uri="{FF2B5EF4-FFF2-40B4-BE49-F238E27FC236}">
                <a16:creationId xmlns:a16="http://schemas.microsoft.com/office/drawing/2014/main" id="{B14F88A5-99B5-2878-5062-96EB1B9A82E3}"/>
              </a:ext>
            </a:extLst>
          </p:cNvPr>
          <p:cNvSpPr/>
          <p:nvPr userDrawn="1"/>
        </p:nvSpPr>
        <p:spPr>
          <a:xfrm>
            <a:off x="21657280" y="10625405"/>
            <a:ext cx="715713" cy="128468"/>
          </a:xfrm>
          <a:custGeom>
            <a:avLst/>
            <a:gdLst>
              <a:gd name="connsiteX0" fmla="*/ 22099 w 613276"/>
              <a:gd name="connsiteY0" fmla="*/ 108588 h 110081"/>
              <a:gd name="connsiteX1" fmla="*/ 10147 w 613276"/>
              <a:gd name="connsiteY1" fmla="*/ 108588 h 110081"/>
              <a:gd name="connsiteX2" fmla="*/ 16434 w 613276"/>
              <a:gd name="connsiteY2" fmla="*/ 77661 h 110081"/>
              <a:gd name="connsiteX3" fmla="*/ 0 w 613276"/>
              <a:gd name="connsiteY3" fmla="*/ 77661 h 110081"/>
              <a:gd name="connsiteX4" fmla="*/ 0 w 613276"/>
              <a:gd name="connsiteY4" fmla="*/ 67206 h 110081"/>
              <a:gd name="connsiteX5" fmla="*/ 18675 w 613276"/>
              <a:gd name="connsiteY5" fmla="*/ 67206 h 110081"/>
              <a:gd name="connsiteX6" fmla="*/ 24215 w 613276"/>
              <a:gd name="connsiteY6" fmla="*/ 40012 h 110081"/>
              <a:gd name="connsiteX7" fmla="*/ 4046 w 613276"/>
              <a:gd name="connsiteY7" fmla="*/ 40012 h 110081"/>
              <a:gd name="connsiteX8" fmla="*/ 4046 w 613276"/>
              <a:gd name="connsiteY8" fmla="*/ 29559 h 110081"/>
              <a:gd name="connsiteX9" fmla="*/ 26269 w 613276"/>
              <a:gd name="connsiteY9" fmla="*/ 29559 h 110081"/>
              <a:gd name="connsiteX10" fmla="*/ 32121 w 613276"/>
              <a:gd name="connsiteY10" fmla="*/ 1493 h 110081"/>
              <a:gd name="connsiteX11" fmla="*/ 44073 w 613276"/>
              <a:gd name="connsiteY11" fmla="*/ 1493 h 110081"/>
              <a:gd name="connsiteX12" fmla="*/ 38221 w 613276"/>
              <a:gd name="connsiteY12" fmla="*/ 29559 h 110081"/>
              <a:gd name="connsiteX13" fmla="*/ 60630 w 613276"/>
              <a:gd name="connsiteY13" fmla="*/ 29559 h 110081"/>
              <a:gd name="connsiteX14" fmla="*/ 66482 w 613276"/>
              <a:gd name="connsiteY14" fmla="*/ 1493 h 110081"/>
              <a:gd name="connsiteX15" fmla="*/ 78434 w 613276"/>
              <a:gd name="connsiteY15" fmla="*/ 1493 h 110081"/>
              <a:gd name="connsiteX16" fmla="*/ 72582 w 613276"/>
              <a:gd name="connsiteY16" fmla="*/ 29559 h 110081"/>
              <a:gd name="connsiteX17" fmla="*/ 89327 w 613276"/>
              <a:gd name="connsiteY17" fmla="*/ 29559 h 110081"/>
              <a:gd name="connsiteX18" fmla="*/ 89327 w 613276"/>
              <a:gd name="connsiteY18" fmla="*/ 40012 h 110081"/>
              <a:gd name="connsiteX19" fmla="*/ 70529 w 613276"/>
              <a:gd name="connsiteY19" fmla="*/ 40012 h 110081"/>
              <a:gd name="connsiteX20" fmla="*/ 64988 w 613276"/>
              <a:gd name="connsiteY20" fmla="*/ 67206 h 110081"/>
              <a:gd name="connsiteX21" fmla="*/ 85282 w 613276"/>
              <a:gd name="connsiteY21" fmla="*/ 67206 h 110081"/>
              <a:gd name="connsiteX22" fmla="*/ 85282 w 613276"/>
              <a:gd name="connsiteY22" fmla="*/ 77661 h 110081"/>
              <a:gd name="connsiteX23" fmla="*/ 62747 w 613276"/>
              <a:gd name="connsiteY23" fmla="*/ 77661 h 110081"/>
              <a:gd name="connsiteX24" fmla="*/ 56460 w 613276"/>
              <a:gd name="connsiteY24" fmla="*/ 108588 h 110081"/>
              <a:gd name="connsiteX25" fmla="*/ 44508 w 613276"/>
              <a:gd name="connsiteY25" fmla="*/ 108588 h 110081"/>
              <a:gd name="connsiteX26" fmla="*/ 50795 w 613276"/>
              <a:gd name="connsiteY26" fmla="*/ 77661 h 110081"/>
              <a:gd name="connsiteX27" fmla="*/ 28386 w 613276"/>
              <a:gd name="connsiteY27" fmla="*/ 77661 h 110081"/>
              <a:gd name="connsiteX28" fmla="*/ 22099 w 613276"/>
              <a:gd name="connsiteY28" fmla="*/ 108588 h 110081"/>
              <a:gd name="connsiteX29" fmla="*/ 30627 w 613276"/>
              <a:gd name="connsiteY29" fmla="*/ 67206 h 110081"/>
              <a:gd name="connsiteX30" fmla="*/ 53036 w 613276"/>
              <a:gd name="connsiteY30" fmla="*/ 67206 h 110081"/>
              <a:gd name="connsiteX31" fmla="*/ 58576 w 613276"/>
              <a:gd name="connsiteY31" fmla="*/ 40012 h 110081"/>
              <a:gd name="connsiteX32" fmla="*/ 36167 w 613276"/>
              <a:gd name="connsiteY32" fmla="*/ 40012 h 110081"/>
              <a:gd name="connsiteX33" fmla="*/ 30627 w 613276"/>
              <a:gd name="connsiteY33" fmla="*/ 67206 h 110081"/>
              <a:gd name="connsiteX34" fmla="*/ 107816 w 613276"/>
              <a:gd name="connsiteY34" fmla="*/ 1493 h 110081"/>
              <a:gd name="connsiteX35" fmla="*/ 173239 w 613276"/>
              <a:gd name="connsiteY35" fmla="*/ 1493 h 110081"/>
              <a:gd name="connsiteX36" fmla="*/ 173239 w 613276"/>
              <a:gd name="connsiteY36" fmla="*/ 14374 h 110081"/>
              <a:gd name="connsiteX37" fmla="*/ 121884 w 613276"/>
              <a:gd name="connsiteY37" fmla="*/ 14374 h 110081"/>
              <a:gd name="connsiteX38" fmla="*/ 121884 w 613276"/>
              <a:gd name="connsiteY38" fmla="*/ 49907 h 110081"/>
              <a:gd name="connsiteX39" fmla="*/ 165520 w 613276"/>
              <a:gd name="connsiteY39" fmla="*/ 49907 h 110081"/>
              <a:gd name="connsiteX40" fmla="*/ 165520 w 613276"/>
              <a:gd name="connsiteY40" fmla="*/ 62601 h 110081"/>
              <a:gd name="connsiteX41" fmla="*/ 121884 w 613276"/>
              <a:gd name="connsiteY41" fmla="*/ 62601 h 110081"/>
              <a:gd name="connsiteX42" fmla="*/ 121884 w 613276"/>
              <a:gd name="connsiteY42" fmla="*/ 108588 h 110081"/>
              <a:gd name="connsiteX43" fmla="*/ 107816 w 613276"/>
              <a:gd name="connsiteY43" fmla="*/ 108588 h 110081"/>
              <a:gd name="connsiteX44" fmla="*/ 107816 w 613276"/>
              <a:gd name="connsiteY44" fmla="*/ 1493 h 110081"/>
              <a:gd name="connsiteX45" fmla="*/ 192723 w 613276"/>
              <a:gd name="connsiteY45" fmla="*/ 1493 h 110081"/>
              <a:gd name="connsiteX46" fmla="*/ 258146 w 613276"/>
              <a:gd name="connsiteY46" fmla="*/ 1493 h 110081"/>
              <a:gd name="connsiteX47" fmla="*/ 258146 w 613276"/>
              <a:gd name="connsiteY47" fmla="*/ 14374 h 110081"/>
              <a:gd name="connsiteX48" fmla="*/ 206791 w 613276"/>
              <a:gd name="connsiteY48" fmla="*/ 14374 h 110081"/>
              <a:gd name="connsiteX49" fmla="*/ 206791 w 613276"/>
              <a:gd name="connsiteY49" fmla="*/ 49907 h 110081"/>
              <a:gd name="connsiteX50" fmla="*/ 250427 w 613276"/>
              <a:gd name="connsiteY50" fmla="*/ 49907 h 110081"/>
              <a:gd name="connsiteX51" fmla="*/ 250427 w 613276"/>
              <a:gd name="connsiteY51" fmla="*/ 62601 h 110081"/>
              <a:gd name="connsiteX52" fmla="*/ 206791 w 613276"/>
              <a:gd name="connsiteY52" fmla="*/ 62601 h 110081"/>
              <a:gd name="connsiteX53" fmla="*/ 206791 w 613276"/>
              <a:gd name="connsiteY53" fmla="*/ 108588 h 110081"/>
              <a:gd name="connsiteX54" fmla="*/ 192723 w 613276"/>
              <a:gd name="connsiteY54" fmla="*/ 108588 h 110081"/>
              <a:gd name="connsiteX55" fmla="*/ 192723 w 613276"/>
              <a:gd name="connsiteY55" fmla="*/ 1493 h 110081"/>
              <a:gd name="connsiteX56" fmla="*/ 277630 w 613276"/>
              <a:gd name="connsiteY56" fmla="*/ 1493 h 110081"/>
              <a:gd name="connsiteX57" fmla="*/ 343116 w 613276"/>
              <a:gd name="connsiteY57" fmla="*/ 1493 h 110081"/>
              <a:gd name="connsiteX58" fmla="*/ 343116 w 613276"/>
              <a:gd name="connsiteY58" fmla="*/ 14374 h 110081"/>
              <a:gd name="connsiteX59" fmla="*/ 291698 w 613276"/>
              <a:gd name="connsiteY59" fmla="*/ 14374 h 110081"/>
              <a:gd name="connsiteX60" fmla="*/ 291698 w 613276"/>
              <a:gd name="connsiteY60" fmla="*/ 49907 h 110081"/>
              <a:gd name="connsiteX61" fmla="*/ 335335 w 613276"/>
              <a:gd name="connsiteY61" fmla="*/ 49907 h 110081"/>
              <a:gd name="connsiteX62" fmla="*/ 335335 w 613276"/>
              <a:gd name="connsiteY62" fmla="*/ 62601 h 110081"/>
              <a:gd name="connsiteX63" fmla="*/ 291698 w 613276"/>
              <a:gd name="connsiteY63" fmla="*/ 62601 h 110081"/>
              <a:gd name="connsiteX64" fmla="*/ 291698 w 613276"/>
              <a:gd name="connsiteY64" fmla="*/ 108588 h 110081"/>
              <a:gd name="connsiteX65" fmla="*/ 277630 w 613276"/>
              <a:gd name="connsiteY65" fmla="*/ 108588 h 110081"/>
              <a:gd name="connsiteX66" fmla="*/ 277630 w 613276"/>
              <a:gd name="connsiteY66" fmla="*/ 1493 h 110081"/>
              <a:gd name="connsiteX67" fmla="*/ 442964 w 613276"/>
              <a:gd name="connsiteY67" fmla="*/ 108588 h 110081"/>
              <a:gd name="connsiteX68" fmla="*/ 428024 w 613276"/>
              <a:gd name="connsiteY68" fmla="*/ 108588 h 110081"/>
              <a:gd name="connsiteX69" fmla="*/ 416943 w 613276"/>
              <a:gd name="connsiteY69" fmla="*/ 77972 h 110081"/>
              <a:gd name="connsiteX70" fmla="*/ 369634 w 613276"/>
              <a:gd name="connsiteY70" fmla="*/ 77972 h 110081"/>
              <a:gd name="connsiteX71" fmla="*/ 358678 w 613276"/>
              <a:gd name="connsiteY71" fmla="*/ 108588 h 110081"/>
              <a:gd name="connsiteX72" fmla="*/ 345544 w 613276"/>
              <a:gd name="connsiteY72" fmla="*/ 108588 h 110081"/>
              <a:gd name="connsiteX73" fmla="*/ 383640 w 613276"/>
              <a:gd name="connsiteY73" fmla="*/ 1493 h 110081"/>
              <a:gd name="connsiteX74" fmla="*/ 404556 w 613276"/>
              <a:gd name="connsiteY74" fmla="*/ 1493 h 110081"/>
              <a:gd name="connsiteX75" fmla="*/ 442964 w 613276"/>
              <a:gd name="connsiteY75" fmla="*/ 108588 h 110081"/>
              <a:gd name="connsiteX76" fmla="*/ 374241 w 613276"/>
              <a:gd name="connsiteY76" fmla="*/ 65278 h 110081"/>
              <a:gd name="connsiteX77" fmla="*/ 412462 w 613276"/>
              <a:gd name="connsiteY77" fmla="*/ 65278 h 110081"/>
              <a:gd name="connsiteX78" fmla="*/ 393352 w 613276"/>
              <a:gd name="connsiteY78" fmla="*/ 11947 h 110081"/>
              <a:gd name="connsiteX79" fmla="*/ 374241 w 613276"/>
              <a:gd name="connsiteY79" fmla="*/ 65278 h 110081"/>
              <a:gd name="connsiteX80" fmla="*/ 458588 w 613276"/>
              <a:gd name="connsiteY80" fmla="*/ 1493 h 110081"/>
              <a:gd name="connsiteX81" fmla="*/ 524884 w 613276"/>
              <a:gd name="connsiteY81" fmla="*/ 1493 h 110081"/>
              <a:gd name="connsiteX82" fmla="*/ 524884 w 613276"/>
              <a:gd name="connsiteY82" fmla="*/ 14374 h 110081"/>
              <a:gd name="connsiteX83" fmla="*/ 472594 w 613276"/>
              <a:gd name="connsiteY83" fmla="*/ 14374 h 110081"/>
              <a:gd name="connsiteX84" fmla="*/ 472594 w 613276"/>
              <a:gd name="connsiteY84" fmla="*/ 46734 h 110081"/>
              <a:gd name="connsiteX85" fmla="*/ 516978 w 613276"/>
              <a:gd name="connsiteY85" fmla="*/ 46734 h 110081"/>
              <a:gd name="connsiteX86" fmla="*/ 516978 w 613276"/>
              <a:gd name="connsiteY86" fmla="*/ 59428 h 110081"/>
              <a:gd name="connsiteX87" fmla="*/ 472594 w 613276"/>
              <a:gd name="connsiteY87" fmla="*/ 59428 h 110081"/>
              <a:gd name="connsiteX88" fmla="*/ 472594 w 613276"/>
              <a:gd name="connsiteY88" fmla="*/ 95893 h 110081"/>
              <a:gd name="connsiteX89" fmla="*/ 525631 w 613276"/>
              <a:gd name="connsiteY89" fmla="*/ 95893 h 110081"/>
              <a:gd name="connsiteX90" fmla="*/ 525631 w 613276"/>
              <a:gd name="connsiteY90" fmla="*/ 108588 h 110081"/>
              <a:gd name="connsiteX91" fmla="*/ 458588 w 613276"/>
              <a:gd name="connsiteY91" fmla="*/ 108588 h 110081"/>
              <a:gd name="connsiteX92" fmla="*/ 458588 w 613276"/>
              <a:gd name="connsiteY92" fmla="*/ 1493 h 110081"/>
              <a:gd name="connsiteX93" fmla="*/ 613277 w 613276"/>
              <a:gd name="connsiteY93" fmla="*/ 73491 h 110081"/>
              <a:gd name="connsiteX94" fmla="*/ 608483 w 613276"/>
              <a:gd name="connsiteY94" fmla="*/ 92782 h 110081"/>
              <a:gd name="connsiteX95" fmla="*/ 595785 w 613276"/>
              <a:gd name="connsiteY95" fmla="*/ 105601 h 110081"/>
              <a:gd name="connsiteX96" fmla="*/ 577733 w 613276"/>
              <a:gd name="connsiteY96" fmla="*/ 110082 h 110081"/>
              <a:gd name="connsiteX97" fmla="*/ 556070 w 613276"/>
              <a:gd name="connsiteY97" fmla="*/ 104108 h 110081"/>
              <a:gd name="connsiteX98" fmla="*/ 543994 w 613276"/>
              <a:gd name="connsiteY98" fmla="*/ 87555 h 110081"/>
              <a:gd name="connsiteX99" fmla="*/ 540259 w 613276"/>
              <a:gd name="connsiteY99" fmla="*/ 63161 h 110081"/>
              <a:gd name="connsiteX100" fmla="*/ 544741 w 613276"/>
              <a:gd name="connsiteY100" fmla="*/ 30181 h 110081"/>
              <a:gd name="connsiteX101" fmla="*/ 558747 w 613276"/>
              <a:gd name="connsiteY101" fmla="*/ 8089 h 110081"/>
              <a:gd name="connsiteX102" fmla="*/ 583273 w 613276"/>
              <a:gd name="connsiteY102" fmla="*/ 0 h 110081"/>
              <a:gd name="connsiteX103" fmla="*/ 605807 w 613276"/>
              <a:gd name="connsiteY103" fmla="*/ 5538 h 110081"/>
              <a:gd name="connsiteX104" fmla="*/ 605807 w 613276"/>
              <a:gd name="connsiteY104" fmla="*/ 18855 h 110081"/>
              <a:gd name="connsiteX105" fmla="*/ 583273 w 613276"/>
              <a:gd name="connsiteY105" fmla="*/ 12259 h 110081"/>
              <a:gd name="connsiteX106" fmla="*/ 567711 w 613276"/>
              <a:gd name="connsiteY106" fmla="*/ 17361 h 110081"/>
              <a:gd name="connsiteX107" fmla="*/ 557875 w 613276"/>
              <a:gd name="connsiteY107" fmla="*/ 31238 h 110081"/>
              <a:gd name="connsiteX108" fmla="*/ 553705 w 613276"/>
              <a:gd name="connsiteY108" fmla="*/ 50778 h 110081"/>
              <a:gd name="connsiteX109" fmla="*/ 565034 w 613276"/>
              <a:gd name="connsiteY109" fmla="*/ 40759 h 110081"/>
              <a:gd name="connsiteX110" fmla="*/ 579102 w 613276"/>
              <a:gd name="connsiteY110" fmla="*/ 37523 h 110081"/>
              <a:gd name="connsiteX111" fmla="*/ 596408 w 613276"/>
              <a:gd name="connsiteY111" fmla="*/ 41693 h 110081"/>
              <a:gd name="connsiteX112" fmla="*/ 608670 w 613276"/>
              <a:gd name="connsiteY112" fmla="*/ 53952 h 110081"/>
              <a:gd name="connsiteX113" fmla="*/ 613277 w 613276"/>
              <a:gd name="connsiteY113" fmla="*/ 73491 h 110081"/>
              <a:gd name="connsiteX114" fmla="*/ 577297 w 613276"/>
              <a:gd name="connsiteY114" fmla="*/ 98134 h 110081"/>
              <a:gd name="connsiteX115" fmla="*/ 588066 w 613276"/>
              <a:gd name="connsiteY115" fmla="*/ 95458 h 110081"/>
              <a:gd name="connsiteX116" fmla="*/ 595971 w 613276"/>
              <a:gd name="connsiteY116" fmla="*/ 87244 h 110081"/>
              <a:gd name="connsiteX117" fmla="*/ 599084 w 613276"/>
              <a:gd name="connsiteY117" fmla="*/ 73803 h 110081"/>
              <a:gd name="connsiteX118" fmla="*/ 596096 w 613276"/>
              <a:gd name="connsiteY118" fmla="*/ 60174 h 110081"/>
              <a:gd name="connsiteX119" fmla="*/ 588502 w 613276"/>
              <a:gd name="connsiteY119" fmla="*/ 51961 h 110081"/>
              <a:gd name="connsiteX120" fmla="*/ 578791 w 613276"/>
              <a:gd name="connsiteY120" fmla="*/ 49160 h 110081"/>
              <a:gd name="connsiteX121" fmla="*/ 562171 w 613276"/>
              <a:gd name="connsiteY121" fmla="*/ 55570 h 110081"/>
              <a:gd name="connsiteX122" fmla="*/ 555634 w 613276"/>
              <a:gd name="connsiteY122" fmla="*/ 74114 h 110081"/>
              <a:gd name="connsiteX123" fmla="*/ 561424 w 613276"/>
              <a:gd name="connsiteY123" fmla="*/ 91538 h 110081"/>
              <a:gd name="connsiteX124" fmla="*/ 577297 w 613276"/>
              <a:gd name="connsiteY124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1327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116" y="1493"/>
                </a:lnTo>
                <a:lnTo>
                  <a:pt x="343116" y="14374"/>
                </a:lnTo>
                <a:lnTo>
                  <a:pt x="291698" y="14374"/>
                </a:lnTo>
                <a:lnTo>
                  <a:pt x="291698" y="49907"/>
                </a:lnTo>
                <a:lnTo>
                  <a:pt x="335335" y="49907"/>
                </a:lnTo>
                <a:lnTo>
                  <a:pt x="335335" y="62601"/>
                </a:lnTo>
                <a:lnTo>
                  <a:pt x="291698" y="62601"/>
                </a:lnTo>
                <a:lnTo>
                  <a:pt x="291698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442964" y="108588"/>
                </a:moveTo>
                <a:lnTo>
                  <a:pt x="428024" y="108588"/>
                </a:lnTo>
                <a:lnTo>
                  <a:pt x="416943" y="77972"/>
                </a:lnTo>
                <a:lnTo>
                  <a:pt x="369634" y="77972"/>
                </a:lnTo>
                <a:lnTo>
                  <a:pt x="358678" y="108588"/>
                </a:lnTo>
                <a:lnTo>
                  <a:pt x="345544" y="108588"/>
                </a:lnTo>
                <a:lnTo>
                  <a:pt x="383640" y="1493"/>
                </a:lnTo>
                <a:lnTo>
                  <a:pt x="404556" y="1493"/>
                </a:lnTo>
                <a:lnTo>
                  <a:pt x="442964" y="108588"/>
                </a:lnTo>
                <a:close/>
                <a:moveTo>
                  <a:pt x="374241" y="65278"/>
                </a:moveTo>
                <a:lnTo>
                  <a:pt x="412462" y="65278"/>
                </a:lnTo>
                <a:lnTo>
                  <a:pt x="393352" y="11947"/>
                </a:lnTo>
                <a:lnTo>
                  <a:pt x="374241" y="65278"/>
                </a:lnTo>
                <a:close/>
                <a:moveTo>
                  <a:pt x="458588" y="1493"/>
                </a:moveTo>
                <a:lnTo>
                  <a:pt x="524884" y="1493"/>
                </a:lnTo>
                <a:lnTo>
                  <a:pt x="524884" y="14374"/>
                </a:lnTo>
                <a:lnTo>
                  <a:pt x="472594" y="14374"/>
                </a:lnTo>
                <a:lnTo>
                  <a:pt x="472594" y="46734"/>
                </a:lnTo>
                <a:lnTo>
                  <a:pt x="516978" y="46734"/>
                </a:lnTo>
                <a:lnTo>
                  <a:pt x="516978" y="59428"/>
                </a:lnTo>
                <a:lnTo>
                  <a:pt x="472594" y="59428"/>
                </a:lnTo>
                <a:lnTo>
                  <a:pt x="472594" y="95893"/>
                </a:lnTo>
                <a:lnTo>
                  <a:pt x="525631" y="95893"/>
                </a:lnTo>
                <a:lnTo>
                  <a:pt x="525631" y="108588"/>
                </a:lnTo>
                <a:lnTo>
                  <a:pt x="458588" y="108588"/>
                </a:lnTo>
                <a:lnTo>
                  <a:pt x="458588" y="1493"/>
                </a:lnTo>
                <a:close/>
                <a:moveTo>
                  <a:pt x="613277" y="73491"/>
                </a:moveTo>
                <a:cubicBezTo>
                  <a:pt x="613277" y="80772"/>
                  <a:pt x="611721" y="87182"/>
                  <a:pt x="608483" y="92782"/>
                </a:cubicBezTo>
                <a:cubicBezTo>
                  <a:pt x="605433" y="98258"/>
                  <a:pt x="601201" y="102490"/>
                  <a:pt x="595785" y="105601"/>
                </a:cubicBezTo>
                <a:cubicBezTo>
                  <a:pt x="590431" y="108588"/>
                  <a:pt x="584393" y="110082"/>
                  <a:pt x="577733" y="110082"/>
                </a:cubicBezTo>
                <a:cubicBezTo>
                  <a:pt x="568769" y="110082"/>
                  <a:pt x="561548" y="108091"/>
                  <a:pt x="556070" y="104108"/>
                </a:cubicBezTo>
                <a:cubicBezTo>
                  <a:pt x="550592" y="100125"/>
                  <a:pt x="546546" y="94587"/>
                  <a:pt x="543994" y="87555"/>
                </a:cubicBezTo>
                <a:cubicBezTo>
                  <a:pt x="541504" y="80461"/>
                  <a:pt x="540259" y="72372"/>
                  <a:pt x="540259" y="63161"/>
                </a:cubicBezTo>
                <a:cubicBezTo>
                  <a:pt x="540259" y="50653"/>
                  <a:pt x="541753" y="39639"/>
                  <a:pt x="544741" y="30181"/>
                </a:cubicBezTo>
                <a:cubicBezTo>
                  <a:pt x="547791" y="20722"/>
                  <a:pt x="552459" y="13379"/>
                  <a:pt x="558747" y="8089"/>
                </a:cubicBezTo>
                <a:cubicBezTo>
                  <a:pt x="565158" y="2675"/>
                  <a:pt x="573313" y="0"/>
                  <a:pt x="583273" y="0"/>
                </a:cubicBezTo>
                <a:cubicBezTo>
                  <a:pt x="591801" y="0"/>
                  <a:pt x="599333" y="1866"/>
                  <a:pt x="605807" y="5538"/>
                </a:cubicBezTo>
                <a:lnTo>
                  <a:pt x="605807" y="18855"/>
                </a:lnTo>
                <a:cubicBezTo>
                  <a:pt x="599333" y="14437"/>
                  <a:pt x="591801" y="12259"/>
                  <a:pt x="583273" y="12259"/>
                </a:cubicBezTo>
                <a:cubicBezTo>
                  <a:pt x="577111" y="12259"/>
                  <a:pt x="571881" y="13939"/>
                  <a:pt x="567711" y="17361"/>
                </a:cubicBezTo>
                <a:cubicBezTo>
                  <a:pt x="563540" y="20722"/>
                  <a:pt x="560241" y="25327"/>
                  <a:pt x="557875" y="31238"/>
                </a:cubicBezTo>
                <a:cubicBezTo>
                  <a:pt x="555572" y="37026"/>
                  <a:pt x="554203" y="43498"/>
                  <a:pt x="553705" y="50778"/>
                </a:cubicBezTo>
                <a:cubicBezTo>
                  <a:pt x="556941" y="46298"/>
                  <a:pt x="560739" y="42999"/>
                  <a:pt x="565034" y="40759"/>
                </a:cubicBezTo>
                <a:cubicBezTo>
                  <a:pt x="569329" y="38581"/>
                  <a:pt x="573998" y="37523"/>
                  <a:pt x="579102" y="37523"/>
                </a:cubicBezTo>
                <a:cubicBezTo>
                  <a:pt x="585576" y="37523"/>
                  <a:pt x="591303" y="38893"/>
                  <a:pt x="596408" y="41693"/>
                </a:cubicBezTo>
                <a:cubicBezTo>
                  <a:pt x="601574" y="44493"/>
                  <a:pt x="605683" y="48538"/>
                  <a:pt x="608670" y="53952"/>
                </a:cubicBezTo>
                <a:cubicBezTo>
                  <a:pt x="611721" y="59179"/>
                  <a:pt x="613277" y="65713"/>
                  <a:pt x="613277" y="73491"/>
                </a:cubicBezTo>
                <a:close/>
                <a:moveTo>
                  <a:pt x="577297" y="98134"/>
                </a:moveTo>
                <a:cubicBezTo>
                  <a:pt x="581156" y="98134"/>
                  <a:pt x="584767" y="97263"/>
                  <a:pt x="588066" y="95458"/>
                </a:cubicBezTo>
                <a:cubicBezTo>
                  <a:pt x="591303" y="93529"/>
                  <a:pt x="593980" y="90791"/>
                  <a:pt x="595971" y="87244"/>
                </a:cubicBezTo>
                <a:cubicBezTo>
                  <a:pt x="598026" y="83635"/>
                  <a:pt x="599084" y="79154"/>
                  <a:pt x="599084" y="73803"/>
                </a:cubicBezTo>
                <a:cubicBezTo>
                  <a:pt x="599084" y="68389"/>
                  <a:pt x="598088" y="63908"/>
                  <a:pt x="596096" y="60174"/>
                </a:cubicBezTo>
                <a:cubicBezTo>
                  <a:pt x="594104" y="56503"/>
                  <a:pt x="591552" y="53765"/>
                  <a:pt x="588502" y="51961"/>
                </a:cubicBezTo>
                <a:cubicBezTo>
                  <a:pt x="585389" y="50093"/>
                  <a:pt x="582152" y="49160"/>
                  <a:pt x="578791" y="49160"/>
                </a:cubicBezTo>
                <a:cubicBezTo>
                  <a:pt x="572193" y="49160"/>
                  <a:pt x="566652" y="51276"/>
                  <a:pt x="562171" y="55570"/>
                </a:cubicBezTo>
                <a:cubicBezTo>
                  <a:pt x="557813" y="59739"/>
                  <a:pt x="555634" y="65900"/>
                  <a:pt x="555634" y="74114"/>
                </a:cubicBezTo>
                <a:cubicBezTo>
                  <a:pt x="555634" y="81270"/>
                  <a:pt x="557564" y="87058"/>
                  <a:pt x="561424" y="91538"/>
                </a:cubicBezTo>
                <a:cubicBezTo>
                  <a:pt x="565345" y="95956"/>
                  <a:pt x="570636" y="98134"/>
                  <a:pt x="577297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grpSp>
        <p:nvGrpSpPr>
          <p:cNvPr id="1149" name="Группа 1148">
            <a:extLst>
              <a:ext uri="{FF2B5EF4-FFF2-40B4-BE49-F238E27FC236}">
                <a16:creationId xmlns:a16="http://schemas.microsoft.com/office/drawing/2014/main" id="{463C9BA5-0311-A1EE-84FC-3C68C3A87E7F}"/>
              </a:ext>
            </a:extLst>
          </p:cNvPr>
          <p:cNvGrpSpPr/>
          <p:nvPr userDrawn="1"/>
        </p:nvGrpSpPr>
        <p:grpSpPr>
          <a:xfrm>
            <a:off x="8502520" y="7619044"/>
            <a:ext cx="312638" cy="312638"/>
            <a:chOff x="2816046" y="7085282"/>
            <a:chExt cx="346932" cy="346932"/>
          </a:xfrm>
        </p:grpSpPr>
        <p:sp>
          <p:nvSpPr>
            <p:cNvPr id="1150" name="Рисунок 1184">
              <a:extLst>
                <a:ext uri="{FF2B5EF4-FFF2-40B4-BE49-F238E27FC236}">
                  <a16:creationId xmlns:a16="http://schemas.microsoft.com/office/drawing/2014/main" id="{3FE45A5F-2871-CF9F-8B2A-82807E1B367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51" name="Прямоугольник 1150">
              <a:extLst>
                <a:ext uri="{FF2B5EF4-FFF2-40B4-BE49-F238E27FC236}">
                  <a16:creationId xmlns:a16="http://schemas.microsoft.com/office/drawing/2014/main" id="{921D6A88-A105-5290-D7B6-5DF20E25693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52" name="Рисунок 1184">
              <a:extLst>
                <a:ext uri="{FF2B5EF4-FFF2-40B4-BE49-F238E27FC236}">
                  <a16:creationId xmlns:a16="http://schemas.microsoft.com/office/drawing/2014/main" id="{FA6ED55B-5BDB-8F2D-63C6-D05742C18C92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53" name="Группа 1152">
            <a:extLst>
              <a:ext uri="{FF2B5EF4-FFF2-40B4-BE49-F238E27FC236}">
                <a16:creationId xmlns:a16="http://schemas.microsoft.com/office/drawing/2014/main" id="{4BE52CB6-7464-C894-B4B8-92CB48D51309}"/>
              </a:ext>
            </a:extLst>
          </p:cNvPr>
          <p:cNvGrpSpPr/>
          <p:nvPr userDrawn="1"/>
        </p:nvGrpSpPr>
        <p:grpSpPr>
          <a:xfrm>
            <a:off x="5801026" y="7619044"/>
            <a:ext cx="312638" cy="312638"/>
            <a:chOff x="2816046" y="7085282"/>
            <a:chExt cx="346932" cy="346932"/>
          </a:xfrm>
        </p:grpSpPr>
        <p:sp>
          <p:nvSpPr>
            <p:cNvPr id="1154" name="Рисунок 1184">
              <a:extLst>
                <a:ext uri="{FF2B5EF4-FFF2-40B4-BE49-F238E27FC236}">
                  <a16:creationId xmlns:a16="http://schemas.microsoft.com/office/drawing/2014/main" id="{DA025B64-F606-771A-1E95-D50A4E1656C6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55" name="Прямоугольник 1154">
              <a:extLst>
                <a:ext uri="{FF2B5EF4-FFF2-40B4-BE49-F238E27FC236}">
                  <a16:creationId xmlns:a16="http://schemas.microsoft.com/office/drawing/2014/main" id="{5945484E-A70B-7BA2-8D31-B5B4DF7E6CA1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56" name="Рисунок 1184">
              <a:extLst>
                <a:ext uri="{FF2B5EF4-FFF2-40B4-BE49-F238E27FC236}">
                  <a16:creationId xmlns:a16="http://schemas.microsoft.com/office/drawing/2014/main" id="{A3D4FAF2-21E2-E592-99E5-8E0BF7A0263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61" name="Группа 1160">
            <a:extLst>
              <a:ext uri="{FF2B5EF4-FFF2-40B4-BE49-F238E27FC236}">
                <a16:creationId xmlns:a16="http://schemas.microsoft.com/office/drawing/2014/main" id="{652C4313-48A7-1516-482F-5139FE35F08F}"/>
              </a:ext>
            </a:extLst>
          </p:cNvPr>
          <p:cNvGrpSpPr/>
          <p:nvPr userDrawn="1"/>
        </p:nvGrpSpPr>
        <p:grpSpPr>
          <a:xfrm>
            <a:off x="11179305" y="7619044"/>
            <a:ext cx="312638" cy="312638"/>
            <a:chOff x="2816046" y="7085282"/>
            <a:chExt cx="346932" cy="346932"/>
          </a:xfrm>
        </p:grpSpPr>
        <p:sp>
          <p:nvSpPr>
            <p:cNvPr id="1162" name="Рисунок 1184">
              <a:extLst>
                <a:ext uri="{FF2B5EF4-FFF2-40B4-BE49-F238E27FC236}">
                  <a16:creationId xmlns:a16="http://schemas.microsoft.com/office/drawing/2014/main" id="{FDD0F98B-F7D5-74E6-AEA8-084085AE419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3" name="Прямоугольник 1162">
              <a:extLst>
                <a:ext uri="{FF2B5EF4-FFF2-40B4-BE49-F238E27FC236}">
                  <a16:creationId xmlns:a16="http://schemas.microsoft.com/office/drawing/2014/main" id="{DF758386-B8E3-135D-299A-FBE406D9646F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64" name="Рисунок 1184">
              <a:extLst>
                <a:ext uri="{FF2B5EF4-FFF2-40B4-BE49-F238E27FC236}">
                  <a16:creationId xmlns:a16="http://schemas.microsoft.com/office/drawing/2014/main" id="{6616CF4E-1613-0151-3FA5-14E8689115A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65" name="Группа 1164">
            <a:extLst>
              <a:ext uri="{FF2B5EF4-FFF2-40B4-BE49-F238E27FC236}">
                <a16:creationId xmlns:a16="http://schemas.microsoft.com/office/drawing/2014/main" id="{4CF362FE-6FCA-224B-2A80-AC11C9CC995F}"/>
              </a:ext>
            </a:extLst>
          </p:cNvPr>
          <p:cNvGrpSpPr/>
          <p:nvPr userDrawn="1"/>
        </p:nvGrpSpPr>
        <p:grpSpPr>
          <a:xfrm>
            <a:off x="13246605" y="8342103"/>
            <a:ext cx="312638" cy="312638"/>
            <a:chOff x="2816046" y="7085282"/>
            <a:chExt cx="346932" cy="346932"/>
          </a:xfrm>
        </p:grpSpPr>
        <p:sp>
          <p:nvSpPr>
            <p:cNvPr id="1166" name="Рисунок 1184">
              <a:extLst>
                <a:ext uri="{FF2B5EF4-FFF2-40B4-BE49-F238E27FC236}">
                  <a16:creationId xmlns:a16="http://schemas.microsoft.com/office/drawing/2014/main" id="{CBBF9D57-E5A3-6485-A3C8-9B0FC397481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7" name="Прямоугольник 1166">
              <a:extLst>
                <a:ext uri="{FF2B5EF4-FFF2-40B4-BE49-F238E27FC236}">
                  <a16:creationId xmlns:a16="http://schemas.microsoft.com/office/drawing/2014/main" id="{15EE2DFD-05CD-0198-272F-D6B7A8CBDE1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68" name="Рисунок 1184">
              <a:extLst>
                <a:ext uri="{FF2B5EF4-FFF2-40B4-BE49-F238E27FC236}">
                  <a16:creationId xmlns:a16="http://schemas.microsoft.com/office/drawing/2014/main" id="{FE67E686-B959-5CDC-3DE2-027F6FFA523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05" name="TextBox 1204">
            <a:extLst>
              <a:ext uri="{FF2B5EF4-FFF2-40B4-BE49-F238E27FC236}">
                <a16:creationId xmlns:a16="http://schemas.microsoft.com/office/drawing/2014/main" id="{4AC18DDF-B8CC-29BA-481B-C07C59298BE8}"/>
              </a:ext>
            </a:extLst>
          </p:cNvPr>
          <p:cNvSpPr txBox="1"/>
          <p:nvPr userDrawn="1"/>
        </p:nvSpPr>
        <p:spPr>
          <a:xfrm>
            <a:off x="12296582" y="9812368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9EFFFF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07" name="Полилиния 1206">
            <a:extLst>
              <a:ext uri="{FF2B5EF4-FFF2-40B4-BE49-F238E27FC236}">
                <a16:creationId xmlns:a16="http://schemas.microsoft.com/office/drawing/2014/main" id="{769DAE36-D41A-B874-14AF-984FA77938F8}"/>
              </a:ext>
            </a:extLst>
          </p:cNvPr>
          <p:cNvSpPr/>
          <p:nvPr userDrawn="1"/>
        </p:nvSpPr>
        <p:spPr>
          <a:xfrm>
            <a:off x="12270615" y="7422308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EAE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08" name="TextBox 1207">
            <a:extLst>
              <a:ext uri="{FF2B5EF4-FFF2-40B4-BE49-F238E27FC236}">
                <a16:creationId xmlns:a16="http://schemas.microsoft.com/office/drawing/2014/main" id="{EE45F42B-8957-D571-2CAB-1520CF2EDFB8}"/>
              </a:ext>
            </a:extLst>
          </p:cNvPr>
          <p:cNvSpPr txBox="1"/>
          <p:nvPr userDrawn="1"/>
        </p:nvSpPr>
        <p:spPr>
          <a:xfrm>
            <a:off x="12296582" y="7627976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00EAE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09" name="Рисунок 1184">
            <a:extLst>
              <a:ext uri="{FF2B5EF4-FFF2-40B4-BE49-F238E27FC236}">
                <a16:creationId xmlns:a16="http://schemas.microsoft.com/office/drawing/2014/main" id="{F1C40573-F081-E1AA-66C4-19A0FA610E92}"/>
              </a:ext>
            </a:extLst>
          </p:cNvPr>
          <p:cNvSpPr/>
          <p:nvPr userDrawn="1"/>
        </p:nvSpPr>
        <p:spPr>
          <a:xfrm>
            <a:off x="13259003" y="7636651"/>
            <a:ext cx="287842" cy="287842"/>
          </a:xfrm>
          <a:custGeom>
            <a:avLst/>
            <a:gdLst>
              <a:gd name="connsiteX0" fmla="*/ 5614 w 171450"/>
              <a:gd name="connsiteY0" fmla="*/ 18193 h 171450"/>
              <a:gd name="connsiteX1" fmla="*/ 0 w 171450"/>
              <a:gd name="connsiteY1" fmla="*/ 64770 h 171450"/>
              <a:gd name="connsiteX2" fmla="*/ 0 w 171450"/>
              <a:gd name="connsiteY2" fmla="*/ 106680 h 171450"/>
              <a:gd name="connsiteX3" fmla="*/ 5614 w 171450"/>
              <a:gd name="connsiteY3" fmla="*/ 153257 h 171450"/>
              <a:gd name="connsiteX4" fmla="*/ 18193 w 171450"/>
              <a:gd name="connsiteY4" fmla="*/ 165836 h 171450"/>
              <a:gd name="connsiteX5" fmla="*/ 64770 w 171450"/>
              <a:gd name="connsiteY5" fmla="*/ 171450 h 171450"/>
              <a:gd name="connsiteX6" fmla="*/ 106680 w 171450"/>
              <a:gd name="connsiteY6" fmla="*/ 171450 h 171450"/>
              <a:gd name="connsiteX7" fmla="*/ 153257 w 171450"/>
              <a:gd name="connsiteY7" fmla="*/ 165836 h 171450"/>
              <a:gd name="connsiteX8" fmla="*/ 165836 w 171450"/>
              <a:gd name="connsiteY8" fmla="*/ 153257 h 171450"/>
              <a:gd name="connsiteX9" fmla="*/ 171450 w 171450"/>
              <a:gd name="connsiteY9" fmla="*/ 106680 h 171450"/>
              <a:gd name="connsiteX10" fmla="*/ 171450 w 171450"/>
              <a:gd name="connsiteY10" fmla="*/ 64770 h 171450"/>
              <a:gd name="connsiteX11" fmla="*/ 165836 w 171450"/>
              <a:gd name="connsiteY11" fmla="*/ 18193 h 171450"/>
              <a:gd name="connsiteX12" fmla="*/ 153257 w 171450"/>
              <a:gd name="connsiteY12" fmla="*/ 5614 h 171450"/>
              <a:gd name="connsiteX13" fmla="*/ 106680 w 171450"/>
              <a:gd name="connsiteY13" fmla="*/ 0 h 171450"/>
              <a:gd name="connsiteX14" fmla="*/ 64770 w 171450"/>
              <a:gd name="connsiteY14" fmla="*/ 0 h 171450"/>
              <a:gd name="connsiteX15" fmla="*/ 18193 w 171450"/>
              <a:gd name="connsiteY15" fmla="*/ 5614 h 171450"/>
              <a:gd name="connsiteX16" fmla="*/ 5614 w 171450"/>
              <a:gd name="connsiteY16" fmla="*/ 18193 h 171450"/>
              <a:gd name="connsiteX17" fmla="*/ 76095 w 171450"/>
              <a:gd name="connsiteY17" fmla="*/ 123822 h 171450"/>
              <a:gd name="connsiteX18" fmla="*/ 138113 w 171450"/>
              <a:gd name="connsiteY18" fmla="*/ 61910 h 171450"/>
              <a:gd name="connsiteX19" fmla="*/ 123825 w 171450"/>
              <a:gd name="connsiteY19" fmla="*/ 47625 h 171450"/>
              <a:gd name="connsiteX20" fmla="*/ 76095 w 171450"/>
              <a:gd name="connsiteY20" fmla="*/ 95247 h 171450"/>
              <a:gd name="connsiteX21" fmla="*/ 47621 w 171450"/>
              <a:gd name="connsiteY21" fmla="*/ 66679 h 171450"/>
              <a:gd name="connsiteX22" fmla="*/ 33338 w 171450"/>
              <a:gd name="connsiteY22" fmla="*/ 80960 h 171450"/>
              <a:gd name="connsiteX23" fmla="*/ 76095 w 171450"/>
              <a:gd name="connsiteY23" fmla="*/ 123822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71450" h="171450">
                <a:moveTo>
                  <a:pt x="5614" y="18193"/>
                </a:moveTo>
                <a:cubicBezTo>
                  <a:pt x="0" y="27355"/>
                  <a:pt x="0" y="39827"/>
                  <a:pt x="0" y="64770"/>
                </a:cubicBezTo>
                <a:lnTo>
                  <a:pt x="0" y="106680"/>
                </a:lnTo>
                <a:cubicBezTo>
                  <a:pt x="0" y="131623"/>
                  <a:pt x="0" y="144095"/>
                  <a:pt x="5614" y="153257"/>
                </a:cubicBezTo>
                <a:cubicBezTo>
                  <a:pt x="8756" y="158384"/>
                  <a:pt x="13066" y="162694"/>
                  <a:pt x="18193" y="165836"/>
                </a:cubicBezTo>
                <a:cubicBezTo>
                  <a:pt x="27355" y="171450"/>
                  <a:pt x="39827" y="171450"/>
                  <a:pt x="64770" y="171450"/>
                </a:cubicBezTo>
                <a:lnTo>
                  <a:pt x="106680" y="171450"/>
                </a:lnTo>
                <a:cubicBezTo>
                  <a:pt x="131623" y="171450"/>
                  <a:pt x="144095" y="171450"/>
                  <a:pt x="153257" y="165836"/>
                </a:cubicBezTo>
                <a:cubicBezTo>
                  <a:pt x="158384" y="162694"/>
                  <a:pt x="162694" y="158384"/>
                  <a:pt x="165836" y="153257"/>
                </a:cubicBezTo>
                <a:cubicBezTo>
                  <a:pt x="171450" y="144095"/>
                  <a:pt x="171450" y="131623"/>
                  <a:pt x="171450" y="106680"/>
                </a:cubicBezTo>
                <a:lnTo>
                  <a:pt x="171450" y="64770"/>
                </a:lnTo>
                <a:cubicBezTo>
                  <a:pt x="171450" y="39827"/>
                  <a:pt x="171450" y="27355"/>
                  <a:pt x="165836" y="18193"/>
                </a:cubicBezTo>
                <a:cubicBezTo>
                  <a:pt x="162694" y="13066"/>
                  <a:pt x="158384" y="8756"/>
                  <a:pt x="153257" y="5614"/>
                </a:cubicBezTo>
                <a:cubicBezTo>
                  <a:pt x="144095" y="0"/>
                  <a:pt x="131623" y="0"/>
                  <a:pt x="106680" y="0"/>
                </a:cubicBezTo>
                <a:lnTo>
                  <a:pt x="64770" y="0"/>
                </a:lnTo>
                <a:cubicBezTo>
                  <a:pt x="39827" y="0"/>
                  <a:pt x="27355" y="0"/>
                  <a:pt x="18193" y="5614"/>
                </a:cubicBezTo>
                <a:cubicBezTo>
                  <a:pt x="13066" y="8756"/>
                  <a:pt x="8756" y="13066"/>
                  <a:pt x="5614" y="18193"/>
                </a:cubicBezTo>
                <a:close/>
                <a:moveTo>
                  <a:pt x="76095" y="123822"/>
                </a:moveTo>
                <a:lnTo>
                  <a:pt x="138113" y="61910"/>
                </a:lnTo>
                <a:lnTo>
                  <a:pt x="123825" y="47625"/>
                </a:lnTo>
                <a:lnTo>
                  <a:pt x="76095" y="95247"/>
                </a:lnTo>
                <a:lnTo>
                  <a:pt x="47621" y="66679"/>
                </a:lnTo>
                <a:lnTo>
                  <a:pt x="33338" y="80960"/>
                </a:lnTo>
                <a:lnTo>
                  <a:pt x="76095" y="123822"/>
                </a:lnTo>
                <a:close/>
              </a:path>
            </a:pathLst>
          </a:custGeom>
          <a:solidFill>
            <a:srgbClr val="191E2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23" name="Полилиния 1222">
            <a:extLst>
              <a:ext uri="{FF2B5EF4-FFF2-40B4-BE49-F238E27FC236}">
                <a16:creationId xmlns:a16="http://schemas.microsoft.com/office/drawing/2014/main" id="{A2E72A2C-B4CE-2631-6ED0-5471146A50CE}"/>
              </a:ext>
            </a:extLst>
          </p:cNvPr>
          <p:cNvSpPr/>
          <p:nvPr userDrawn="1"/>
        </p:nvSpPr>
        <p:spPr>
          <a:xfrm>
            <a:off x="12393824" y="10625622"/>
            <a:ext cx="739556" cy="128252"/>
          </a:xfrm>
          <a:custGeom>
            <a:avLst/>
            <a:gdLst>
              <a:gd name="connsiteX0" fmla="*/ 22111 w 633706"/>
              <a:gd name="connsiteY0" fmla="*/ 108402 h 109895"/>
              <a:gd name="connsiteX1" fmla="*/ 10159 w 633706"/>
              <a:gd name="connsiteY1" fmla="*/ 108402 h 109895"/>
              <a:gd name="connsiteX2" fmla="*/ 16434 w 633706"/>
              <a:gd name="connsiteY2" fmla="*/ 77475 h 109895"/>
              <a:gd name="connsiteX3" fmla="*/ 0 w 633706"/>
              <a:gd name="connsiteY3" fmla="*/ 77475 h 109895"/>
              <a:gd name="connsiteX4" fmla="*/ 0 w 633706"/>
              <a:gd name="connsiteY4" fmla="*/ 67020 h 109895"/>
              <a:gd name="connsiteX5" fmla="*/ 18675 w 633706"/>
              <a:gd name="connsiteY5" fmla="*/ 67020 h 109895"/>
              <a:gd name="connsiteX6" fmla="*/ 24202 w 633706"/>
              <a:gd name="connsiteY6" fmla="*/ 39826 h 109895"/>
              <a:gd name="connsiteX7" fmla="*/ 4034 w 633706"/>
              <a:gd name="connsiteY7" fmla="*/ 39826 h 109895"/>
              <a:gd name="connsiteX8" fmla="*/ 4034 w 633706"/>
              <a:gd name="connsiteY8" fmla="*/ 29372 h 109895"/>
              <a:gd name="connsiteX9" fmla="*/ 26294 w 633706"/>
              <a:gd name="connsiteY9" fmla="*/ 29372 h 109895"/>
              <a:gd name="connsiteX10" fmla="*/ 32120 w 633706"/>
              <a:gd name="connsiteY10" fmla="*/ 1307 h 109895"/>
              <a:gd name="connsiteX11" fmla="*/ 44072 w 633706"/>
              <a:gd name="connsiteY11" fmla="*/ 1307 h 109895"/>
              <a:gd name="connsiteX12" fmla="*/ 38246 w 633706"/>
              <a:gd name="connsiteY12" fmla="*/ 29372 h 109895"/>
              <a:gd name="connsiteX13" fmla="*/ 60655 w 633706"/>
              <a:gd name="connsiteY13" fmla="*/ 29372 h 109895"/>
              <a:gd name="connsiteX14" fmla="*/ 66482 w 633706"/>
              <a:gd name="connsiteY14" fmla="*/ 1307 h 109895"/>
              <a:gd name="connsiteX15" fmla="*/ 78434 w 633706"/>
              <a:gd name="connsiteY15" fmla="*/ 1307 h 109895"/>
              <a:gd name="connsiteX16" fmla="*/ 72607 w 633706"/>
              <a:gd name="connsiteY16" fmla="*/ 29372 h 109895"/>
              <a:gd name="connsiteX17" fmla="*/ 89340 w 633706"/>
              <a:gd name="connsiteY17" fmla="*/ 29372 h 109895"/>
              <a:gd name="connsiteX18" fmla="*/ 89340 w 633706"/>
              <a:gd name="connsiteY18" fmla="*/ 39826 h 109895"/>
              <a:gd name="connsiteX19" fmla="*/ 70516 w 633706"/>
              <a:gd name="connsiteY19" fmla="*/ 39826 h 109895"/>
              <a:gd name="connsiteX20" fmla="*/ 64988 w 633706"/>
              <a:gd name="connsiteY20" fmla="*/ 67020 h 109895"/>
              <a:gd name="connsiteX21" fmla="*/ 85306 w 633706"/>
              <a:gd name="connsiteY21" fmla="*/ 67020 h 109895"/>
              <a:gd name="connsiteX22" fmla="*/ 85306 w 633706"/>
              <a:gd name="connsiteY22" fmla="*/ 77475 h 109895"/>
              <a:gd name="connsiteX23" fmla="*/ 62747 w 633706"/>
              <a:gd name="connsiteY23" fmla="*/ 77475 h 109895"/>
              <a:gd name="connsiteX24" fmla="*/ 56472 w 633706"/>
              <a:gd name="connsiteY24" fmla="*/ 108402 h 109895"/>
              <a:gd name="connsiteX25" fmla="*/ 44520 w 633706"/>
              <a:gd name="connsiteY25" fmla="*/ 108402 h 109895"/>
              <a:gd name="connsiteX26" fmla="*/ 50795 w 633706"/>
              <a:gd name="connsiteY26" fmla="*/ 77475 h 109895"/>
              <a:gd name="connsiteX27" fmla="*/ 28386 w 633706"/>
              <a:gd name="connsiteY27" fmla="*/ 77475 h 109895"/>
              <a:gd name="connsiteX28" fmla="*/ 22111 w 633706"/>
              <a:gd name="connsiteY28" fmla="*/ 108402 h 109895"/>
              <a:gd name="connsiteX29" fmla="*/ 30626 w 633706"/>
              <a:gd name="connsiteY29" fmla="*/ 67020 h 109895"/>
              <a:gd name="connsiteX30" fmla="*/ 53036 w 633706"/>
              <a:gd name="connsiteY30" fmla="*/ 67020 h 109895"/>
              <a:gd name="connsiteX31" fmla="*/ 58564 w 633706"/>
              <a:gd name="connsiteY31" fmla="*/ 39826 h 109895"/>
              <a:gd name="connsiteX32" fmla="*/ 36154 w 633706"/>
              <a:gd name="connsiteY32" fmla="*/ 39826 h 109895"/>
              <a:gd name="connsiteX33" fmla="*/ 30626 w 633706"/>
              <a:gd name="connsiteY33" fmla="*/ 67020 h 109895"/>
              <a:gd name="connsiteX34" fmla="*/ 107825 w 633706"/>
              <a:gd name="connsiteY34" fmla="*/ 1307 h 109895"/>
              <a:gd name="connsiteX35" fmla="*/ 143830 w 633706"/>
              <a:gd name="connsiteY35" fmla="*/ 1307 h 109895"/>
              <a:gd name="connsiteX36" fmla="*/ 163849 w 633706"/>
              <a:gd name="connsiteY36" fmla="*/ 3858 h 109895"/>
              <a:gd name="connsiteX37" fmla="*/ 179984 w 633706"/>
              <a:gd name="connsiteY37" fmla="*/ 12197 h 109895"/>
              <a:gd name="connsiteX38" fmla="*/ 190741 w 633706"/>
              <a:gd name="connsiteY38" fmla="*/ 27443 h 109895"/>
              <a:gd name="connsiteX39" fmla="*/ 194625 w 633706"/>
              <a:gd name="connsiteY39" fmla="*/ 51215 h 109895"/>
              <a:gd name="connsiteX40" fmla="*/ 187753 w 633706"/>
              <a:gd name="connsiteY40" fmla="*/ 82889 h 109895"/>
              <a:gd name="connsiteX41" fmla="*/ 169228 w 633706"/>
              <a:gd name="connsiteY41" fmla="*/ 101992 h 109895"/>
              <a:gd name="connsiteX42" fmla="*/ 142187 w 633706"/>
              <a:gd name="connsiteY42" fmla="*/ 108402 h 109895"/>
              <a:gd name="connsiteX43" fmla="*/ 107825 w 633706"/>
              <a:gd name="connsiteY43" fmla="*/ 108402 h 109895"/>
              <a:gd name="connsiteX44" fmla="*/ 107825 w 633706"/>
              <a:gd name="connsiteY44" fmla="*/ 1307 h 109895"/>
              <a:gd name="connsiteX45" fmla="*/ 142187 w 633706"/>
              <a:gd name="connsiteY45" fmla="*/ 95707 h 109895"/>
              <a:gd name="connsiteX46" fmla="*/ 161608 w 633706"/>
              <a:gd name="connsiteY46" fmla="*/ 91227 h 109895"/>
              <a:gd name="connsiteX47" fmla="*/ 174606 w 633706"/>
              <a:gd name="connsiteY47" fmla="*/ 77039 h 109895"/>
              <a:gd name="connsiteX48" fmla="*/ 179387 w 633706"/>
              <a:gd name="connsiteY48" fmla="*/ 52272 h 109895"/>
              <a:gd name="connsiteX49" fmla="*/ 174755 w 633706"/>
              <a:gd name="connsiteY49" fmla="*/ 28936 h 109895"/>
              <a:gd name="connsiteX50" fmla="*/ 162056 w 633706"/>
              <a:gd name="connsiteY50" fmla="*/ 17424 h 109895"/>
              <a:gd name="connsiteX51" fmla="*/ 143830 w 633706"/>
              <a:gd name="connsiteY51" fmla="*/ 14188 h 109895"/>
              <a:gd name="connsiteX52" fmla="*/ 121869 w 633706"/>
              <a:gd name="connsiteY52" fmla="*/ 14188 h 109895"/>
              <a:gd name="connsiteX53" fmla="*/ 121869 w 633706"/>
              <a:gd name="connsiteY53" fmla="*/ 95707 h 109895"/>
              <a:gd name="connsiteX54" fmla="*/ 142187 w 633706"/>
              <a:gd name="connsiteY54" fmla="*/ 95707 h 109895"/>
              <a:gd name="connsiteX55" fmla="*/ 259770 w 633706"/>
              <a:gd name="connsiteY55" fmla="*/ 109896 h 109895"/>
              <a:gd name="connsiteX56" fmla="*/ 231983 w 633706"/>
              <a:gd name="connsiteY56" fmla="*/ 103300 h 109895"/>
              <a:gd name="connsiteX57" fmla="*/ 213607 w 633706"/>
              <a:gd name="connsiteY57" fmla="*/ 84507 h 109895"/>
              <a:gd name="connsiteX58" fmla="*/ 207033 w 633706"/>
              <a:gd name="connsiteY58" fmla="*/ 54948 h 109895"/>
              <a:gd name="connsiteX59" fmla="*/ 220628 w 633706"/>
              <a:gd name="connsiteY59" fmla="*/ 14624 h 109895"/>
              <a:gd name="connsiteX60" fmla="*/ 259472 w 633706"/>
              <a:gd name="connsiteY60" fmla="*/ 0 h 109895"/>
              <a:gd name="connsiteX61" fmla="*/ 277399 w 633706"/>
              <a:gd name="connsiteY61" fmla="*/ 2054 h 109895"/>
              <a:gd name="connsiteX62" fmla="*/ 292040 w 633706"/>
              <a:gd name="connsiteY62" fmla="*/ 7716 h 109895"/>
              <a:gd name="connsiteX63" fmla="*/ 292040 w 633706"/>
              <a:gd name="connsiteY63" fmla="*/ 21158 h 109895"/>
              <a:gd name="connsiteX64" fmla="*/ 276951 w 633706"/>
              <a:gd name="connsiteY64" fmla="*/ 14935 h 109895"/>
              <a:gd name="connsiteX65" fmla="*/ 259322 w 633706"/>
              <a:gd name="connsiteY65" fmla="*/ 12695 h 109895"/>
              <a:gd name="connsiteX66" fmla="*/ 231385 w 633706"/>
              <a:gd name="connsiteY66" fmla="*/ 23273 h 109895"/>
              <a:gd name="connsiteX67" fmla="*/ 222272 w 633706"/>
              <a:gd name="connsiteY67" fmla="*/ 54948 h 109895"/>
              <a:gd name="connsiteX68" fmla="*/ 232132 w 633706"/>
              <a:gd name="connsiteY68" fmla="*/ 86747 h 109895"/>
              <a:gd name="connsiteX69" fmla="*/ 260966 w 633706"/>
              <a:gd name="connsiteY69" fmla="*/ 97201 h 109895"/>
              <a:gd name="connsiteX70" fmla="*/ 292040 w 633706"/>
              <a:gd name="connsiteY70" fmla="*/ 87369 h 109895"/>
              <a:gd name="connsiteX71" fmla="*/ 292040 w 633706"/>
              <a:gd name="connsiteY71" fmla="*/ 100811 h 109895"/>
              <a:gd name="connsiteX72" fmla="*/ 278146 w 633706"/>
              <a:gd name="connsiteY72" fmla="*/ 107531 h 109895"/>
              <a:gd name="connsiteX73" fmla="*/ 259770 w 633706"/>
              <a:gd name="connsiteY73" fmla="*/ 109896 h 109895"/>
              <a:gd name="connsiteX74" fmla="*/ 313539 w 633706"/>
              <a:gd name="connsiteY74" fmla="*/ 1307 h 109895"/>
              <a:gd name="connsiteX75" fmla="*/ 378975 w 633706"/>
              <a:gd name="connsiteY75" fmla="*/ 1307 h 109895"/>
              <a:gd name="connsiteX76" fmla="*/ 378975 w 633706"/>
              <a:gd name="connsiteY76" fmla="*/ 14188 h 109895"/>
              <a:gd name="connsiteX77" fmla="*/ 327582 w 633706"/>
              <a:gd name="connsiteY77" fmla="*/ 14188 h 109895"/>
              <a:gd name="connsiteX78" fmla="*/ 327582 w 633706"/>
              <a:gd name="connsiteY78" fmla="*/ 49720 h 109895"/>
              <a:gd name="connsiteX79" fmla="*/ 371206 w 633706"/>
              <a:gd name="connsiteY79" fmla="*/ 49720 h 109895"/>
              <a:gd name="connsiteX80" fmla="*/ 371206 w 633706"/>
              <a:gd name="connsiteY80" fmla="*/ 62415 h 109895"/>
              <a:gd name="connsiteX81" fmla="*/ 327582 w 633706"/>
              <a:gd name="connsiteY81" fmla="*/ 62415 h 109895"/>
              <a:gd name="connsiteX82" fmla="*/ 327582 w 633706"/>
              <a:gd name="connsiteY82" fmla="*/ 108402 h 109895"/>
              <a:gd name="connsiteX83" fmla="*/ 313539 w 633706"/>
              <a:gd name="connsiteY83" fmla="*/ 108402 h 109895"/>
              <a:gd name="connsiteX84" fmla="*/ 313539 w 633706"/>
              <a:gd name="connsiteY84" fmla="*/ 1307 h 109895"/>
              <a:gd name="connsiteX85" fmla="*/ 398450 w 633706"/>
              <a:gd name="connsiteY85" fmla="*/ 1307 h 109895"/>
              <a:gd name="connsiteX86" fmla="*/ 463886 w 633706"/>
              <a:gd name="connsiteY86" fmla="*/ 1307 h 109895"/>
              <a:gd name="connsiteX87" fmla="*/ 463886 w 633706"/>
              <a:gd name="connsiteY87" fmla="*/ 14188 h 109895"/>
              <a:gd name="connsiteX88" fmla="*/ 412493 w 633706"/>
              <a:gd name="connsiteY88" fmla="*/ 14188 h 109895"/>
              <a:gd name="connsiteX89" fmla="*/ 412493 w 633706"/>
              <a:gd name="connsiteY89" fmla="*/ 49720 h 109895"/>
              <a:gd name="connsiteX90" fmla="*/ 456117 w 633706"/>
              <a:gd name="connsiteY90" fmla="*/ 49720 h 109895"/>
              <a:gd name="connsiteX91" fmla="*/ 456117 w 633706"/>
              <a:gd name="connsiteY91" fmla="*/ 62415 h 109895"/>
              <a:gd name="connsiteX92" fmla="*/ 412493 w 633706"/>
              <a:gd name="connsiteY92" fmla="*/ 62415 h 109895"/>
              <a:gd name="connsiteX93" fmla="*/ 412493 w 633706"/>
              <a:gd name="connsiteY93" fmla="*/ 108402 h 109895"/>
              <a:gd name="connsiteX94" fmla="*/ 398450 w 633706"/>
              <a:gd name="connsiteY94" fmla="*/ 108402 h 109895"/>
              <a:gd name="connsiteX95" fmla="*/ 398450 w 633706"/>
              <a:gd name="connsiteY95" fmla="*/ 1307 h 109895"/>
              <a:gd name="connsiteX96" fmla="*/ 483362 w 633706"/>
              <a:gd name="connsiteY96" fmla="*/ 1307 h 109895"/>
              <a:gd name="connsiteX97" fmla="*/ 548799 w 633706"/>
              <a:gd name="connsiteY97" fmla="*/ 1307 h 109895"/>
              <a:gd name="connsiteX98" fmla="*/ 548799 w 633706"/>
              <a:gd name="connsiteY98" fmla="*/ 14188 h 109895"/>
              <a:gd name="connsiteX99" fmla="*/ 497405 w 633706"/>
              <a:gd name="connsiteY99" fmla="*/ 14188 h 109895"/>
              <a:gd name="connsiteX100" fmla="*/ 497405 w 633706"/>
              <a:gd name="connsiteY100" fmla="*/ 49720 h 109895"/>
              <a:gd name="connsiteX101" fmla="*/ 541031 w 633706"/>
              <a:gd name="connsiteY101" fmla="*/ 49720 h 109895"/>
              <a:gd name="connsiteX102" fmla="*/ 541031 w 633706"/>
              <a:gd name="connsiteY102" fmla="*/ 62415 h 109895"/>
              <a:gd name="connsiteX103" fmla="*/ 497405 w 633706"/>
              <a:gd name="connsiteY103" fmla="*/ 62415 h 109895"/>
              <a:gd name="connsiteX104" fmla="*/ 497405 w 633706"/>
              <a:gd name="connsiteY104" fmla="*/ 108402 h 109895"/>
              <a:gd name="connsiteX105" fmla="*/ 483362 w 633706"/>
              <a:gd name="connsiteY105" fmla="*/ 108402 h 109895"/>
              <a:gd name="connsiteX106" fmla="*/ 483362 w 633706"/>
              <a:gd name="connsiteY106" fmla="*/ 1307 h 109895"/>
              <a:gd name="connsiteX107" fmla="*/ 568271 w 633706"/>
              <a:gd name="connsiteY107" fmla="*/ 1307 h 109895"/>
              <a:gd name="connsiteX108" fmla="*/ 633707 w 633706"/>
              <a:gd name="connsiteY108" fmla="*/ 1307 h 109895"/>
              <a:gd name="connsiteX109" fmla="*/ 633707 w 633706"/>
              <a:gd name="connsiteY109" fmla="*/ 14188 h 109895"/>
              <a:gd name="connsiteX110" fmla="*/ 582314 w 633706"/>
              <a:gd name="connsiteY110" fmla="*/ 14188 h 109895"/>
              <a:gd name="connsiteX111" fmla="*/ 582314 w 633706"/>
              <a:gd name="connsiteY111" fmla="*/ 49720 h 109895"/>
              <a:gd name="connsiteX112" fmla="*/ 625938 w 633706"/>
              <a:gd name="connsiteY112" fmla="*/ 49720 h 109895"/>
              <a:gd name="connsiteX113" fmla="*/ 625938 w 633706"/>
              <a:gd name="connsiteY113" fmla="*/ 62415 h 109895"/>
              <a:gd name="connsiteX114" fmla="*/ 582314 w 633706"/>
              <a:gd name="connsiteY114" fmla="*/ 62415 h 109895"/>
              <a:gd name="connsiteX115" fmla="*/ 582314 w 633706"/>
              <a:gd name="connsiteY115" fmla="*/ 108402 h 109895"/>
              <a:gd name="connsiteX116" fmla="*/ 568271 w 633706"/>
              <a:gd name="connsiteY116" fmla="*/ 108402 h 109895"/>
              <a:gd name="connsiteX117" fmla="*/ 568271 w 633706"/>
              <a:gd name="connsiteY11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33706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5" y="1307"/>
                </a:moveTo>
                <a:lnTo>
                  <a:pt x="143830" y="1307"/>
                </a:lnTo>
                <a:cubicBezTo>
                  <a:pt x="151001" y="1307"/>
                  <a:pt x="157674" y="2179"/>
                  <a:pt x="163849" y="3858"/>
                </a:cubicBezTo>
                <a:cubicBezTo>
                  <a:pt x="170024" y="5538"/>
                  <a:pt x="175403" y="8339"/>
                  <a:pt x="179984" y="12197"/>
                </a:cubicBezTo>
                <a:cubicBezTo>
                  <a:pt x="184566" y="15993"/>
                  <a:pt x="188151" y="21096"/>
                  <a:pt x="190741" y="27443"/>
                </a:cubicBezTo>
                <a:cubicBezTo>
                  <a:pt x="193330" y="33853"/>
                  <a:pt x="194625" y="41756"/>
                  <a:pt x="194625" y="51215"/>
                </a:cubicBezTo>
                <a:cubicBezTo>
                  <a:pt x="194625" y="63722"/>
                  <a:pt x="192334" y="74301"/>
                  <a:pt x="187753" y="82889"/>
                </a:cubicBezTo>
                <a:cubicBezTo>
                  <a:pt x="183271" y="91352"/>
                  <a:pt x="177096" y="97699"/>
                  <a:pt x="169228" y="101992"/>
                </a:cubicBezTo>
                <a:cubicBezTo>
                  <a:pt x="161359" y="106287"/>
                  <a:pt x="152346" y="108402"/>
                  <a:pt x="142187" y="108402"/>
                </a:cubicBezTo>
                <a:lnTo>
                  <a:pt x="107825" y="108402"/>
                </a:lnTo>
                <a:lnTo>
                  <a:pt x="107825" y="1307"/>
                </a:lnTo>
                <a:close/>
                <a:moveTo>
                  <a:pt x="142187" y="95707"/>
                </a:moveTo>
                <a:cubicBezTo>
                  <a:pt x="149557" y="95707"/>
                  <a:pt x="156031" y="94214"/>
                  <a:pt x="161608" y="91227"/>
                </a:cubicBezTo>
                <a:cubicBezTo>
                  <a:pt x="167186" y="88116"/>
                  <a:pt x="171518" y="83386"/>
                  <a:pt x="174606" y="77039"/>
                </a:cubicBezTo>
                <a:cubicBezTo>
                  <a:pt x="177793" y="70568"/>
                  <a:pt x="179387" y="62291"/>
                  <a:pt x="179387" y="52272"/>
                </a:cubicBezTo>
                <a:cubicBezTo>
                  <a:pt x="179387" y="42191"/>
                  <a:pt x="177843" y="34413"/>
                  <a:pt x="174755" y="28936"/>
                </a:cubicBezTo>
                <a:cubicBezTo>
                  <a:pt x="171668" y="23460"/>
                  <a:pt x="167435" y="19664"/>
                  <a:pt x="162056" y="17424"/>
                </a:cubicBezTo>
                <a:cubicBezTo>
                  <a:pt x="156778" y="15246"/>
                  <a:pt x="150702" y="14188"/>
                  <a:pt x="143830" y="14188"/>
                </a:cubicBezTo>
                <a:lnTo>
                  <a:pt x="121869" y="14188"/>
                </a:lnTo>
                <a:lnTo>
                  <a:pt x="121869" y="95707"/>
                </a:lnTo>
                <a:lnTo>
                  <a:pt x="142187" y="95707"/>
                </a:lnTo>
                <a:close/>
                <a:moveTo>
                  <a:pt x="259770" y="109896"/>
                </a:moveTo>
                <a:cubicBezTo>
                  <a:pt x="249213" y="109896"/>
                  <a:pt x="239950" y="107718"/>
                  <a:pt x="231983" y="103300"/>
                </a:cubicBezTo>
                <a:cubicBezTo>
                  <a:pt x="224114" y="98943"/>
                  <a:pt x="217989" y="92658"/>
                  <a:pt x="213607" y="84507"/>
                </a:cubicBezTo>
                <a:cubicBezTo>
                  <a:pt x="209224" y="76230"/>
                  <a:pt x="207033" y="66398"/>
                  <a:pt x="207033" y="54948"/>
                </a:cubicBezTo>
                <a:cubicBezTo>
                  <a:pt x="207033" y="37711"/>
                  <a:pt x="211565" y="24269"/>
                  <a:pt x="220628" y="14624"/>
                </a:cubicBezTo>
                <a:cubicBezTo>
                  <a:pt x="229692" y="4854"/>
                  <a:pt x="242640" y="0"/>
                  <a:pt x="259472" y="0"/>
                </a:cubicBezTo>
                <a:cubicBezTo>
                  <a:pt x="265746" y="0"/>
                  <a:pt x="271722" y="684"/>
                  <a:pt x="277399" y="2054"/>
                </a:cubicBezTo>
                <a:cubicBezTo>
                  <a:pt x="283176" y="3361"/>
                  <a:pt x="288056" y="5228"/>
                  <a:pt x="292040" y="7716"/>
                </a:cubicBezTo>
                <a:lnTo>
                  <a:pt x="292040" y="21158"/>
                </a:lnTo>
                <a:cubicBezTo>
                  <a:pt x="287758" y="18482"/>
                  <a:pt x="282728" y="16428"/>
                  <a:pt x="276951" y="14935"/>
                </a:cubicBezTo>
                <a:cubicBezTo>
                  <a:pt x="271274" y="13442"/>
                  <a:pt x="265398" y="12695"/>
                  <a:pt x="259322" y="12695"/>
                </a:cubicBezTo>
                <a:cubicBezTo>
                  <a:pt x="246773" y="12695"/>
                  <a:pt x="237460" y="16180"/>
                  <a:pt x="231385" y="23273"/>
                </a:cubicBezTo>
                <a:cubicBezTo>
                  <a:pt x="225309" y="30368"/>
                  <a:pt x="222272" y="40885"/>
                  <a:pt x="222272" y="54948"/>
                </a:cubicBezTo>
                <a:cubicBezTo>
                  <a:pt x="222272" y="69074"/>
                  <a:pt x="225558" y="79653"/>
                  <a:pt x="232132" y="86747"/>
                </a:cubicBezTo>
                <a:cubicBezTo>
                  <a:pt x="238705" y="93716"/>
                  <a:pt x="248317" y="97201"/>
                  <a:pt x="260966" y="97201"/>
                </a:cubicBezTo>
                <a:cubicBezTo>
                  <a:pt x="272917" y="97201"/>
                  <a:pt x="283276" y="93903"/>
                  <a:pt x="292040" y="87369"/>
                </a:cubicBezTo>
                <a:lnTo>
                  <a:pt x="292040" y="100811"/>
                </a:lnTo>
                <a:cubicBezTo>
                  <a:pt x="288554" y="103548"/>
                  <a:pt x="283923" y="105788"/>
                  <a:pt x="278146" y="107531"/>
                </a:cubicBezTo>
                <a:cubicBezTo>
                  <a:pt x="272370" y="109087"/>
                  <a:pt x="266244" y="109896"/>
                  <a:pt x="259770" y="109896"/>
                </a:cubicBezTo>
                <a:close/>
                <a:moveTo>
                  <a:pt x="313539" y="1307"/>
                </a:moveTo>
                <a:lnTo>
                  <a:pt x="378975" y="1307"/>
                </a:lnTo>
                <a:lnTo>
                  <a:pt x="378975" y="14188"/>
                </a:lnTo>
                <a:lnTo>
                  <a:pt x="327582" y="14188"/>
                </a:lnTo>
                <a:lnTo>
                  <a:pt x="327582" y="49720"/>
                </a:lnTo>
                <a:lnTo>
                  <a:pt x="371206" y="49720"/>
                </a:lnTo>
                <a:lnTo>
                  <a:pt x="371206" y="62415"/>
                </a:lnTo>
                <a:lnTo>
                  <a:pt x="327582" y="62415"/>
                </a:lnTo>
                <a:lnTo>
                  <a:pt x="327582" y="108402"/>
                </a:lnTo>
                <a:lnTo>
                  <a:pt x="313539" y="108402"/>
                </a:lnTo>
                <a:lnTo>
                  <a:pt x="313539" y="1307"/>
                </a:lnTo>
                <a:close/>
                <a:moveTo>
                  <a:pt x="398450" y="1307"/>
                </a:moveTo>
                <a:lnTo>
                  <a:pt x="463886" y="1307"/>
                </a:lnTo>
                <a:lnTo>
                  <a:pt x="463886" y="14188"/>
                </a:lnTo>
                <a:lnTo>
                  <a:pt x="412493" y="14188"/>
                </a:lnTo>
                <a:lnTo>
                  <a:pt x="412493" y="49720"/>
                </a:lnTo>
                <a:lnTo>
                  <a:pt x="456117" y="49720"/>
                </a:lnTo>
                <a:lnTo>
                  <a:pt x="456117" y="62415"/>
                </a:lnTo>
                <a:lnTo>
                  <a:pt x="412493" y="62415"/>
                </a:lnTo>
                <a:lnTo>
                  <a:pt x="412493" y="108402"/>
                </a:lnTo>
                <a:lnTo>
                  <a:pt x="398450" y="108402"/>
                </a:lnTo>
                <a:lnTo>
                  <a:pt x="398450" y="1307"/>
                </a:lnTo>
                <a:close/>
                <a:moveTo>
                  <a:pt x="483362" y="1307"/>
                </a:moveTo>
                <a:lnTo>
                  <a:pt x="548799" y="1307"/>
                </a:lnTo>
                <a:lnTo>
                  <a:pt x="548799" y="14188"/>
                </a:lnTo>
                <a:lnTo>
                  <a:pt x="497405" y="14188"/>
                </a:lnTo>
                <a:lnTo>
                  <a:pt x="497405" y="49720"/>
                </a:lnTo>
                <a:lnTo>
                  <a:pt x="541031" y="49720"/>
                </a:lnTo>
                <a:lnTo>
                  <a:pt x="541031" y="62415"/>
                </a:lnTo>
                <a:lnTo>
                  <a:pt x="497405" y="62415"/>
                </a:lnTo>
                <a:lnTo>
                  <a:pt x="497405" y="108402"/>
                </a:lnTo>
                <a:lnTo>
                  <a:pt x="483362" y="108402"/>
                </a:lnTo>
                <a:lnTo>
                  <a:pt x="483362" y="1307"/>
                </a:lnTo>
                <a:close/>
                <a:moveTo>
                  <a:pt x="568271" y="1307"/>
                </a:moveTo>
                <a:lnTo>
                  <a:pt x="633707" y="1307"/>
                </a:lnTo>
                <a:lnTo>
                  <a:pt x="633707" y="14188"/>
                </a:lnTo>
                <a:lnTo>
                  <a:pt x="582314" y="14188"/>
                </a:lnTo>
                <a:lnTo>
                  <a:pt x="582314" y="49720"/>
                </a:lnTo>
                <a:lnTo>
                  <a:pt x="625938" y="49720"/>
                </a:lnTo>
                <a:lnTo>
                  <a:pt x="625938" y="62415"/>
                </a:lnTo>
                <a:lnTo>
                  <a:pt x="582314" y="62415"/>
                </a:lnTo>
                <a:lnTo>
                  <a:pt x="582314" y="108402"/>
                </a:lnTo>
                <a:lnTo>
                  <a:pt x="568271" y="108402"/>
                </a:lnTo>
                <a:lnTo>
                  <a:pt x="568271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24" name="TextBox 1223">
            <a:extLst>
              <a:ext uri="{FF2B5EF4-FFF2-40B4-BE49-F238E27FC236}">
                <a16:creationId xmlns:a16="http://schemas.microsoft.com/office/drawing/2014/main" id="{90ED083D-C907-9E8E-1819-2097DACAC042}"/>
              </a:ext>
            </a:extLst>
          </p:cNvPr>
          <p:cNvSpPr txBox="1"/>
          <p:nvPr userDrawn="1"/>
        </p:nvSpPr>
        <p:spPr>
          <a:xfrm>
            <a:off x="12296582" y="9812368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9EFFFF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29" name="Полилиния 147">
            <a:extLst>
              <a:ext uri="{FF2B5EF4-FFF2-40B4-BE49-F238E27FC236}">
                <a16:creationId xmlns:a16="http://schemas.microsoft.com/office/drawing/2014/main" id="{15A51785-0526-EDF5-6168-F7A4F717E472}"/>
              </a:ext>
            </a:extLst>
          </p:cNvPr>
          <p:cNvSpPr/>
          <p:nvPr userDrawn="1"/>
        </p:nvSpPr>
        <p:spPr>
          <a:xfrm>
            <a:off x="12270615" y="7422308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EAE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30" name="TextBox 1229">
            <a:extLst>
              <a:ext uri="{FF2B5EF4-FFF2-40B4-BE49-F238E27FC236}">
                <a16:creationId xmlns:a16="http://schemas.microsoft.com/office/drawing/2014/main" id="{A3523D40-7C2E-0AF2-8414-C82C7F4A7FF1}"/>
              </a:ext>
            </a:extLst>
          </p:cNvPr>
          <p:cNvSpPr txBox="1"/>
          <p:nvPr userDrawn="1"/>
        </p:nvSpPr>
        <p:spPr>
          <a:xfrm>
            <a:off x="12296582" y="7627976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00EAE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81" name="Полилиния 340">
            <a:extLst>
              <a:ext uri="{FF2B5EF4-FFF2-40B4-BE49-F238E27FC236}">
                <a16:creationId xmlns:a16="http://schemas.microsoft.com/office/drawing/2014/main" id="{2FE125F1-6FB0-3EE4-45CC-EF2DBC4AE044}"/>
              </a:ext>
            </a:extLst>
          </p:cNvPr>
          <p:cNvSpPr/>
          <p:nvPr userDrawn="1"/>
        </p:nvSpPr>
        <p:spPr>
          <a:xfrm>
            <a:off x="12393824" y="10625622"/>
            <a:ext cx="739556" cy="128252"/>
          </a:xfrm>
          <a:custGeom>
            <a:avLst/>
            <a:gdLst>
              <a:gd name="connsiteX0" fmla="*/ 22111 w 633706"/>
              <a:gd name="connsiteY0" fmla="*/ 108402 h 109895"/>
              <a:gd name="connsiteX1" fmla="*/ 10159 w 633706"/>
              <a:gd name="connsiteY1" fmla="*/ 108402 h 109895"/>
              <a:gd name="connsiteX2" fmla="*/ 16434 w 633706"/>
              <a:gd name="connsiteY2" fmla="*/ 77475 h 109895"/>
              <a:gd name="connsiteX3" fmla="*/ 0 w 633706"/>
              <a:gd name="connsiteY3" fmla="*/ 77475 h 109895"/>
              <a:gd name="connsiteX4" fmla="*/ 0 w 633706"/>
              <a:gd name="connsiteY4" fmla="*/ 67020 h 109895"/>
              <a:gd name="connsiteX5" fmla="*/ 18675 w 633706"/>
              <a:gd name="connsiteY5" fmla="*/ 67020 h 109895"/>
              <a:gd name="connsiteX6" fmla="*/ 24202 w 633706"/>
              <a:gd name="connsiteY6" fmla="*/ 39826 h 109895"/>
              <a:gd name="connsiteX7" fmla="*/ 4034 w 633706"/>
              <a:gd name="connsiteY7" fmla="*/ 39826 h 109895"/>
              <a:gd name="connsiteX8" fmla="*/ 4034 w 633706"/>
              <a:gd name="connsiteY8" fmla="*/ 29372 h 109895"/>
              <a:gd name="connsiteX9" fmla="*/ 26294 w 633706"/>
              <a:gd name="connsiteY9" fmla="*/ 29372 h 109895"/>
              <a:gd name="connsiteX10" fmla="*/ 32120 w 633706"/>
              <a:gd name="connsiteY10" fmla="*/ 1307 h 109895"/>
              <a:gd name="connsiteX11" fmla="*/ 44072 w 633706"/>
              <a:gd name="connsiteY11" fmla="*/ 1307 h 109895"/>
              <a:gd name="connsiteX12" fmla="*/ 38246 w 633706"/>
              <a:gd name="connsiteY12" fmla="*/ 29372 h 109895"/>
              <a:gd name="connsiteX13" fmla="*/ 60655 w 633706"/>
              <a:gd name="connsiteY13" fmla="*/ 29372 h 109895"/>
              <a:gd name="connsiteX14" fmla="*/ 66482 w 633706"/>
              <a:gd name="connsiteY14" fmla="*/ 1307 h 109895"/>
              <a:gd name="connsiteX15" fmla="*/ 78434 w 633706"/>
              <a:gd name="connsiteY15" fmla="*/ 1307 h 109895"/>
              <a:gd name="connsiteX16" fmla="*/ 72607 w 633706"/>
              <a:gd name="connsiteY16" fmla="*/ 29372 h 109895"/>
              <a:gd name="connsiteX17" fmla="*/ 89340 w 633706"/>
              <a:gd name="connsiteY17" fmla="*/ 29372 h 109895"/>
              <a:gd name="connsiteX18" fmla="*/ 89340 w 633706"/>
              <a:gd name="connsiteY18" fmla="*/ 39826 h 109895"/>
              <a:gd name="connsiteX19" fmla="*/ 70516 w 633706"/>
              <a:gd name="connsiteY19" fmla="*/ 39826 h 109895"/>
              <a:gd name="connsiteX20" fmla="*/ 64988 w 633706"/>
              <a:gd name="connsiteY20" fmla="*/ 67020 h 109895"/>
              <a:gd name="connsiteX21" fmla="*/ 85306 w 633706"/>
              <a:gd name="connsiteY21" fmla="*/ 67020 h 109895"/>
              <a:gd name="connsiteX22" fmla="*/ 85306 w 633706"/>
              <a:gd name="connsiteY22" fmla="*/ 77475 h 109895"/>
              <a:gd name="connsiteX23" fmla="*/ 62747 w 633706"/>
              <a:gd name="connsiteY23" fmla="*/ 77475 h 109895"/>
              <a:gd name="connsiteX24" fmla="*/ 56472 w 633706"/>
              <a:gd name="connsiteY24" fmla="*/ 108402 h 109895"/>
              <a:gd name="connsiteX25" fmla="*/ 44520 w 633706"/>
              <a:gd name="connsiteY25" fmla="*/ 108402 h 109895"/>
              <a:gd name="connsiteX26" fmla="*/ 50795 w 633706"/>
              <a:gd name="connsiteY26" fmla="*/ 77475 h 109895"/>
              <a:gd name="connsiteX27" fmla="*/ 28386 w 633706"/>
              <a:gd name="connsiteY27" fmla="*/ 77475 h 109895"/>
              <a:gd name="connsiteX28" fmla="*/ 22111 w 633706"/>
              <a:gd name="connsiteY28" fmla="*/ 108402 h 109895"/>
              <a:gd name="connsiteX29" fmla="*/ 30626 w 633706"/>
              <a:gd name="connsiteY29" fmla="*/ 67020 h 109895"/>
              <a:gd name="connsiteX30" fmla="*/ 53036 w 633706"/>
              <a:gd name="connsiteY30" fmla="*/ 67020 h 109895"/>
              <a:gd name="connsiteX31" fmla="*/ 58564 w 633706"/>
              <a:gd name="connsiteY31" fmla="*/ 39826 h 109895"/>
              <a:gd name="connsiteX32" fmla="*/ 36154 w 633706"/>
              <a:gd name="connsiteY32" fmla="*/ 39826 h 109895"/>
              <a:gd name="connsiteX33" fmla="*/ 30626 w 633706"/>
              <a:gd name="connsiteY33" fmla="*/ 67020 h 109895"/>
              <a:gd name="connsiteX34" fmla="*/ 107825 w 633706"/>
              <a:gd name="connsiteY34" fmla="*/ 1307 h 109895"/>
              <a:gd name="connsiteX35" fmla="*/ 143830 w 633706"/>
              <a:gd name="connsiteY35" fmla="*/ 1307 h 109895"/>
              <a:gd name="connsiteX36" fmla="*/ 163849 w 633706"/>
              <a:gd name="connsiteY36" fmla="*/ 3858 h 109895"/>
              <a:gd name="connsiteX37" fmla="*/ 179984 w 633706"/>
              <a:gd name="connsiteY37" fmla="*/ 12197 h 109895"/>
              <a:gd name="connsiteX38" fmla="*/ 190741 w 633706"/>
              <a:gd name="connsiteY38" fmla="*/ 27443 h 109895"/>
              <a:gd name="connsiteX39" fmla="*/ 194625 w 633706"/>
              <a:gd name="connsiteY39" fmla="*/ 51215 h 109895"/>
              <a:gd name="connsiteX40" fmla="*/ 187753 w 633706"/>
              <a:gd name="connsiteY40" fmla="*/ 82889 h 109895"/>
              <a:gd name="connsiteX41" fmla="*/ 169228 w 633706"/>
              <a:gd name="connsiteY41" fmla="*/ 101992 h 109895"/>
              <a:gd name="connsiteX42" fmla="*/ 142187 w 633706"/>
              <a:gd name="connsiteY42" fmla="*/ 108402 h 109895"/>
              <a:gd name="connsiteX43" fmla="*/ 107825 w 633706"/>
              <a:gd name="connsiteY43" fmla="*/ 108402 h 109895"/>
              <a:gd name="connsiteX44" fmla="*/ 107825 w 633706"/>
              <a:gd name="connsiteY44" fmla="*/ 1307 h 109895"/>
              <a:gd name="connsiteX45" fmla="*/ 142187 w 633706"/>
              <a:gd name="connsiteY45" fmla="*/ 95707 h 109895"/>
              <a:gd name="connsiteX46" fmla="*/ 161608 w 633706"/>
              <a:gd name="connsiteY46" fmla="*/ 91227 h 109895"/>
              <a:gd name="connsiteX47" fmla="*/ 174606 w 633706"/>
              <a:gd name="connsiteY47" fmla="*/ 77039 h 109895"/>
              <a:gd name="connsiteX48" fmla="*/ 179387 w 633706"/>
              <a:gd name="connsiteY48" fmla="*/ 52272 h 109895"/>
              <a:gd name="connsiteX49" fmla="*/ 174755 w 633706"/>
              <a:gd name="connsiteY49" fmla="*/ 28936 h 109895"/>
              <a:gd name="connsiteX50" fmla="*/ 162056 w 633706"/>
              <a:gd name="connsiteY50" fmla="*/ 17424 h 109895"/>
              <a:gd name="connsiteX51" fmla="*/ 143830 w 633706"/>
              <a:gd name="connsiteY51" fmla="*/ 14188 h 109895"/>
              <a:gd name="connsiteX52" fmla="*/ 121869 w 633706"/>
              <a:gd name="connsiteY52" fmla="*/ 14188 h 109895"/>
              <a:gd name="connsiteX53" fmla="*/ 121869 w 633706"/>
              <a:gd name="connsiteY53" fmla="*/ 95707 h 109895"/>
              <a:gd name="connsiteX54" fmla="*/ 142187 w 633706"/>
              <a:gd name="connsiteY54" fmla="*/ 95707 h 109895"/>
              <a:gd name="connsiteX55" fmla="*/ 259770 w 633706"/>
              <a:gd name="connsiteY55" fmla="*/ 109896 h 109895"/>
              <a:gd name="connsiteX56" fmla="*/ 231983 w 633706"/>
              <a:gd name="connsiteY56" fmla="*/ 103300 h 109895"/>
              <a:gd name="connsiteX57" fmla="*/ 213607 w 633706"/>
              <a:gd name="connsiteY57" fmla="*/ 84507 h 109895"/>
              <a:gd name="connsiteX58" fmla="*/ 207033 w 633706"/>
              <a:gd name="connsiteY58" fmla="*/ 54948 h 109895"/>
              <a:gd name="connsiteX59" fmla="*/ 220628 w 633706"/>
              <a:gd name="connsiteY59" fmla="*/ 14624 h 109895"/>
              <a:gd name="connsiteX60" fmla="*/ 259472 w 633706"/>
              <a:gd name="connsiteY60" fmla="*/ 0 h 109895"/>
              <a:gd name="connsiteX61" fmla="*/ 277399 w 633706"/>
              <a:gd name="connsiteY61" fmla="*/ 2054 h 109895"/>
              <a:gd name="connsiteX62" fmla="*/ 292040 w 633706"/>
              <a:gd name="connsiteY62" fmla="*/ 7716 h 109895"/>
              <a:gd name="connsiteX63" fmla="*/ 292040 w 633706"/>
              <a:gd name="connsiteY63" fmla="*/ 21158 h 109895"/>
              <a:gd name="connsiteX64" fmla="*/ 276951 w 633706"/>
              <a:gd name="connsiteY64" fmla="*/ 14935 h 109895"/>
              <a:gd name="connsiteX65" fmla="*/ 259322 w 633706"/>
              <a:gd name="connsiteY65" fmla="*/ 12695 h 109895"/>
              <a:gd name="connsiteX66" fmla="*/ 231385 w 633706"/>
              <a:gd name="connsiteY66" fmla="*/ 23273 h 109895"/>
              <a:gd name="connsiteX67" fmla="*/ 222272 w 633706"/>
              <a:gd name="connsiteY67" fmla="*/ 54948 h 109895"/>
              <a:gd name="connsiteX68" fmla="*/ 232132 w 633706"/>
              <a:gd name="connsiteY68" fmla="*/ 86747 h 109895"/>
              <a:gd name="connsiteX69" fmla="*/ 260966 w 633706"/>
              <a:gd name="connsiteY69" fmla="*/ 97201 h 109895"/>
              <a:gd name="connsiteX70" fmla="*/ 292040 w 633706"/>
              <a:gd name="connsiteY70" fmla="*/ 87369 h 109895"/>
              <a:gd name="connsiteX71" fmla="*/ 292040 w 633706"/>
              <a:gd name="connsiteY71" fmla="*/ 100811 h 109895"/>
              <a:gd name="connsiteX72" fmla="*/ 278146 w 633706"/>
              <a:gd name="connsiteY72" fmla="*/ 107531 h 109895"/>
              <a:gd name="connsiteX73" fmla="*/ 259770 w 633706"/>
              <a:gd name="connsiteY73" fmla="*/ 109896 h 109895"/>
              <a:gd name="connsiteX74" fmla="*/ 313539 w 633706"/>
              <a:gd name="connsiteY74" fmla="*/ 1307 h 109895"/>
              <a:gd name="connsiteX75" fmla="*/ 378975 w 633706"/>
              <a:gd name="connsiteY75" fmla="*/ 1307 h 109895"/>
              <a:gd name="connsiteX76" fmla="*/ 378975 w 633706"/>
              <a:gd name="connsiteY76" fmla="*/ 14188 h 109895"/>
              <a:gd name="connsiteX77" fmla="*/ 327582 w 633706"/>
              <a:gd name="connsiteY77" fmla="*/ 14188 h 109895"/>
              <a:gd name="connsiteX78" fmla="*/ 327582 w 633706"/>
              <a:gd name="connsiteY78" fmla="*/ 49720 h 109895"/>
              <a:gd name="connsiteX79" fmla="*/ 371206 w 633706"/>
              <a:gd name="connsiteY79" fmla="*/ 49720 h 109895"/>
              <a:gd name="connsiteX80" fmla="*/ 371206 w 633706"/>
              <a:gd name="connsiteY80" fmla="*/ 62415 h 109895"/>
              <a:gd name="connsiteX81" fmla="*/ 327582 w 633706"/>
              <a:gd name="connsiteY81" fmla="*/ 62415 h 109895"/>
              <a:gd name="connsiteX82" fmla="*/ 327582 w 633706"/>
              <a:gd name="connsiteY82" fmla="*/ 108402 h 109895"/>
              <a:gd name="connsiteX83" fmla="*/ 313539 w 633706"/>
              <a:gd name="connsiteY83" fmla="*/ 108402 h 109895"/>
              <a:gd name="connsiteX84" fmla="*/ 313539 w 633706"/>
              <a:gd name="connsiteY84" fmla="*/ 1307 h 109895"/>
              <a:gd name="connsiteX85" fmla="*/ 398450 w 633706"/>
              <a:gd name="connsiteY85" fmla="*/ 1307 h 109895"/>
              <a:gd name="connsiteX86" fmla="*/ 463886 w 633706"/>
              <a:gd name="connsiteY86" fmla="*/ 1307 h 109895"/>
              <a:gd name="connsiteX87" fmla="*/ 463886 w 633706"/>
              <a:gd name="connsiteY87" fmla="*/ 14188 h 109895"/>
              <a:gd name="connsiteX88" fmla="*/ 412493 w 633706"/>
              <a:gd name="connsiteY88" fmla="*/ 14188 h 109895"/>
              <a:gd name="connsiteX89" fmla="*/ 412493 w 633706"/>
              <a:gd name="connsiteY89" fmla="*/ 49720 h 109895"/>
              <a:gd name="connsiteX90" fmla="*/ 456117 w 633706"/>
              <a:gd name="connsiteY90" fmla="*/ 49720 h 109895"/>
              <a:gd name="connsiteX91" fmla="*/ 456117 w 633706"/>
              <a:gd name="connsiteY91" fmla="*/ 62415 h 109895"/>
              <a:gd name="connsiteX92" fmla="*/ 412493 w 633706"/>
              <a:gd name="connsiteY92" fmla="*/ 62415 h 109895"/>
              <a:gd name="connsiteX93" fmla="*/ 412493 w 633706"/>
              <a:gd name="connsiteY93" fmla="*/ 108402 h 109895"/>
              <a:gd name="connsiteX94" fmla="*/ 398450 w 633706"/>
              <a:gd name="connsiteY94" fmla="*/ 108402 h 109895"/>
              <a:gd name="connsiteX95" fmla="*/ 398450 w 633706"/>
              <a:gd name="connsiteY95" fmla="*/ 1307 h 109895"/>
              <a:gd name="connsiteX96" fmla="*/ 483362 w 633706"/>
              <a:gd name="connsiteY96" fmla="*/ 1307 h 109895"/>
              <a:gd name="connsiteX97" fmla="*/ 548799 w 633706"/>
              <a:gd name="connsiteY97" fmla="*/ 1307 h 109895"/>
              <a:gd name="connsiteX98" fmla="*/ 548799 w 633706"/>
              <a:gd name="connsiteY98" fmla="*/ 14188 h 109895"/>
              <a:gd name="connsiteX99" fmla="*/ 497405 w 633706"/>
              <a:gd name="connsiteY99" fmla="*/ 14188 h 109895"/>
              <a:gd name="connsiteX100" fmla="*/ 497405 w 633706"/>
              <a:gd name="connsiteY100" fmla="*/ 49720 h 109895"/>
              <a:gd name="connsiteX101" fmla="*/ 541031 w 633706"/>
              <a:gd name="connsiteY101" fmla="*/ 49720 h 109895"/>
              <a:gd name="connsiteX102" fmla="*/ 541031 w 633706"/>
              <a:gd name="connsiteY102" fmla="*/ 62415 h 109895"/>
              <a:gd name="connsiteX103" fmla="*/ 497405 w 633706"/>
              <a:gd name="connsiteY103" fmla="*/ 62415 h 109895"/>
              <a:gd name="connsiteX104" fmla="*/ 497405 w 633706"/>
              <a:gd name="connsiteY104" fmla="*/ 108402 h 109895"/>
              <a:gd name="connsiteX105" fmla="*/ 483362 w 633706"/>
              <a:gd name="connsiteY105" fmla="*/ 108402 h 109895"/>
              <a:gd name="connsiteX106" fmla="*/ 483362 w 633706"/>
              <a:gd name="connsiteY106" fmla="*/ 1307 h 109895"/>
              <a:gd name="connsiteX107" fmla="*/ 568271 w 633706"/>
              <a:gd name="connsiteY107" fmla="*/ 1307 h 109895"/>
              <a:gd name="connsiteX108" fmla="*/ 633707 w 633706"/>
              <a:gd name="connsiteY108" fmla="*/ 1307 h 109895"/>
              <a:gd name="connsiteX109" fmla="*/ 633707 w 633706"/>
              <a:gd name="connsiteY109" fmla="*/ 14188 h 109895"/>
              <a:gd name="connsiteX110" fmla="*/ 582314 w 633706"/>
              <a:gd name="connsiteY110" fmla="*/ 14188 h 109895"/>
              <a:gd name="connsiteX111" fmla="*/ 582314 w 633706"/>
              <a:gd name="connsiteY111" fmla="*/ 49720 h 109895"/>
              <a:gd name="connsiteX112" fmla="*/ 625938 w 633706"/>
              <a:gd name="connsiteY112" fmla="*/ 49720 h 109895"/>
              <a:gd name="connsiteX113" fmla="*/ 625938 w 633706"/>
              <a:gd name="connsiteY113" fmla="*/ 62415 h 109895"/>
              <a:gd name="connsiteX114" fmla="*/ 582314 w 633706"/>
              <a:gd name="connsiteY114" fmla="*/ 62415 h 109895"/>
              <a:gd name="connsiteX115" fmla="*/ 582314 w 633706"/>
              <a:gd name="connsiteY115" fmla="*/ 108402 h 109895"/>
              <a:gd name="connsiteX116" fmla="*/ 568271 w 633706"/>
              <a:gd name="connsiteY116" fmla="*/ 108402 h 109895"/>
              <a:gd name="connsiteX117" fmla="*/ 568271 w 633706"/>
              <a:gd name="connsiteY11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33706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5" y="1307"/>
                </a:moveTo>
                <a:lnTo>
                  <a:pt x="143830" y="1307"/>
                </a:lnTo>
                <a:cubicBezTo>
                  <a:pt x="151001" y="1307"/>
                  <a:pt x="157674" y="2179"/>
                  <a:pt x="163849" y="3858"/>
                </a:cubicBezTo>
                <a:cubicBezTo>
                  <a:pt x="170024" y="5538"/>
                  <a:pt x="175403" y="8339"/>
                  <a:pt x="179984" y="12197"/>
                </a:cubicBezTo>
                <a:cubicBezTo>
                  <a:pt x="184566" y="15993"/>
                  <a:pt x="188151" y="21096"/>
                  <a:pt x="190741" y="27443"/>
                </a:cubicBezTo>
                <a:cubicBezTo>
                  <a:pt x="193330" y="33853"/>
                  <a:pt x="194625" y="41756"/>
                  <a:pt x="194625" y="51215"/>
                </a:cubicBezTo>
                <a:cubicBezTo>
                  <a:pt x="194625" y="63722"/>
                  <a:pt x="192334" y="74301"/>
                  <a:pt x="187753" y="82889"/>
                </a:cubicBezTo>
                <a:cubicBezTo>
                  <a:pt x="183271" y="91352"/>
                  <a:pt x="177096" y="97699"/>
                  <a:pt x="169228" y="101992"/>
                </a:cubicBezTo>
                <a:cubicBezTo>
                  <a:pt x="161359" y="106287"/>
                  <a:pt x="152346" y="108402"/>
                  <a:pt x="142187" y="108402"/>
                </a:cubicBezTo>
                <a:lnTo>
                  <a:pt x="107825" y="108402"/>
                </a:lnTo>
                <a:lnTo>
                  <a:pt x="107825" y="1307"/>
                </a:lnTo>
                <a:close/>
                <a:moveTo>
                  <a:pt x="142187" y="95707"/>
                </a:moveTo>
                <a:cubicBezTo>
                  <a:pt x="149557" y="95707"/>
                  <a:pt x="156031" y="94214"/>
                  <a:pt x="161608" y="91227"/>
                </a:cubicBezTo>
                <a:cubicBezTo>
                  <a:pt x="167186" y="88116"/>
                  <a:pt x="171518" y="83386"/>
                  <a:pt x="174606" y="77039"/>
                </a:cubicBezTo>
                <a:cubicBezTo>
                  <a:pt x="177793" y="70568"/>
                  <a:pt x="179387" y="62291"/>
                  <a:pt x="179387" y="52272"/>
                </a:cubicBezTo>
                <a:cubicBezTo>
                  <a:pt x="179387" y="42191"/>
                  <a:pt x="177843" y="34413"/>
                  <a:pt x="174755" y="28936"/>
                </a:cubicBezTo>
                <a:cubicBezTo>
                  <a:pt x="171668" y="23460"/>
                  <a:pt x="167435" y="19664"/>
                  <a:pt x="162056" y="17424"/>
                </a:cubicBezTo>
                <a:cubicBezTo>
                  <a:pt x="156778" y="15246"/>
                  <a:pt x="150702" y="14188"/>
                  <a:pt x="143830" y="14188"/>
                </a:cubicBezTo>
                <a:lnTo>
                  <a:pt x="121869" y="14188"/>
                </a:lnTo>
                <a:lnTo>
                  <a:pt x="121869" y="95707"/>
                </a:lnTo>
                <a:lnTo>
                  <a:pt x="142187" y="95707"/>
                </a:lnTo>
                <a:close/>
                <a:moveTo>
                  <a:pt x="259770" y="109896"/>
                </a:moveTo>
                <a:cubicBezTo>
                  <a:pt x="249213" y="109896"/>
                  <a:pt x="239950" y="107718"/>
                  <a:pt x="231983" y="103300"/>
                </a:cubicBezTo>
                <a:cubicBezTo>
                  <a:pt x="224114" y="98943"/>
                  <a:pt x="217989" y="92658"/>
                  <a:pt x="213607" y="84507"/>
                </a:cubicBezTo>
                <a:cubicBezTo>
                  <a:pt x="209224" y="76230"/>
                  <a:pt x="207033" y="66398"/>
                  <a:pt x="207033" y="54948"/>
                </a:cubicBezTo>
                <a:cubicBezTo>
                  <a:pt x="207033" y="37711"/>
                  <a:pt x="211565" y="24269"/>
                  <a:pt x="220628" y="14624"/>
                </a:cubicBezTo>
                <a:cubicBezTo>
                  <a:pt x="229692" y="4854"/>
                  <a:pt x="242640" y="0"/>
                  <a:pt x="259472" y="0"/>
                </a:cubicBezTo>
                <a:cubicBezTo>
                  <a:pt x="265746" y="0"/>
                  <a:pt x="271722" y="684"/>
                  <a:pt x="277399" y="2054"/>
                </a:cubicBezTo>
                <a:cubicBezTo>
                  <a:pt x="283176" y="3361"/>
                  <a:pt x="288056" y="5228"/>
                  <a:pt x="292040" y="7716"/>
                </a:cubicBezTo>
                <a:lnTo>
                  <a:pt x="292040" y="21158"/>
                </a:lnTo>
                <a:cubicBezTo>
                  <a:pt x="287758" y="18482"/>
                  <a:pt x="282728" y="16428"/>
                  <a:pt x="276951" y="14935"/>
                </a:cubicBezTo>
                <a:cubicBezTo>
                  <a:pt x="271274" y="13442"/>
                  <a:pt x="265398" y="12695"/>
                  <a:pt x="259322" y="12695"/>
                </a:cubicBezTo>
                <a:cubicBezTo>
                  <a:pt x="246773" y="12695"/>
                  <a:pt x="237460" y="16180"/>
                  <a:pt x="231385" y="23273"/>
                </a:cubicBezTo>
                <a:cubicBezTo>
                  <a:pt x="225309" y="30368"/>
                  <a:pt x="222272" y="40885"/>
                  <a:pt x="222272" y="54948"/>
                </a:cubicBezTo>
                <a:cubicBezTo>
                  <a:pt x="222272" y="69074"/>
                  <a:pt x="225558" y="79653"/>
                  <a:pt x="232132" y="86747"/>
                </a:cubicBezTo>
                <a:cubicBezTo>
                  <a:pt x="238705" y="93716"/>
                  <a:pt x="248317" y="97201"/>
                  <a:pt x="260966" y="97201"/>
                </a:cubicBezTo>
                <a:cubicBezTo>
                  <a:pt x="272917" y="97201"/>
                  <a:pt x="283276" y="93903"/>
                  <a:pt x="292040" y="87369"/>
                </a:cubicBezTo>
                <a:lnTo>
                  <a:pt x="292040" y="100811"/>
                </a:lnTo>
                <a:cubicBezTo>
                  <a:pt x="288554" y="103548"/>
                  <a:pt x="283923" y="105788"/>
                  <a:pt x="278146" y="107531"/>
                </a:cubicBezTo>
                <a:cubicBezTo>
                  <a:pt x="272370" y="109087"/>
                  <a:pt x="266244" y="109896"/>
                  <a:pt x="259770" y="109896"/>
                </a:cubicBezTo>
                <a:close/>
                <a:moveTo>
                  <a:pt x="313539" y="1307"/>
                </a:moveTo>
                <a:lnTo>
                  <a:pt x="378975" y="1307"/>
                </a:lnTo>
                <a:lnTo>
                  <a:pt x="378975" y="14188"/>
                </a:lnTo>
                <a:lnTo>
                  <a:pt x="327582" y="14188"/>
                </a:lnTo>
                <a:lnTo>
                  <a:pt x="327582" y="49720"/>
                </a:lnTo>
                <a:lnTo>
                  <a:pt x="371206" y="49720"/>
                </a:lnTo>
                <a:lnTo>
                  <a:pt x="371206" y="62415"/>
                </a:lnTo>
                <a:lnTo>
                  <a:pt x="327582" y="62415"/>
                </a:lnTo>
                <a:lnTo>
                  <a:pt x="327582" y="108402"/>
                </a:lnTo>
                <a:lnTo>
                  <a:pt x="313539" y="108402"/>
                </a:lnTo>
                <a:lnTo>
                  <a:pt x="313539" y="1307"/>
                </a:lnTo>
                <a:close/>
                <a:moveTo>
                  <a:pt x="398450" y="1307"/>
                </a:moveTo>
                <a:lnTo>
                  <a:pt x="463886" y="1307"/>
                </a:lnTo>
                <a:lnTo>
                  <a:pt x="463886" y="14188"/>
                </a:lnTo>
                <a:lnTo>
                  <a:pt x="412493" y="14188"/>
                </a:lnTo>
                <a:lnTo>
                  <a:pt x="412493" y="49720"/>
                </a:lnTo>
                <a:lnTo>
                  <a:pt x="456117" y="49720"/>
                </a:lnTo>
                <a:lnTo>
                  <a:pt x="456117" y="62415"/>
                </a:lnTo>
                <a:lnTo>
                  <a:pt x="412493" y="62415"/>
                </a:lnTo>
                <a:lnTo>
                  <a:pt x="412493" y="108402"/>
                </a:lnTo>
                <a:lnTo>
                  <a:pt x="398450" y="108402"/>
                </a:lnTo>
                <a:lnTo>
                  <a:pt x="398450" y="1307"/>
                </a:lnTo>
                <a:close/>
                <a:moveTo>
                  <a:pt x="483362" y="1307"/>
                </a:moveTo>
                <a:lnTo>
                  <a:pt x="548799" y="1307"/>
                </a:lnTo>
                <a:lnTo>
                  <a:pt x="548799" y="14188"/>
                </a:lnTo>
                <a:lnTo>
                  <a:pt x="497405" y="14188"/>
                </a:lnTo>
                <a:lnTo>
                  <a:pt x="497405" y="49720"/>
                </a:lnTo>
                <a:lnTo>
                  <a:pt x="541031" y="49720"/>
                </a:lnTo>
                <a:lnTo>
                  <a:pt x="541031" y="62415"/>
                </a:lnTo>
                <a:lnTo>
                  <a:pt x="497405" y="62415"/>
                </a:lnTo>
                <a:lnTo>
                  <a:pt x="497405" y="108402"/>
                </a:lnTo>
                <a:lnTo>
                  <a:pt x="483362" y="108402"/>
                </a:lnTo>
                <a:lnTo>
                  <a:pt x="483362" y="1307"/>
                </a:lnTo>
                <a:close/>
                <a:moveTo>
                  <a:pt x="568271" y="1307"/>
                </a:moveTo>
                <a:lnTo>
                  <a:pt x="633707" y="1307"/>
                </a:lnTo>
                <a:lnTo>
                  <a:pt x="633707" y="14188"/>
                </a:lnTo>
                <a:lnTo>
                  <a:pt x="582314" y="14188"/>
                </a:lnTo>
                <a:lnTo>
                  <a:pt x="582314" y="49720"/>
                </a:lnTo>
                <a:lnTo>
                  <a:pt x="625938" y="49720"/>
                </a:lnTo>
                <a:lnTo>
                  <a:pt x="625938" y="62415"/>
                </a:lnTo>
                <a:lnTo>
                  <a:pt x="582314" y="62415"/>
                </a:lnTo>
                <a:lnTo>
                  <a:pt x="582314" y="108402"/>
                </a:lnTo>
                <a:lnTo>
                  <a:pt x="568271" y="108402"/>
                </a:lnTo>
                <a:lnTo>
                  <a:pt x="568271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grpSp>
        <p:nvGrpSpPr>
          <p:cNvPr id="1286" name="Группа 1285">
            <a:extLst>
              <a:ext uri="{FF2B5EF4-FFF2-40B4-BE49-F238E27FC236}">
                <a16:creationId xmlns:a16="http://schemas.microsoft.com/office/drawing/2014/main" id="{2754A8BD-291E-B3E2-99E5-79B19D769804}"/>
              </a:ext>
            </a:extLst>
          </p:cNvPr>
          <p:cNvGrpSpPr/>
          <p:nvPr userDrawn="1"/>
        </p:nvGrpSpPr>
        <p:grpSpPr>
          <a:xfrm>
            <a:off x="1418355" y="2964695"/>
            <a:ext cx="312638" cy="312638"/>
            <a:chOff x="2816046" y="7085282"/>
            <a:chExt cx="346932" cy="346932"/>
          </a:xfrm>
        </p:grpSpPr>
        <p:sp>
          <p:nvSpPr>
            <p:cNvPr id="1287" name="Рисунок 1184">
              <a:extLst>
                <a:ext uri="{FF2B5EF4-FFF2-40B4-BE49-F238E27FC236}">
                  <a16:creationId xmlns:a16="http://schemas.microsoft.com/office/drawing/2014/main" id="{A9D78F8D-5CCE-3704-180B-E40E0A0B16B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88" name="Прямоугольник 1287">
              <a:extLst>
                <a:ext uri="{FF2B5EF4-FFF2-40B4-BE49-F238E27FC236}">
                  <a16:creationId xmlns:a16="http://schemas.microsoft.com/office/drawing/2014/main" id="{814646C8-7B1A-E28E-02F3-D8622B94548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89" name="Рисунок 1184">
              <a:extLst>
                <a:ext uri="{FF2B5EF4-FFF2-40B4-BE49-F238E27FC236}">
                  <a16:creationId xmlns:a16="http://schemas.microsoft.com/office/drawing/2014/main" id="{C1E71A5F-A648-15C2-5D3A-2E25E8090020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90" name="Группа 1289">
            <a:extLst>
              <a:ext uri="{FF2B5EF4-FFF2-40B4-BE49-F238E27FC236}">
                <a16:creationId xmlns:a16="http://schemas.microsoft.com/office/drawing/2014/main" id="{433F0BC9-9650-0524-0522-227F0234B035}"/>
              </a:ext>
            </a:extLst>
          </p:cNvPr>
          <p:cNvGrpSpPr/>
          <p:nvPr userDrawn="1"/>
        </p:nvGrpSpPr>
        <p:grpSpPr>
          <a:xfrm>
            <a:off x="1418355" y="2515993"/>
            <a:ext cx="312638" cy="312638"/>
            <a:chOff x="2816046" y="7085282"/>
            <a:chExt cx="346932" cy="346932"/>
          </a:xfrm>
        </p:grpSpPr>
        <p:sp>
          <p:nvSpPr>
            <p:cNvPr id="1291" name="Рисунок 1184">
              <a:extLst>
                <a:ext uri="{FF2B5EF4-FFF2-40B4-BE49-F238E27FC236}">
                  <a16:creationId xmlns:a16="http://schemas.microsoft.com/office/drawing/2014/main" id="{A0C7908F-9515-341E-2764-5B39B16B117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92" name="Прямоугольник 1291">
              <a:extLst>
                <a:ext uri="{FF2B5EF4-FFF2-40B4-BE49-F238E27FC236}">
                  <a16:creationId xmlns:a16="http://schemas.microsoft.com/office/drawing/2014/main" id="{948E2F9E-1E9B-B719-0319-19BA9284C29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93" name="Рисунок 1184">
              <a:extLst>
                <a:ext uri="{FF2B5EF4-FFF2-40B4-BE49-F238E27FC236}">
                  <a16:creationId xmlns:a16="http://schemas.microsoft.com/office/drawing/2014/main" id="{A0FC4A77-576F-87EA-15A6-6EE9FE5DBC0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10" name="Полилиния 1709">
            <a:extLst>
              <a:ext uri="{FF2B5EF4-FFF2-40B4-BE49-F238E27FC236}">
                <a16:creationId xmlns:a16="http://schemas.microsoft.com/office/drawing/2014/main" id="{14E862DF-06D3-5FC1-D851-48570855003D}"/>
              </a:ext>
            </a:extLst>
          </p:cNvPr>
          <p:cNvSpPr/>
          <p:nvPr/>
        </p:nvSpPr>
        <p:spPr>
          <a:xfrm>
            <a:off x="1444111" y="4497483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1" name="Полилиния 1710">
            <a:extLst>
              <a:ext uri="{FF2B5EF4-FFF2-40B4-BE49-F238E27FC236}">
                <a16:creationId xmlns:a16="http://schemas.microsoft.com/office/drawing/2014/main" id="{EF315DD6-7E90-2347-7E83-3A43858A09F7}"/>
              </a:ext>
            </a:extLst>
          </p:cNvPr>
          <p:cNvSpPr/>
          <p:nvPr/>
        </p:nvSpPr>
        <p:spPr>
          <a:xfrm>
            <a:off x="1578549" y="4798971"/>
            <a:ext cx="691535" cy="129012"/>
          </a:xfrm>
          <a:custGeom>
            <a:avLst/>
            <a:gdLst>
              <a:gd name="connsiteX0" fmla="*/ 22099 w 590058"/>
              <a:gd name="connsiteY0" fmla="*/ 108588 h 110081"/>
              <a:gd name="connsiteX1" fmla="*/ 10147 w 590058"/>
              <a:gd name="connsiteY1" fmla="*/ 108588 h 110081"/>
              <a:gd name="connsiteX2" fmla="*/ 16434 w 590058"/>
              <a:gd name="connsiteY2" fmla="*/ 77661 h 110081"/>
              <a:gd name="connsiteX3" fmla="*/ 0 w 590058"/>
              <a:gd name="connsiteY3" fmla="*/ 77661 h 110081"/>
              <a:gd name="connsiteX4" fmla="*/ 0 w 590058"/>
              <a:gd name="connsiteY4" fmla="*/ 67206 h 110081"/>
              <a:gd name="connsiteX5" fmla="*/ 18675 w 590058"/>
              <a:gd name="connsiteY5" fmla="*/ 67206 h 110081"/>
              <a:gd name="connsiteX6" fmla="*/ 24215 w 590058"/>
              <a:gd name="connsiteY6" fmla="*/ 40012 h 110081"/>
              <a:gd name="connsiteX7" fmla="*/ 4046 w 590058"/>
              <a:gd name="connsiteY7" fmla="*/ 40012 h 110081"/>
              <a:gd name="connsiteX8" fmla="*/ 4046 w 590058"/>
              <a:gd name="connsiteY8" fmla="*/ 29559 h 110081"/>
              <a:gd name="connsiteX9" fmla="*/ 26270 w 590058"/>
              <a:gd name="connsiteY9" fmla="*/ 29559 h 110081"/>
              <a:gd name="connsiteX10" fmla="*/ 32121 w 590058"/>
              <a:gd name="connsiteY10" fmla="*/ 1493 h 110081"/>
              <a:gd name="connsiteX11" fmla="*/ 44073 w 590058"/>
              <a:gd name="connsiteY11" fmla="*/ 1493 h 110081"/>
              <a:gd name="connsiteX12" fmla="*/ 38221 w 590058"/>
              <a:gd name="connsiteY12" fmla="*/ 29559 h 110081"/>
              <a:gd name="connsiteX13" fmla="*/ 60630 w 590058"/>
              <a:gd name="connsiteY13" fmla="*/ 29559 h 110081"/>
              <a:gd name="connsiteX14" fmla="*/ 66482 w 590058"/>
              <a:gd name="connsiteY14" fmla="*/ 1493 h 110081"/>
              <a:gd name="connsiteX15" fmla="*/ 78434 w 590058"/>
              <a:gd name="connsiteY15" fmla="*/ 1493 h 110081"/>
              <a:gd name="connsiteX16" fmla="*/ 72582 w 590058"/>
              <a:gd name="connsiteY16" fmla="*/ 29559 h 110081"/>
              <a:gd name="connsiteX17" fmla="*/ 89328 w 590058"/>
              <a:gd name="connsiteY17" fmla="*/ 29559 h 110081"/>
              <a:gd name="connsiteX18" fmla="*/ 89328 w 590058"/>
              <a:gd name="connsiteY18" fmla="*/ 40012 h 110081"/>
              <a:gd name="connsiteX19" fmla="*/ 70529 w 590058"/>
              <a:gd name="connsiteY19" fmla="*/ 40012 h 110081"/>
              <a:gd name="connsiteX20" fmla="*/ 64988 w 590058"/>
              <a:gd name="connsiteY20" fmla="*/ 67206 h 110081"/>
              <a:gd name="connsiteX21" fmla="*/ 85282 w 590058"/>
              <a:gd name="connsiteY21" fmla="*/ 67206 h 110081"/>
              <a:gd name="connsiteX22" fmla="*/ 85282 w 590058"/>
              <a:gd name="connsiteY22" fmla="*/ 77661 h 110081"/>
              <a:gd name="connsiteX23" fmla="*/ 62747 w 590058"/>
              <a:gd name="connsiteY23" fmla="*/ 77661 h 110081"/>
              <a:gd name="connsiteX24" fmla="*/ 56460 w 590058"/>
              <a:gd name="connsiteY24" fmla="*/ 108588 h 110081"/>
              <a:gd name="connsiteX25" fmla="*/ 44508 w 590058"/>
              <a:gd name="connsiteY25" fmla="*/ 108588 h 110081"/>
              <a:gd name="connsiteX26" fmla="*/ 50795 w 590058"/>
              <a:gd name="connsiteY26" fmla="*/ 77661 h 110081"/>
              <a:gd name="connsiteX27" fmla="*/ 28386 w 590058"/>
              <a:gd name="connsiteY27" fmla="*/ 77661 h 110081"/>
              <a:gd name="connsiteX28" fmla="*/ 22099 w 590058"/>
              <a:gd name="connsiteY28" fmla="*/ 108588 h 110081"/>
              <a:gd name="connsiteX29" fmla="*/ 30627 w 590058"/>
              <a:gd name="connsiteY29" fmla="*/ 67206 h 110081"/>
              <a:gd name="connsiteX30" fmla="*/ 53036 w 590058"/>
              <a:gd name="connsiteY30" fmla="*/ 67206 h 110081"/>
              <a:gd name="connsiteX31" fmla="*/ 58576 w 590058"/>
              <a:gd name="connsiteY31" fmla="*/ 40012 h 110081"/>
              <a:gd name="connsiteX32" fmla="*/ 36167 w 590058"/>
              <a:gd name="connsiteY32" fmla="*/ 40012 h 110081"/>
              <a:gd name="connsiteX33" fmla="*/ 30627 w 590058"/>
              <a:gd name="connsiteY33" fmla="*/ 67206 h 110081"/>
              <a:gd name="connsiteX34" fmla="*/ 150829 w 590058"/>
              <a:gd name="connsiteY34" fmla="*/ 108588 h 110081"/>
              <a:gd name="connsiteX35" fmla="*/ 137259 w 590058"/>
              <a:gd name="connsiteY35" fmla="*/ 108588 h 110081"/>
              <a:gd name="connsiteX36" fmla="*/ 137259 w 590058"/>
              <a:gd name="connsiteY36" fmla="*/ 18357 h 110081"/>
              <a:gd name="connsiteX37" fmla="*/ 107691 w 590058"/>
              <a:gd name="connsiteY37" fmla="*/ 41071 h 110081"/>
              <a:gd name="connsiteX38" fmla="*/ 107691 w 590058"/>
              <a:gd name="connsiteY38" fmla="*/ 26011 h 110081"/>
              <a:gd name="connsiteX39" fmla="*/ 139500 w 590058"/>
              <a:gd name="connsiteY39" fmla="*/ 1493 h 110081"/>
              <a:gd name="connsiteX40" fmla="*/ 150829 w 590058"/>
              <a:gd name="connsiteY40" fmla="*/ 1493 h 110081"/>
              <a:gd name="connsiteX41" fmla="*/ 150829 w 590058"/>
              <a:gd name="connsiteY41" fmla="*/ 108588 h 110081"/>
              <a:gd name="connsiteX42" fmla="*/ 182327 w 590058"/>
              <a:gd name="connsiteY42" fmla="*/ 35844 h 110081"/>
              <a:gd name="connsiteX43" fmla="*/ 186996 w 590058"/>
              <a:gd name="connsiteY43" fmla="*/ 17051 h 110081"/>
              <a:gd name="connsiteX44" fmla="*/ 199820 w 590058"/>
              <a:gd name="connsiteY44" fmla="*/ 4480 h 110081"/>
              <a:gd name="connsiteX45" fmla="*/ 217871 w 590058"/>
              <a:gd name="connsiteY45" fmla="*/ 0 h 110081"/>
              <a:gd name="connsiteX46" fmla="*/ 239534 w 590058"/>
              <a:gd name="connsiteY46" fmla="*/ 5849 h 110081"/>
              <a:gd name="connsiteX47" fmla="*/ 251673 w 590058"/>
              <a:gd name="connsiteY47" fmla="*/ 21842 h 110081"/>
              <a:gd name="connsiteX48" fmla="*/ 255408 w 590058"/>
              <a:gd name="connsiteY48" fmla="*/ 45426 h 110081"/>
              <a:gd name="connsiteX49" fmla="*/ 250739 w 590058"/>
              <a:gd name="connsiteY49" fmla="*/ 80088 h 110081"/>
              <a:gd name="connsiteX50" fmla="*/ 236421 w 590058"/>
              <a:gd name="connsiteY50" fmla="*/ 102303 h 110081"/>
              <a:gd name="connsiteX51" fmla="*/ 211896 w 590058"/>
              <a:gd name="connsiteY51" fmla="*/ 110082 h 110081"/>
              <a:gd name="connsiteX52" fmla="*/ 188926 w 590058"/>
              <a:gd name="connsiteY52" fmla="*/ 104543 h 110081"/>
              <a:gd name="connsiteX53" fmla="*/ 188926 w 590058"/>
              <a:gd name="connsiteY53" fmla="*/ 91413 h 110081"/>
              <a:gd name="connsiteX54" fmla="*/ 211896 w 590058"/>
              <a:gd name="connsiteY54" fmla="*/ 98010 h 110081"/>
              <a:gd name="connsiteX55" fmla="*/ 227458 w 590058"/>
              <a:gd name="connsiteY55" fmla="*/ 92907 h 110081"/>
              <a:gd name="connsiteX56" fmla="*/ 237169 w 590058"/>
              <a:gd name="connsiteY56" fmla="*/ 79154 h 110081"/>
              <a:gd name="connsiteX57" fmla="*/ 241526 w 590058"/>
              <a:gd name="connsiteY57" fmla="*/ 59739 h 110081"/>
              <a:gd name="connsiteX58" fmla="*/ 230446 w 590058"/>
              <a:gd name="connsiteY58" fmla="*/ 68389 h 110081"/>
              <a:gd name="connsiteX59" fmla="*/ 216564 w 590058"/>
              <a:gd name="connsiteY59" fmla="*/ 71127 h 110081"/>
              <a:gd name="connsiteX60" fmla="*/ 199197 w 590058"/>
              <a:gd name="connsiteY60" fmla="*/ 67082 h 110081"/>
              <a:gd name="connsiteX61" fmla="*/ 186809 w 590058"/>
              <a:gd name="connsiteY61" fmla="*/ 55134 h 110081"/>
              <a:gd name="connsiteX62" fmla="*/ 182327 w 590058"/>
              <a:gd name="connsiteY62" fmla="*/ 35844 h 110081"/>
              <a:gd name="connsiteX63" fmla="*/ 218370 w 590058"/>
              <a:gd name="connsiteY63" fmla="*/ 12134 h 110081"/>
              <a:gd name="connsiteX64" fmla="*/ 207601 w 590058"/>
              <a:gd name="connsiteY64" fmla="*/ 14810 h 110081"/>
              <a:gd name="connsiteX65" fmla="*/ 199508 w 590058"/>
              <a:gd name="connsiteY65" fmla="*/ 22589 h 110081"/>
              <a:gd name="connsiteX66" fmla="*/ 196520 w 590058"/>
              <a:gd name="connsiteY66" fmla="*/ 35532 h 110081"/>
              <a:gd name="connsiteX67" fmla="*/ 199508 w 590058"/>
              <a:gd name="connsiteY67" fmla="*/ 48725 h 110081"/>
              <a:gd name="connsiteX68" fmla="*/ 207165 w 590058"/>
              <a:gd name="connsiteY68" fmla="*/ 56752 h 110081"/>
              <a:gd name="connsiteX69" fmla="*/ 216876 w 590058"/>
              <a:gd name="connsiteY69" fmla="*/ 59428 h 110081"/>
              <a:gd name="connsiteX70" fmla="*/ 233309 w 590058"/>
              <a:gd name="connsiteY70" fmla="*/ 53329 h 110081"/>
              <a:gd name="connsiteX71" fmla="*/ 240032 w 590058"/>
              <a:gd name="connsiteY71" fmla="*/ 35283 h 110081"/>
              <a:gd name="connsiteX72" fmla="*/ 234181 w 590058"/>
              <a:gd name="connsiteY72" fmla="*/ 18544 h 110081"/>
              <a:gd name="connsiteX73" fmla="*/ 218370 w 590058"/>
              <a:gd name="connsiteY73" fmla="*/ 12134 h 110081"/>
              <a:gd name="connsiteX74" fmla="*/ 315104 w 590058"/>
              <a:gd name="connsiteY74" fmla="*/ 108588 h 110081"/>
              <a:gd name="connsiteX75" fmla="*/ 301534 w 590058"/>
              <a:gd name="connsiteY75" fmla="*/ 108588 h 110081"/>
              <a:gd name="connsiteX76" fmla="*/ 301534 w 590058"/>
              <a:gd name="connsiteY76" fmla="*/ 18357 h 110081"/>
              <a:gd name="connsiteX77" fmla="*/ 271966 w 590058"/>
              <a:gd name="connsiteY77" fmla="*/ 41071 h 110081"/>
              <a:gd name="connsiteX78" fmla="*/ 271966 w 590058"/>
              <a:gd name="connsiteY78" fmla="*/ 26011 h 110081"/>
              <a:gd name="connsiteX79" fmla="*/ 303775 w 590058"/>
              <a:gd name="connsiteY79" fmla="*/ 1493 h 110081"/>
              <a:gd name="connsiteX80" fmla="*/ 315104 w 590058"/>
              <a:gd name="connsiteY80" fmla="*/ 1493 h 110081"/>
              <a:gd name="connsiteX81" fmla="*/ 315104 w 590058"/>
              <a:gd name="connsiteY81" fmla="*/ 108588 h 110081"/>
              <a:gd name="connsiteX82" fmla="*/ 354259 w 590058"/>
              <a:gd name="connsiteY82" fmla="*/ 1493 h 110081"/>
              <a:gd name="connsiteX83" fmla="*/ 420554 w 590058"/>
              <a:gd name="connsiteY83" fmla="*/ 1493 h 110081"/>
              <a:gd name="connsiteX84" fmla="*/ 420554 w 590058"/>
              <a:gd name="connsiteY84" fmla="*/ 14374 h 110081"/>
              <a:gd name="connsiteX85" fmla="*/ 368265 w 590058"/>
              <a:gd name="connsiteY85" fmla="*/ 14374 h 110081"/>
              <a:gd name="connsiteX86" fmla="*/ 368265 w 590058"/>
              <a:gd name="connsiteY86" fmla="*/ 46734 h 110081"/>
              <a:gd name="connsiteX87" fmla="*/ 412649 w 590058"/>
              <a:gd name="connsiteY87" fmla="*/ 46734 h 110081"/>
              <a:gd name="connsiteX88" fmla="*/ 412649 w 590058"/>
              <a:gd name="connsiteY88" fmla="*/ 59428 h 110081"/>
              <a:gd name="connsiteX89" fmla="*/ 368265 w 590058"/>
              <a:gd name="connsiteY89" fmla="*/ 59428 h 110081"/>
              <a:gd name="connsiteX90" fmla="*/ 368265 w 590058"/>
              <a:gd name="connsiteY90" fmla="*/ 95893 h 110081"/>
              <a:gd name="connsiteX91" fmla="*/ 421301 w 590058"/>
              <a:gd name="connsiteY91" fmla="*/ 95893 h 110081"/>
              <a:gd name="connsiteX92" fmla="*/ 421301 w 590058"/>
              <a:gd name="connsiteY92" fmla="*/ 108588 h 110081"/>
              <a:gd name="connsiteX93" fmla="*/ 354259 w 590058"/>
              <a:gd name="connsiteY93" fmla="*/ 108588 h 110081"/>
              <a:gd name="connsiteX94" fmla="*/ 354259 w 590058"/>
              <a:gd name="connsiteY94" fmla="*/ 1493 h 110081"/>
              <a:gd name="connsiteX95" fmla="*/ 506582 w 590058"/>
              <a:gd name="connsiteY95" fmla="*/ 108588 h 110081"/>
              <a:gd name="connsiteX96" fmla="*/ 438295 w 590058"/>
              <a:gd name="connsiteY96" fmla="*/ 108588 h 110081"/>
              <a:gd name="connsiteX97" fmla="*/ 438295 w 590058"/>
              <a:gd name="connsiteY97" fmla="*/ 94400 h 110081"/>
              <a:gd name="connsiteX98" fmla="*/ 464439 w 590058"/>
              <a:gd name="connsiteY98" fmla="*/ 72433 h 110081"/>
              <a:gd name="connsiteX99" fmla="*/ 480438 w 590058"/>
              <a:gd name="connsiteY99" fmla="*/ 56628 h 110081"/>
              <a:gd name="connsiteX100" fmla="*/ 488530 w 590058"/>
              <a:gd name="connsiteY100" fmla="*/ 43933 h 110081"/>
              <a:gd name="connsiteX101" fmla="*/ 490895 w 590058"/>
              <a:gd name="connsiteY101" fmla="*/ 32109 h 110081"/>
              <a:gd name="connsiteX102" fmla="*/ 485356 w 590058"/>
              <a:gd name="connsiteY102" fmla="*/ 17610 h 110081"/>
              <a:gd name="connsiteX103" fmla="*/ 470104 w 590058"/>
              <a:gd name="connsiteY103" fmla="*/ 12383 h 110081"/>
              <a:gd name="connsiteX104" fmla="*/ 441158 w 590058"/>
              <a:gd name="connsiteY104" fmla="*/ 27194 h 110081"/>
              <a:gd name="connsiteX105" fmla="*/ 441158 w 590058"/>
              <a:gd name="connsiteY105" fmla="*/ 12134 h 110081"/>
              <a:gd name="connsiteX106" fmla="*/ 470603 w 590058"/>
              <a:gd name="connsiteY106" fmla="*/ 0 h 110081"/>
              <a:gd name="connsiteX107" fmla="*/ 496000 w 590058"/>
              <a:gd name="connsiteY107" fmla="*/ 8401 h 110081"/>
              <a:gd name="connsiteX108" fmla="*/ 505400 w 590058"/>
              <a:gd name="connsiteY108" fmla="*/ 30803 h 110081"/>
              <a:gd name="connsiteX109" fmla="*/ 502972 w 590058"/>
              <a:gd name="connsiteY109" fmla="*/ 44804 h 110081"/>
              <a:gd name="connsiteX110" fmla="*/ 494941 w 590058"/>
              <a:gd name="connsiteY110" fmla="*/ 58681 h 110081"/>
              <a:gd name="connsiteX111" fmla="*/ 479255 w 590058"/>
              <a:gd name="connsiteY111" fmla="*/ 74860 h 110081"/>
              <a:gd name="connsiteX112" fmla="*/ 453857 w 590058"/>
              <a:gd name="connsiteY112" fmla="*/ 95769 h 110081"/>
              <a:gd name="connsiteX113" fmla="*/ 506582 w 590058"/>
              <a:gd name="connsiteY113" fmla="*/ 95769 h 110081"/>
              <a:gd name="connsiteX114" fmla="*/ 506582 w 590058"/>
              <a:gd name="connsiteY114" fmla="*/ 108588 h 110081"/>
              <a:gd name="connsiteX115" fmla="*/ 554639 w 590058"/>
              <a:gd name="connsiteY115" fmla="*/ 110082 h 110081"/>
              <a:gd name="connsiteX116" fmla="*/ 535964 w 590058"/>
              <a:gd name="connsiteY116" fmla="*/ 106473 h 110081"/>
              <a:gd name="connsiteX117" fmla="*/ 523265 w 590058"/>
              <a:gd name="connsiteY117" fmla="*/ 96205 h 110081"/>
              <a:gd name="connsiteX118" fmla="*/ 518659 w 590058"/>
              <a:gd name="connsiteY118" fmla="*/ 79777 h 110081"/>
              <a:gd name="connsiteX119" fmla="*/ 524012 w 590058"/>
              <a:gd name="connsiteY119" fmla="*/ 62291 h 110081"/>
              <a:gd name="connsiteX120" fmla="*/ 538827 w 590058"/>
              <a:gd name="connsiteY120" fmla="*/ 51711 h 110081"/>
              <a:gd name="connsiteX121" fmla="*/ 526875 w 590058"/>
              <a:gd name="connsiteY121" fmla="*/ 42564 h 110081"/>
              <a:gd name="connsiteX122" fmla="*/ 522518 w 590058"/>
              <a:gd name="connsiteY122" fmla="*/ 27504 h 110081"/>
              <a:gd name="connsiteX123" fmla="*/ 526688 w 590058"/>
              <a:gd name="connsiteY123" fmla="*/ 12570 h 110081"/>
              <a:gd name="connsiteX124" fmla="*/ 538205 w 590058"/>
              <a:gd name="connsiteY124" fmla="*/ 3298 h 110081"/>
              <a:gd name="connsiteX125" fmla="*/ 554639 w 590058"/>
              <a:gd name="connsiteY125" fmla="*/ 186 h 110081"/>
              <a:gd name="connsiteX126" fmla="*/ 570761 w 590058"/>
              <a:gd name="connsiteY126" fmla="*/ 3298 h 110081"/>
              <a:gd name="connsiteX127" fmla="*/ 582152 w 590058"/>
              <a:gd name="connsiteY127" fmla="*/ 12259 h 110081"/>
              <a:gd name="connsiteX128" fmla="*/ 586448 w 590058"/>
              <a:gd name="connsiteY128" fmla="*/ 27194 h 110081"/>
              <a:gd name="connsiteX129" fmla="*/ 581965 w 590058"/>
              <a:gd name="connsiteY129" fmla="*/ 42439 h 110081"/>
              <a:gd name="connsiteX130" fmla="*/ 570201 w 590058"/>
              <a:gd name="connsiteY130" fmla="*/ 51711 h 110081"/>
              <a:gd name="connsiteX131" fmla="*/ 584518 w 590058"/>
              <a:gd name="connsiteY131" fmla="*/ 61855 h 110081"/>
              <a:gd name="connsiteX132" fmla="*/ 590058 w 590058"/>
              <a:gd name="connsiteY132" fmla="*/ 79341 h 110081"/>
              <a:gd name="connsiteX133" fmla="*/ 585452 w 590058"/>
              <a:gd name="connsiteY133" fmla="*/ 95893 h 110081"/>
              <a:gd name="connsiteX134" fmla="*/ 572753 w 590058"/>
              <a:gd name="connsiteY134" fmla="*/ 106473 h 110081"/>
              <a:gd name="connsiteX135" fmla="*/ 554639 w 590058"/>
              <a:gd name="connsiteY135" fmla="*/ 110082 h 110081"/>
              <a:gd name="connsiteX136" fmla="*/ 554639 w 590058"/>
              <a:gd name="connsiteY136" fmla="*/ 46298 h 110081"/>
              <a:gd name="connsiteX137" fmla="*/ 567649 w 590058"/>
              <a:gd name="connsiteY137" fmla="*/ 41817 h 110081"/>
              <a:gd name="connsiteX138" fmla="*/ 572877 w 590058"/>
              <a:gd name="connsiteY138" fmla="*/ 29122 h 110081"/>
              <a:gd name="connsiteX139" fmla="*/ 567649 w 590058"/>
              <a:gd name="connsiteY139" fmla="*/ 16615 h 110081"/>
              <a:gd name="connsiteX140" fmla="*/ 554639 w 590058"/>
              <a:gd name="connsiteY140" fmla="*/ 11947 h 110081"/>
              <a:gd name="connsiteX141" fmla="*/ 541380 w 590058"/>
              <a:gd name="connsiteY141" fmla="*/ 16615 h 110081"/>
              <a:gd name="connsiteX142" fmla="*/ 536150 w 590058"/>
              <a:gd name="connsiteY142" fmla="*/ 29122 h 110081"/>
              <a:gd name="connsiteX143" fmla="*/ 541380 w 590058"/>
              <a:gd name="connsiteY143" fmla="*/ 41817 h 110081"/>
              <a:gd name="connsiteX144" fmla="*/ 554639 w 590058"/>
              <a:gd name="connsiteY144" fmla="*/ 46298 h 110081"/>
              <a:gd name="connsiteX145" fmla="*/ 554639 w 590058"/>
              <a:gd name="connsiteY145" fmla="*/ 98258 h 110081"/>
              <a:gd name="connsiteX146" fmla="*/ 570014 w 590058"/>
              <a:gd name="connsiteY146" fmla="*/ 92907 h 110081"/>
              <a:gd name="connsiteX147" fmla="*/ 576301 w 590058"/>
              <a:gd name="connsiteY147" fmla="*/ 77536 h 110081"/>
              <a:gd name="connsiteX148" fmla="*/ 570014 w 590058"/>
              <a:gd name="connsiteY148" fmla="*/ 62291 h 110081"/>
              <a:gd name="connsiteX149" fmla="*/ 554639 w 590058"/>
              <a:gd name="connsiteY149" fmla="*/ 56752 h 110081"/>
              <a:gd name="connsiteX150" fmla="*/ 538640 w 590058"/>
              <a:gd name="connsiteY150" fmla="*/ 62291 h 110081"/>
              <a:gd name="connsiteX151" fmla="*/ 532415 w 590058"/>
              <a:gd name="connsiteY151" fmla="*/ 77536 h 110081"/>
              <a:gd name="connsiteX152" fmla="*/ 538640 w 590058"/>
              <a:gd name="connsiteY152" fmla="*/ 92907 h 110081"/>
              <a:gd name="connsiteX153" fmla="*/ 554639 w 590058"/>
              <a:gd name="connsiteY153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59005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0829" y="108588"/>
                </a:moveTo>
                <a:lnTo>
                  <a:pt x="137259" y="108588"/>
                </a:lnTo>
                <a:lnTo>
                  <a:pt x="137259" y="18357"/>
                </a:lnTo>
                <a:lnTo>
                  <a:pt x="107691" y="41071"/>
                </a:lnTo>
                <a:lnTo>
                  <a:pt x="107691" y="26011"/>
                </a:lnTo>
                <a:lnTo>
                  <a:pt x="139500" y="1493"/>
                </a:lnTo>
                <a:lnTo>
                  <a:pt x="150829" y="1493"/>
                </a:lnTo>
                <a:lnTo>
                  <a:pt x="150829" y="108588"/>
                </a:lnTo>
                <a:close/>
                <a:moveTo>
                  <a:pt x="182327" y="35844"/>
                </a:moveTo>
                <a:cubicBezTo>
                  <a:pt x="182327" y="28687"/>
                  <a:pt x="183884" y="22402"/>
                  <a:pt x="186996" y="17051"/>
                </a:cubicBezTo>
                <a:cubicBezTo>
                  <a:pt x="190171" y="11637"/>
                  <a:pt x="194466" y="7467"/>
                  <a:pt x="199820" y="4480"/>
                </a:cubicBezTo>
                <a:cubicBezTo>
                  <a:pt x="205173" y="1493"/>
                  <a:pt x="211211" y="0"/>
                  <a:pt x="217871" y="0"/>
                </a:cubicBezTo>
                <a:cubicBezTo>
                  <a:pt x="226836" y="0"/>
                  <a:pt x="234057" y="1929"/>
                  <a:pt x="239534" y="5849"/>
                </a:cubicBezTo>
                <a:cubicBezTo>
                  <a:pt x="245136" y="9645"/>
                  <a:pt x="249183" y="14934"/>
                  <a:pt x="251673" y="21842"/>
                </a:cubicBezTo>
                <a:cubicBezTo>
                  <a:pt x="254163" y="28563"/>
                  <a:pt x="255408" y="36466"/>
                  <a:pt x="255408" y="45426"/>
                </a:cubicBezTo>
                <a:cubicBezTo>
                  <a:pt x="255408" y="58868"/>
                  <a:pt x="253851" y="70380"/>
                  <a:pt x="250739" y="80088"/>
                </a:cubicBezTo>
                <a:cubicBezTo>
                  <a:pt x="247689" y="89733"/>
                  <a:pt x="242896" y="97138"/>
                  <a:pt x="236421" y="102303"/>
                </a:cubicBezTo>
                <a:cubicBezTo>
                  <a:pt x="230073" y="107468"/>
                  <a:pt x="221855" y="110082"/>
                  <a:pt x="211896" y="110082"/>
                </a:cubicBezTo>
                <a:cubicBezTo>
                  <a:pt x="202932" y="110082"/>
                  <a:pt x="195275" y="108215"/>
                  <a:pt x="188926" y="104543"/>
                </a:cubicBezTo>
                <a:lnTo>
                  <a:pt x="188926" y="91413"/>
                </a:lnTo>
                <a:cubicBezTo>
                  <a:pt x="195711" y="95769"/>
                  <a:pt x="203368" y="98010"/>
                  <a:pt x="211896" y="98010"/>
                </a:cubicBezTo>
                <a:cubicBezTo>
                  <a:pt x="218121" y="98010"/>
                  <a:pt x="223287" y="96267"/>
                  <a:pt x="227458" y="92907"/>
                </a:cubicBezTo>
                <a:cubicBezTo>
                  <a:pt x="231629" y="89546"/>
                  <a:pt x="234865" y="84941"/>
                  <a:pt x="237169" y="79154"/>
                </a:cubicBezTo>
                <a:cubicBezTo>
                  <a:pt x="239534" y="73367"/>
                  <a:pt x="241029" y="66896"/>
                  <a:pt x="241526" y="59739"/>
                </a:cubicBezTo>
                <a:cubicBezTo>
                  <a:pt x="238414" y="63660"/>
                  <a:pt x="234741" y="66522"/>
                  <a:pt x="230446" y="68389"/>
                </a:cubicBezTo>
                <a:cubicBezTo>
                  <a:pt x="226151" y="70193"/>
                  <a:pt x="221545" y="71127"/>
                  <a:pt x="216564" y="71127"/>
                </a:cubicBezTo>
                <a:cubicBezTo>
                  <a:pt x="210153" y="71127"/>
                  <a:pt x="204426" y="69758"/>
                  <a:pt x="199197" y="67082"/>
                </a:cubicBezTo>
                <a:cubicBezTo>
                  <a:pt x="194030" y="64406"/>
                  <a:pt x="189922" y="60424"/>
                  <a:pt x="186809" y="55134"/>
                </a:cubicBezTo>
                <a:cubicBezTo>
                  <a:pt x="183821" y="49845"/>
                  <a:pt x="182327" y="43435"/>
                  <a:pt x="182327" y="35844"/>
                </a:cubicBezTo>
                <a:close/>
                <a:moveTo>
                  <a:pt x="218370" y="12134"/>
                </a:moveTo>
                <a:cubicBezTo>
                  <a:pt x="214573" y="12134"/>
                  <a:pt x="210962" y="13006"/>
                  <a:pt x="207601" y="14810"/>
                </a:cubicBezTo>
                <a:cubicBezTo>
                  <a:pt x="204301" y="16490"/>
                  <a:pt x="201624" y="19104"/>
                  <a:pt x="199508" y="22589"/>
                </a:cubicBezTo>
                <a:cubicBezTo>
                  <a:pt x="197516" y="25949"/>
                  <a:pt x="196520" y="30305"/>
                  <a:pt x="196520" y="35532"/>
                </a:cubicBezTo>
                <a:cubicBezTo>
                  <a:pt x="196520" y="40759"/>
                  <a:pt x="197516" y="45116"/>
                  <a:pt x="199508" y="48725"/>
                </a:cubicBezTo>
                <a:cubicBezTo>
                  <a:pt x="201500" y="52271"/>
                  <a:pt x="204052" y="54947"/>
                  <a:pt x="207165" y="56752"/>
                </a:cubicBezTo>
                <a:cubicBezTo>
                  <a:pt x="210215" y="58556"/>
                  <a:pt x="213452" y="59428"/>
                  <a:pt x="216876" y="59428"/>
                </a:cubicBezTo>
                <a:cubicBezTo>
                  <a:pt x="223412" y="59428"/>
                  <a:pt x="228890" y="57437"/>
                  <a:pt x="233309" y="53329"/>
                </a:cubicBezTo>
                <a:cubicBezTo>
                  <a:pt x="237791" y="49160"/>
                  <a:pt x="240032" y="43124"/>
                  <a:pt x="240032" y="35283"/>
                </a:cubicBezTo>
                <a:cubicBezTo>
                  <a:pt x="240032" y="28313"/>
                  <a:pt x="238040" y="22713"/>
                  <a:pt x="234181" y="18544"/>
                </a:cubicBezTo>
                <a:cubicBezTo>
                  <a:pt x="230321" y="14250"/>
                  <a:pt x="225030" y="12134"/>
                  <a:pt x="218370" y="12134"/>
                </a:cubicBezTo>
                <a:close/>
                <a:moveTo>
                  <a:pt x="315104" y="108588"/>
                </a:moveTo>
                <a:lnTo>
                  <a:pt x="301534" y="108588"/>
                </a:lnTo>
                <a:lnTo>
                  <a:pt x="301534" y="18357"/>
                </a:lnTo>
                <a:lnTo>
                  <a:pt x="271966" y="41071"/>
                </a:lnTo>
                <a:lnTo>
                  <a:pt x="271966" y="26011"/>
                </a:lnTo>
                <a:lnTo>
                  <a:pt x="303775" y="1493"/>
                </a:lnTo>
                <a:lnTo>
                  <a:pt x="315104" y="1493"/>
                </a:lnTo>
                <a:lnTo>
                  <a:pt x="315104" y="108588"/>
                </a:lnTo>
                <a:close/>
                <a:moveTo>
                  <a:pt x="354259" y="1493"/>
                </a:moveTo>
                <a:lnTo>
                  <a:pt x="420554" y="1493"/>
                </a:lnTo>
                <a:lnTo>
                  <a:pt x="420554" y="14374"/>
                </a:lnTo>
                <a:lnTo>
                  <a:pt x="368265" y="14374"/>
                </a:lnTo>
                <a:lnTo>
                  <a:pt x="368265" y="46734"/>
                </a:lnTo>
                <a:lnTo>
                  <a:pt x="412649" y="46734"/>
                </a:lnTo>
                <a:lnTo>
                  <a:pt x="412649" y="59428"/>
                </a:lnTo>
                <a:lnTo>
                  <a:pt x="368265" y="59428"/>
                </a:lnTo>
                <a:lnTo>
                  <a:pt x="368265" y="95893"/>
                </a:lnTo>
                <a:lnTo>
                  <a:pt x="421301" y="95893"/>
                </a:lnTo>
                <a:lnTo>
                  <a:pt x="421301" y="108588"/>
                </a:lnTo>
                <a:lnTo>
                  <a:pt x="354259" y="108588"/>
                </a:lnTo>
                <a:lnTo>
                  <a:pt x="354259" y="1493"/>
                </a:lnTo>
                <a:close/>
                <a:moveTo>
                  <a:pt x="506582" y="108588"/>
                </a:moveTo>
                <a:lnTo>
                  <a:pt x="438295" y="108588"/>
                </a:lnTo>
                <a:lnTo>
                  <a:pt x="438295" y="94400"/>
                </a:lnTo>
                <a:cubicBezTo>
                  <a:pt x="448939" y="85812"/>
                  <a:pt x="457654" y="78532"/>
                  <a:pt x="464439" y="72433"/>
                </a:cubicBezTo>
                <a:cubicBezTo>
                  <a:pt x="471350" y="66397"/>
                  <a:pt x="476641" y="61108"/>
                  <a:pt x="480438" y="56628"/>
                </a:cubicBezTo>
                <a:cubicBezTo>
                  <a:pt x="484297" y="52023"/>
                  <a:pt x="487036" y="47791"/>
                  <a:pt x="488530" y="43933"/>
                </a:cubicBezTo>
                <a:cubicBezTo>
                  <a:pt x="490086" y="40012"/>
                  <a:pt x="490895" y="36092"/>
                  <a:pt x="490895" y="32109"/>
                </a:cubicBezTo>
                <a:cubicBezTo>
                  <a:pt x="490895" y="25949"/>
                  <a:pt x="489028" y="21095"/>
                  <a:pt x="485356" y="17610"/>
                </a:cubicBezTo>
                <a:cubicBezTo>
                  <a:pt x="481682" y="14125"/>
                  <a:pt x="476578" y="12383"/>
                  <a:pt x="470104" y="12383"/>
                </a:cubicBezTo>
                <a:cubicBezTo>
                  <a:pt x="459771" y="12383"/>
                  <a:pt x="450123" y="17361"/>
                  <a:pt x="441158" y="27194"/>
                </a:cubicBezTo>
                <a:lnTo>
                  <a:pt x="441158" y="12134"/>
                </a:lnTo>
                <a:cubicBezTo>
                  <a:pt x="449438" y="4044"/>
                  <a:pt x="459211" y="0"/>
                  <a:pt x="470603" y="0"/>
                </a:cubicBezTo>
                <a:cubicBezTo>
                  <a:pt x="481309" y="0"/>
                  <a:pt x="489775" y="2800"/>
                  <a:pt x="496000" y="8401"/>
                </a:cubicBezTo>
                <a:cubicBezTo>
                  <a:pt x="502225" y="13877"/>
                  <a:pt x="505400" y="21344"/>
                  <a:pt x="505400" y="30803"/>
                </a:cubicBezTo>
                <a:cubicBezTo>
                  <a:pt x="505400" y="35657"/>
                  <a:pt x="504590" y="40324"/>
                  <a:pt x="502972" y="44804"/>
                </a:cubicBezTo>
                <a:cubicBezTo>
                  <a:pt x="501478" y="49222"/>
                  <a:pt x="498801" y="53827"/>
                  <a:pt x="494941" y="58681"/>
                </a:cubicBezTo>
                <a:cubicBezTo>
                  <a:pt x="491144" y="63473"/>
                  <a:pt x="485916" y="68887"/>
                  <a:pt x="479255" y="74860"/>
                </a:cubicBezTo>
                <a:cubicBezTo>
                  <a:pt x="472594" y="80835"/>
                  <a:pt x="464129" y="87804"/>
                  <a:pt x="453857" y="95769"/>
                </a:cubicBezTo>
                <a:lnTo>
                  <a:pt x="506582" y="95769"/>
                </a:lnTo>
                <a:lnTo>
                  <a:pt x="506582" y="108588"/>
                </a:lnTo>
                <a:close/>
                <a:moveTo>
                  <a:pt x="554639" y="110082"/>
                </a:moveTo>
                <a:cubicBezTo>
                  <a:pt x="547666" y="110082"/>
                  <a:pt x="541441" y="108900"/>
                  <a:pt x="535964" y="106473"/>
                </a:cubicBezTo>
                <a:cubicBezTo>
                  <a:pt x="530610" y="104108"/>
                  <a:pt x="526377" y="100685"/>
                  <a:pt x="523265" y="96205"/>
                </a:cubicBezTo>
                <a:cubicBezTo>
                  <a:pt x="520215" y="91600"/>
                  <a:pt x="518659" y="86124"/>
                  <a:pt x="518659" y="79777"/>
                </a:cubicBezTo>
                <a:cubicBezTo>
                  <a:pt x="518659" y="72869"/>
                  <a:pt x="520463" y="67082"/>
                  <a:pt x="524012" y="62291"/>
                </a:cubicBezTo>
                <a:cubicBezTo>
                  <a:pt x="527684" y="57437"/>
                  <a:pt x="532665" y="53889"/>
                  <a:pt x="538827" y="51711"/>
                </a:cubicBezTo>
                <a:cubicBezTo>
                  <a:pt x="533847" y="49720"/>
                  <a:pt x="529863" y="46671"/>
                  <a:pt x="526875" y="42564"/>
                </a:cubicBezTo>
                <a:cubicBezTo>
                  <a:pt x="523950" y="38519"/>
                  <a:pt x="522518" y="33479"/>
                  <a:pt x="522518" y="27504"/>
                </a:cubicBezTo>
                <a:cubicBezTo>
                  <a:pt x="522518" y="21593"/>
                  <a:pt x="523950" y="16615"/>
                  <a:pt x="526688" y="12570"/>
                </a:cubicBezTo>
                <a:cubicBezTo>
                  <a:pt x="529490" y="8463"/>
                  <a:pt x="533349" y="5414"/>
                  <a:pt x="538205" y="3298"/>
                </a:cubicBezTo>
                <a:cubicBezTo>
                  <a:pt x="543122" y="1182"/>
                  <a:pt x="548600" y="186"/>
                  <a:pt x="554639" y="186"/>
                </a:cubicBezTo>
                <a:cubicBezTo>
                  <a:pt x="560614" y="186"/>
                  <a:pt x="566030" y="1182"/>
                  <a:pt x="570761" y="3298"/>
                </a:cubicBezTo>
                <a:cubicBezTo>
                  <a:pt x="575554" y="5289"/>
                  <a:pt x="579351" y="8276"/>
                  <a:pt x="582152" y="12259"/>
                </a:cubicBezTo>
                <a:cubicBezTo>
                  <a:pt x="585016" y="16242"/>
                  <a:pt x="586448" y="21219"/>
                  <a:pt x="586448" y="27194"/>
                </a:cubicBezTo>
                <a:cubicBezTo>
                  <a:pt x="586448" y="33292"/>
                  <a:pt x="584954" y="38332"/>
                  <a:pt x="581965" y="42439"/>
                </a:cubicBezTo>
                <a:cubicBezTo>
                  <a:pt x="578978" y="46484"/>
                  <a:pt x="575056" y="49596"/>
                  <a:pt x="570201" y="51711"/>
                </a:cubicBezTo>
                <a:cubicBezTo>
                  <a:pt x="576177" y="53765"/>
                  <a:pt x="580970" y="57188"/>
                  <a:pt x="584518" y="61855"/>
                </a:cubicBezTo>
                <a:cubicBezTo>
                  <a:pt x="588190" y="66522"/>
                  <a:pt x="590058" y="72372"/>
                  <a:pt x="590058" y="79341"/>
                </a:cubicBezTo>
                <a:cubicBezTo>
                  <a:pt x="590058" y="85688"/>
                  <a:pt x="588502" y="91226"/>
                  <a:pt x="585452" y="95893"/>
                </a:cubicBezTo>
                <a:cubicBezTo>
                  <a:pt x="582339" y="100498"/>
                  <a:pt x="578106" y="103983"/>
                  <a:pt x="572753" y="106473"/>
                </a:cubicBezTo>
                <a:cubicBezTo>
                  <a:pt x="567462" y="108900"/>
                  <a:pt x="561424" y="110082"/>
                  <a:pt x="554639" y="110082"/>
                </a:cubicBezTo>
                <a:close/>
                <a:moveTo>
                  <a:pt x="554639" y="46298"/>
                </a:moveTo>
                <a:cubicBezTo>
                  <a:pt x="559930" y="46298"/>
                  <a:pt x="564287" y="44804"/>
                  <a:pt x="567649" y="41817"/>
                </a:cubicBezTo>
                <a:cubicBezTo>
                  <a:pt x="571134" y="38768"/>
                  <a:pt x="572877" y="34536"/>
                  <a:pt x="572877" y="29122"/>
                </a:cubicBezTo>
                <a:cubicBezTo>
                  <a:pt x="572877" y="23771"/>
                  <a:pt x="571134" y="19601"/>
                  <a:pt x="567649" y="16615"/>
                </a:cubicBezTo>
                <a:cubicBezTo>
                  <a:pt x="564287" y="13503"/>
                  <a:pt x="559930" y="11947"/>
                  <a:pt x="554639" y="11947"/>
                </a:cubicBezTo>
                <a:cubicBezTo>
                  <a:pt x="549347" y="11947"/>
                  <a:pt x="544928" y="13503"/>
                  <a:pt x="541380" y="16615"/>
                </a:cubicBezTo>
                <a:cubicBezTo>
                  <a:pt x="537893" y="19601"/>
                  <a:pt x="536150" y="23771"/>
                  <a:pt x="536150" y="29122"/>
                </a:cubicBezTo>
                <a:cubicBezTo>
                  <a:pt x="536150" y="34536"/>
                  <a:pt x="537893" y="38768"/>
                  <a:pt x="541380" y="41817"/>
                </a:cubicBezTo>
                <a:cubicBezTo>
                  <a:pt x="544928" y="44804"/>
                  <a:pt x="549347" y="46298"/>
                  <a:pt x="554639" y="46298"/>
                </a:cubicBezTo>
                <a:close/>
                <a:moveTo>
                  <a:pt x="554639" y="98258"/>
                </a:moveTo>
                <a:cubicBezTo>
                  <a:pt x="560801" y="98258"/>
                  <a:pt x="565968" y="96516"/>
                  <a:pt x="570014" y="92907"/>
                </a:cubicBezTo>
                <a:cubicBezTo>
                  <a:pt x="574247" y="89235"/>
                  <a:pt x="576301" y="84071"/>
                  <a:pt x="576301" y="77536"/>
                </a:cubicBezTo>
                <a:cubicBezTo>
                  <a:pt x="576301" y="70940"/>
                  <a:pt x="574247" y="65900"/>
                  <a:pt x="570014" y="62291"/>
                </a:cubicBezTo>
                <a:cubicBezTo>
                  <a:pt x="565968" y="58619"/>
                  <a:pt x="560801" y="56752"/>
                  <a:pt x="554639" y="56752"/>
                </a:cubicBezTo>
                <a:cubicBezTo>
                  <a:pt x="548289" y="56752"/>
                  <a:pt x="542936" y="58619"/>
                  <a:pt x="538640" y="62291"/>
                </a:cubicBezTo>
                <a:cubicBezTo>
                  <a:pt x="534469" y="65900"/>
                  <a:pt x="532415" y="70940"/>
                  <a:pt x="532415" y="77536"/>
                </a:cubicBezTo>
                <a:cubicBezTo>
                  <a:pt x="532415" y="84071"/>
                  <a:pt x="534469" y="89235"/>
                  <a:pt x="538640" y="92907"/>
                </a:cubicBezTo>
                <a:cubicBezTo>
                  <a:pt x="542936" y="96516"/>
                  <a:pt x="548289" y="98258"/>
                  <a:pt x="554639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2" name="Полилиния 1711">
            <a:extLst>
              <a:ext uri="{FF2B5EF4-FFF2-40B4-BE49-F238E27FC236}">
                <a16:creationId xmlns:a16="http://schemas.microsoft.com/office/drawing/2014/main" id="{4FF0ECEA-663B-5252-FB18-238957760DCD}"/>
              </a:ext>
            </a:extLst>
          </p:cNvPr>
          <p:cNvSpPr/>
          <p:nvPr/>
        </p:nvSpPr>
        <p:spPr>
          <a:xfrm>
            <a:off x="1444111" y="6676162"/>
            <a:ext cx="2556000" cy="726227"/>
          </a:xfrm>
          <a:custGeom>
            <a:avLst/>
            <a:gdLst>
              <a:gd name="connsiteX0" fmla="*/ 1488 w 2191162"/>
              <a:gd name="connsiteY0" fmla="*/ 1122 h 622284"/>
              <a:gd name="connsiteX1" fmla="*/ 2192651 w 2191162"/>
              <a:gd name="connsiteY1" fmla="*/ 1122 h 622284"/>
              <a:gd name="connsiteX2" fmla="*/ 2192651 w 2191162"/>
              <a:gd name="connsiteY2" fmla="*/ 623406 h 622284"/>
              <a:gd name="connsiteX3" fmla="*/ 1488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122"/>
                </a:moveTo>
                <a:lnTo>
                  <a:pt x="2192651" y="1122"/>
                </a:lnTo>
                <a:lnTo>
                  <a:pt x="2192651" y="623406"/>
                </a:lnTo>
                <a:lnTo>
                  <a:pt x="1488" y="623406"/>
                </a:lnTo>
                <a:close/>
              </a:path>
            </a:pathLst>
          </a:custGeom>
          <a:solidFill>
            <a:srgbClr val="32416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 dirty="0"/>
          </a:p>
        </p:txBody>
      </p:sp>
      <p:sp>
        <p:nvSpPr>
          <p:cNvPr id="1713" name="Полилиния 1712">
            <a:extLst>
              <a:ext uri="{FF2B5EF4-FFF2-40B4-BE49-F238E27FC236}">
                <a16:creationId xmlns:a16="http://schemas.microsoft.com/office/drawing/2014/main" id="{B41F20D3-7D4F-5D53-C37D-9078EB780447}"/>
              </a:ext>
            </a:extLst>
          </p:cNvPr>
          <p:cNvSpPr/>
          <p:nvPr/>
        </p:nvSpPr>
        <p:spPr>
          <a:xfrm>
            <a:off x="1578549" y="6977653"/>
            <a:ext cx="684385" cy="129012"/>
          </a:xfrm>
          <a:custGeom>
            <a:avLst/>
            <a:gdLst>
              <a:gd name="connsiteX0" fmla="*/ 22099 w 583957"/>
              <a:gd name="connsiteY0" fmla="*/ 108588 h 110081"/>
              <a:gd name="connsiteX1" fmla="*/ 10147 w 583957"/>
              <a:gd name="connsiteY1" fmla="*/ 108588 h 110081"/>
              <a:gd name="connsiteX2" fmla="*/ 16434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15 w 583957"/>
              <a:gd name="connsiteY6" fmla="*/ 40012 h 110081"/>
              <a:gd name="connsiteX7" fmla="*/ 4046 w 583957"/>
              <a:gd name="connsiteY7" fmla="*/ 40012 h 110081"/>
              <a:gd name="connsiteX8" fmla="*/ 4046 w 583957"/>
              <a:gd name="connsiteY8" fmla="*/ 29559 h 110081"/>
              <a:gd name="connsiteX9" fmla="*/ 26270 w 583957"/>
              <a:gd name="connsiteY9" fmla="*/ 29559 h 110081"/>
              <a:gd name="connsiteX10" fmla="*/ 32121 w 583957"/>
              <a:gd name="connsiteY10" fmla="*/ 1493 h 110081"/>
              <a:gd name="connsiteX11" fmla="*/ 44073 w 583957"/>
              <a:gd name="connsiteY11" fmla="*/ 1493 h 110081"/>
              <a:gd name="connsiteX12" fmla="*/ 38221 w 583957"/>
              <a:gd name="connsiteY12" fmla="*/ 29559 h 110081"/>
              <a:gd name="connsiteX13" fmla="*/ 60630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582 w 583957"/>
              <a:gd name="connsiteY16" fmla="*/ 29559 h 110081"/>
              <a:gd name="connsiteX17" fmla="*/ 89328 w 583957"/>
              <a:gd name="connsiteY17" fmla="*/ 29559 h 110081"/>
              <a:gd name="connsiteX18" fmla="*/ 89328 w 583957"/>
              <a:gd name="connsiteY18" fmla="*/ 40012 h 110081"/>
              <a:gd name="connsiteX19" fmla="*/ 70529 w 583957"/>
              <a:gd name="connsiteY19" fmla="*/ 40012 h 110081"/>
              <a:gd name="connsiteX20" fmla="*/ 64988 w 583957"/>
              <a:gd name="connsiteY20" fmla="*/ 67206 h 110081"/>
              <a:gd name="connsiteX21" fmla="*/ 85282 w 583957"/>
              <a:gd name="connsiteY21" fmla="*/ 67206 h 110081"/>
              <a:gd name="connsiteX22" fmla="*/ 85282 w 583957"/>
              <a:gd name="connsiteY22" fmla="*/ 77661 h 110081"/>
              <a:gd name="connsiteX23" fmla="*/ 62747 w 583957"/>
              <a:gd name="connsiteY23" fmla="*/ 77661 h 110081"/>
              <a:gd name="connsiteX24" fmla="*/ 56460 w 583957"/>
              <a:gd name="connsiteY24" fmla="*/ 108588 h 110081"/>
              <a:gd name="connsiteX25" fmla="*/ 44508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099 w 583957"/>
              <a:gd name="connsiteY28" fmla="*/ 108588 h 110081"/>
              <a:gd name="connsiteX29" fmla="*/ 30627 w 583957"/>
              <a:gd name="connsiteY29" fmla="*/ 67206 h 110081"/>
              <a:gd name="connsiteX30" fmla="*/ 53036 w 583957"/>
              <a:gd name="connsiteY30" fmla="*/ 67206 h 110081"/>
              <a:gd name="connsiteX31" fmla="*/ 58576 w 583957"/>
              <a:gd name="connsiteY31" fmla="*/ 40012 h 110081"/>
              <a:gd name="connsiteX32" fmla="*/ 36167 w 583957"/>
              <a:gd name="connsiteY32" fmla="*/ 40012 h 110081"/>
              <a:gd name="connsiteX33" fmla="*/ 30627 w 583957"/>
              <a:gd name="connsiteY33" fmla="*/ 67206 h 110081"/>
              <a:gd name="connsiteX34" fmla="*/ 120078 w 583957"/>
              <a:gd name="connsiteY34" fmla="*/ 58992 h 110081"/>
              <a:gd name="connsiteX35" fmla="*/ 120078 w 583957"/>
              <a:gd name="connsiteY35" fmla="*/ 46298 h 110081"/>
              <a:gd name="connsiteX36" fmla="*/ 134396 w 583957"/>
              <a:gd name="connsiteY36" fmla="*/ 46298 h 110081"/>
              <a:gd name="connsiteX37" fmla="*/ 148028 w 583957"/>
              <a:gd name="connsiteY37" fmla="*/ 41817 h 110081"/>
              <a:gd name="connsiteX38" fmla="*/ 153382 w 583957"/>
              <a:gd name="connsiteY38" fmla="*/ 28812 h 110081"/>
              <a:gd name="connsiteX39" fmla="*/ 148464 w 583957"/>
              <a:gd name="connsiteY39" fmla="*/ 16864 h 110081"/>
              <a:gd name="connsiteX40" fmla="*/ 134271 w 583957"/>
              <a:gd name="connsiteY40" fmla="*/ 12383 h 110081"/>
              <a:gd name="connsiteX41" fmla="*/ 119643 w 583957"/>
              <a:gd name="connsiteY41" fmla="*/ 15246 h 110081"/>
              <a:gd name="connsiteX42" fmla="*/ 105575 w 583957"/>
              <a:gd name="connsiteY42" fmla="*/ 24331 h 110081"/>
              <a:gd name="connsiteX43" fmla="*/ 105575 w 583957"/>
              <a:gd name="connsiteY43" fmla="*/ 9707 h 110081"/>
              <a:gd name="connsiteX44" fmla="*/ 134396 w 583957"/>
              <a:gd name="connsiteY44" fmla="*/ 0 h 110081"/>
              <a:gd name="connsiteX45" fmla="*/ 158486 w 583957"/>
              <a:gd name="connsiteY45" fmla="*/ 7779 h 110081"/>
              <a:gd name="connsiteX46" fmla="*/ 167263 w 583957"/>
              <a:gd name="connsiteY46" fmla="*/ 28065 h 110081"/>
              <a:gd name="connsiteX47" fmla="*/ 161599 w 583957"/>
              <a:gd name="connsiteY47" fmla="*/ 44244 h 110081"/>
              <a:gd name="connsiteX48" fmla="*/ 148340 w 583957"/>
              <a:gd name="connsiteY48" fmla="*/ 52147 h 110081"/>
              <a:gd name="connsiteX49" fmla="*/ 159793 w 583957"/>
              <a:gd name="connsiteY49" fmla="*/ 56441 h 110081"/>
              <a:gd name="connsiteX50" fmla="*/ 168508 w 583957"/>
              <a:gd name="connsiteY50" fmla="*/ 65153 h 110081"/>
              <a:gd name="connsiteX51" fmla="*/ 171745 w 583957"/>
              <a:gd name="connsiteY51" fmla="*/ 77661 h 110081"/>
              <a:gd name="connsiteX52" fmla="*/ 166827 w 583957"/>
              <a:gd name="connsiteY52" fmla="*/ 94836 h 110081"/>
              <a:gd name="connsiteX53" fmla="*/ 153257 w 583957"/>
              <a:gd name="connsiteY53" fmla="*/ 106224 h 110081"/>
              <a:gd name="connsiteX54" fmla="*/ 133400 w 583957"/>
              <a:gd name="connsiteY54" fmla="*/ 110082 h 110081"/>
              <a:gd name="connsiteX55" fmla="*/ 102898 w 583957"/>
              <a:gd name="connsiteY55" fmla="*/ 100997 h 110081"/>
              <a:gd name="connsiteX56" fmla="*/ 102898 w 583957"/>
              <a:gd name="connsiteY56" fmla="*/ 86062 h 110081"/>
              <a:gd name="connsiteX57" fmla="*/ 116654 w 583957"/>
              <a:gd name="connsiteY57" fmla="*/ 94711 h 110081"/>
              <a:gd name="connsiteX58" fmla="*/ 133524 w 583957"/>
              <a:gd name="connsiteY58" fmla="*/ 97823 h 110081"/>
              <a:gd name="connsiteX59" fmla="*/ 150829 w 583957"/>
              <a:gd name="connsiteY59" fmla="*/ 92596 h 110081"/>
              <a:gd name="connsiteX60" fmla="*/ 157303 w 583957"/>
              <a:gd name="connsiteY60" fmla="*/ 77972 h 110081"/>
              <a:gd name="connsiteX61" fmla="*/ 151452 w 583957"/>
              <a:gd name="connsiteY61" fmla="*/ 64095 h 110081"/>
              <a:gd name="connsiteX62" fmla="*/ 133835 w 583957"/>
              <a:gd name="connsiteY62" fmla="*/ 58992 h 110081"/>
              <a:gd name="connsiteX63" fmla="*/ 120078 w 583957"/>
              <a:gd name="connsiteY63" fmla="*/ 58992 h 110081"/>
              <a:gd name="connsiteX64" fmla="*/ 252980 w 583957"/>
              <a:gd name="connsiteY64" fmla="*/ 108588 h 110081"/>
              <a:gd name="connsiteX65" fmla="*/ 184755 w 583957"/>
              <a:gd name="connsiteY65" fmla="*/ 108588 h 110081"/>
              <a:gd name="connsiteX66" fmla="*/ 184755 w 583957"/>
              <a:gd name="connsiteY66" fmla="*/ 94400 h 110081"/>
              <a:gd name="connsiteX67" fmla="*/ 210899 w 583957"/>
              <a:gd name="connsiteY67" fmla="*/ 72433 h 110081"/>
              <a:gd name="connsiteX68" fmla="*/ 226836 w 583957"/>
              <a:gd name="connsiteY68" fmla="*/ 56628 h 110081"/>
              <a:gd name="connsiteX69" fmla="*/ 234927 w 583957"/>
              <a:gd name="connsiteY69" fmla="*/ 43933 h 110081"/>
              <a:gd name="connsiteX70" fmla="*/ 237293 w 583957"/>
              <a:gd name="connsiteY70" fmla="*/ 32109 h 110081"/>
              <a:gd name="connsiteX71" fmla="*/ 231815 w 583957"/>
              <a:gd name="connsiteY71" fmla="*/ 17610 h 110081"/>
              <a:gd name="connsiteX72" fmla="*/ 216564 w 583957"/>
              <a:gd name="connsiteY72" fmla="*/ 12383 h 110081"/>
              <a:gd name="connsiteX73" fmla="*/ 187556 w 583957"/>
              <a:gd name="connsiteY73" fmla="*/ 27194 h 110081"/>
              <a:gd name="connsiteX74" fmla="*/ 187556 w 583957"/>
              <a:gd name="connsiteY74" fmla="*/ 12134 h 110081"/>
              <a:gd name="connsiteX75" fmla="*/ 217000 w 583957"/>
              <a:gd name="connsiteY75" fmla="*/ 0 h 110081"/>
              <a:gd name="connsiteX76" fmla="*/ 242398 w 583957"/>
              <a:gd name="connsiteY76" fmla="*/ 8401 h 110081"/>
              <a:gd name="connsiteX77" fmla="*/ 251797 w 583957"/>
              <a:gd name="connsiteY77" fmla="*/ 30803 h 110081"/>
              <a:gd name="connsiteX78" fmla="*/ 249432 w 583957"/>
              <a:gd name="connsiteY78" fmla="*/ 44804 h 110081"/>
              <a:gd name="connsiteX79" fmla="*/ 241339 w 583957"/>
              <a:gd name="connsiteY79" fmla="*/ 58681 h 110081"/>
              <a:gd name="connsiteX80" fmla="*/ 225652 w 583957"/>
              <a:gd name="connsiteY80" fmla="*/ 74860 h 110081"/>
              <a:gd name="connsiteX81" fmla="*/ 200255 w 583957"/>
              <a:gd name="connsiteY81" fmla="*/ 95769 h 110081"/>
              <a:gd name="connsiteX82" fmla="*/ 252980 w 583957"/>
              <a:gd name="connsiteY82" fmla="*/ 95769 h 110081"/>
              <a:gd name="connsiteX83" fmla="*/ 252980 w 583957"/>
              <a:gd name="connsiteY83" fmla="*/ 108588 h 110081"/>
              <a:gd name="connsiteX84" fmla="*/ 323072 w 583957"/>
              <a:gd name="connsiteY84" fmla="*/ 108588 h 110081"/>
              <a:gd name="connsiteX85" fmla="*/ 309875 w 583957"/>
              <a:gd name="connsiteY85" fmla="*/ 108588 h 110081"/>
              <a:gd name="connsiteX86" fmla="*/ 309875 w 583957"/>
              <a:gd name="connsiteY86" fmla="*/ 83199 h 110081"/>
              <a:gd name="connsiteX87" fmla="*/ 263563 w 583957"/>
              <a:gd name="connsiteY87" fmla="*/ 83199 h 110081"/>
              <a:gd name="connsiteX88" fmla="*/ 263563 w 583957"/>
              <a:gd name="connsiteY88" fmla="*/ 73927 h 110081"/>
              <a:gd name="connsiteX89" fmla="*/ 305394 w 583957"/>
              <a:gd name="connsiteY89" fmla="*/ 1493 h 110081"/>
              <a:gd name="connsiteX90" fmla="*/ 323072 w 583957"/>
              <a:gd name="connsiteY90" fmla="*/ 1493 h 110081"/>
              <a:gd name="connsiteX91" fmla="*/ 323072 w 583957"/>
              <a:gd name="connsiteY91" fmla="*/ 71873 h 110081"/>
              <a:gd name="connsiteX92" fmla="*/ 337514 w 583957"/>
              <a:gd name="connsiteY92" fmla="*/ 71873 h 110081"/>
              <a:gd name="connsiteX93" fmla="*/ 337514 w 583957"/>
              <a:gd name="connsiteY93" fmla="*/ 83199 h 110081"/>
              <a:gd name="connsiteX94" fmla="*/ 323072 w 583957"/>
              <a:gd name="connsiteY94" fmla="*/ 83199 h 110081"/>
              <a:gd name="connsiteX95" fmla="*/ 323072 w 583957"/>
              <a:gd name="connsiteY95" fmla="*/ 108588 h 110081"/>
              <a:gd name="connsiteX96" fmla="*/ 277195 w 583957"/>
              <a:gd name="connsiteY96" fmla="*/ 71873 h 110081"/>
              <a:gd name="connsiteX97" fmla="*/ 309875 w 583957"/>
              <a:gd name="connsiteY97" fmla="*/ 71873 h 110081"/>
              <a:gd name="connsiteX98" fmla="*/ 309875 w 583957"/>
              <a:gd name="connsiteY98" fmla="*/ 16117 h 110081"/>
              <a:gd name="connsiteX99" fmla="*/ 277195 w 583957"/>
              <a:gd name="connsiteY99" fmla="*/ 71873 h 110081"/>
              <a:gd name="connsiteX100" fmla="*/ 397273 w 583957"/>
              <a:gd name="connsiteY100" fmla="*/ 108588 h 110081"/>
              <a:gd name="connsiteX101" fmla="*/ 383703 w 583957"/>
              <a:gd name="connsiteY101" fmla="*/ 108588 h 110081"/>
              <a:gd name="connsiteX102" fmla="*/ 383703 w 583957"/>
              <a:gd name="connsiteY102" fmla="*/ 18357 h 110081"/>
              <a:gd name="connsiteX103" fmla="*/ 354072 w 583957"/>
              <a:gd name="connsiteY103" fmla="*/ 41071 h 110081"/>
              <a:gd name="connsiteX104" fmla="*/ 354072 w 583957"/>
              <a:gd name="connsiteY104" fmla="*/ 26011 h 110081"/>
              <a:gd name="connsiteX105" fmla="*/ 385943 w 583957"/>
              <a:gd name="connsiteY105" fmla="*/ 1493 h 110081"/>
              <a:gd name="connsiteX106" fmla="*/ 397273 w 583957"/>
              <a:gd name="connsiteY106" fmla="*/ 1493 h 110081"/>
              <a:gd name="connsiteX107" fmla="*/ 397273 w 583957"/>
              <a:gd name="connsiteY107" fmla="*/ 108588 h 110081"/>
              <a:gd name="connsiteX108" fmla="*/ 501789 w 583957"/>
              <a:gd name="connsiteY108" fmla="*/ 73491 h 110081"/>
              <a:gd name="connsiteX109" fmla="*/ 497058 w 583957"/>
              <a:gd name="connsiteY109" fmla="*/ 92782 h 110081"/>
              <a:gd name="connsiteX110" fmla="*/ 484359 w 583957"/>
              <a:gd name="connsiteY110" fmla="*/ 105601 h 110081"/>
              <a:gd name="connsiteX111" fmla="*/ 466245 w 583957"/>
              <a:gd name="connsiteY111" fmla="*/ 110082 h 110081"/>
              <a:gd name="connsiteX112" fmla="*/ 444582 w 583957"/>
              <a:gd name="connsiteY112" fmla="*/ 104108 h 110081"/>
              <a:gd name="connsiteX113" fmla="*/ 432506 w 583957"/>
              <a:gd name="connsiteY113" fmla="*/ 87555 h 110081"/>
              <a:gd name="connsiteX114" fmla="*/ 428771 w 583957"/>
              <a:gd name="connsiteY114" fmla="*/ 63161 h 110081"/>
              <a:gd name="connsiteX115" fmla="*/ 433253 w 583957"/>
              <a:gd name="connsiteY115" fmla="*/ 30181 h 110081"/>
              <a:gd name="connsiteX116" fmla="*/ 447259 w 583957"/>
              <a:gd name="connsiteY116" fmla="*/ 8089 h 110081"/>
              <a:gd name="connsiteX117" fmla="*/ 471785 w 583957"/>
              <a:gd name="connsiteY117" fmla="*/ 0 h 110081"/>
              <a:gd name="connsiteX118" fmla="*/ 494319 w 583957"/>
              <a:gd name="connsiteY118" fmla="*/ 5538 h 110081"/>
              <a:gd name="connsiteX119" fmla="*/ 494319 w 583957"/>
              <a:gd name="connsiteY119" fmla="*/ 18855 h 110081"/>
              <a:gd name="connsiteX120" fmla="*/ 471785 w 583957"/>
              <a:gd name="connsiteY120" fmla="*/ 12259 h 110081"/>
              <a:gd name="connsiteX121" fmla="*/ 456223 w 583957"/>
              <a:gd name="connsiteY121" fmla="*/ 17361 h 110081"/>
              <a:gd name="connsiteX122" fmla="*/ 446388 w 583957"/>
              <a:gd name="connsiteY122" fmla="*/ 31238 h 110081"/>
              <a:gd name="connsiteX123" fmla="*/ 442217 w 583957"/>
              <a:gd name="connsiteY123" fmla="*/ 50778 h 110081"/>
              <a:gd name="connsiteX124" fmla="*/ 453546 w 583957"/>
              <a:gd name="connsiteY124" fmla="*/ 40759 h 110081"/>
              <a:gd name="connsiteX125" fmla="*/ 467614 w 583957"/>
              <a:gd name="connsiteY125" fmla="*/ 37523 h 110081"/>
              <a:gd name="connsiteX126" fmla="*/ 484919 w 583957"/>
              <a:gd name="connsiteY126" fmla="*/ 41693 h 110081"/>
              <a:gd name="connsiteX127" fmla="*/ 497182 w 583957"/>
              <a:gd name="connsiteY127" fmla="*/ 53952 h 110081"/>
              <a:gd name="connsiteX128" fmla="*/ 501789 w 583957"/>
              <a:gd name="connsiteY128" fmla="*/ 73491 h 110081"/>
              <a:gd name="connsiteX129" fmla="*/ 465809 w 583957"/>
              <a:gd name="connsiteY129" fmla="*/ 98134 h 110081"/>
              <a:gd name="connsiteX130" fmla="*/ 476578 w 583957"/>
              <a:gd name="connsiteY130" fmla="*/ 95458 h 110081"/>
              <a:gd name="connsiteX131" fmla="*/ 484484 w 583957"/>
              <a:gd name="connsiteY131" fmla="*/ 87244 h 110081"/>
              <a:gd name="connsiteX132" fmla="*/ 487597 w 583957"/>
              <a:gd name="connsiteY132" fmla="*/ 73803 h 110081"/>
              <a:gd name="connsiteX133" fmla="*/ 484609 w 583957"/>
              <a:gd name="connsiteY133" fmla="*/ 60174 h 110081"/>
              <a:gd name="connsiteX134" fmla="*/ 477014 w 583957"/>
              <a:gd name="connsiteY134" fmla="*/ 51961 h 110081"/>
              <a:gd name="connsiteX135" fmla="*/ 467303 w 583957"/>
              <a:gd name="connsiteY135" fmla="*/ 49160 h 110081"/>
              <a:gd name="connsiteX136" fmla="*/ 450745 w 583957"/>
              <a:gd name="connsiteY136" fmla="*/ 55570 h 110081"/>
              <a:gd name="connsiteX137" fmla="*/ 444147 w 583957"/>
              <a:gd name="connsiteY137" fmla="*/ 74114 h 110081"/>
              <a:gd name="connsiteX138" fmla="*/ 449998 w 583957"/>
              <a:gd name="connsiteY138" fmla="*/ 91538 h 110081"/>
              <a:gd name="connsiteX139" fmla="*/ 465809 w 583957"/>
              <a:gd name="connsiteY139" fmla="*/ 98134 h 110081"/>
              <a:gd name="connsiteX140" fmla="*/ 569453 w 583957"/>
              <a:gd name="connsiteY140" fmla="*/ 108588 h 110081"/>
              <a:gd name="connsiteX141" fmla="*/ 556319 w 583957"/>
              <a:gd name="connsiteY141" fmla="*/ 108588 h 110081"/>
              <a:gd name="connsiteX142" fmla="*/ 556319 w 583957"/>
              <a:gd name="connsiteY142" fmla="*/ 83199 h 110081"/>
              <a:gd name="connsiteX143" fmla="*/ 510006 w 583957"/>
              <a:gd name="connsiteY143" fmla="*/ 83199 h 110081"/>
              <a:gd name="connsiteX144" fmla="*/ 510006 w 583957"/>
              <a:gd name="connsiteY144" fmla="*/ 73927 h 110081"/>
              <a:gd name="connsiteX145" fmla="*/ 551837 w 583957"/>
              <a:gd name="connsiteY145" fmla="*/ 1493 h 110081"/>
              <a:gd name="connsiteX146" fmla="*/ 569453 w 583957"/>
              <a:gd name="connsiteY146" fmla="*/ 1493 h 110081"/>
              <a:gd name="connsiteX147" fmla="*/ 569453 w 583957"/>
              <a:gd name="connsiteY147" fmla="*/ 71873 h 110081"/>
              <a:gd name="connsiteX148" fmla="*/ 583958 w 583957"/>
              <a:gd name="connsiteY148" fmla="*/ 71873 h 110081"/>
              <a:gd name="connsiteX149" fmla="*/ 583958 w 583957"/>
              <a:gd name="connsiteY149" fmla="*/ 83199 h 110081"/>
              <a:gd name="connsiteX150" fmla="*/ 569453 w 583957"/>
              <a:gd name="connsiteY150" fmla="*/ 83199 h 110081"/>
              <a:gd name="connsiteX151" fmla="*/ 569453 w 583957"/>
              <a:gd name="connsiteY151" fmla="*/ 108588 h 110081"/>
              <a:gd name="connsiteX152" fmla="*/ 523576 w 583957"/>
              <a:gd name="connsiteY152" fmla="*/ 71873 h 110081"/>
              <a:gd name="connsiteX153" fmla="*/ 556319 w 583957"/>
              <a:gd name="connsiteY153" fmla="*/ 71873 h 110081"/>
              <a:gd name="connsiteX154" fmla="*/ 556319 w 583957"/>
              <a:gd name="connsiteY154" fmla="*/ 16117 h 110081"/>
              <a:gd name="connsiteX155" fmla="*/ 523576 w 583957"/>
              <a:gd name="connsiteY155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583957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3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3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7" y="13379"/>
                  <a:pt x="119643" y="15246"/>
                </a:cubicBezTo>
                <a:cubicBezTo>
                  <a:pt x="115161" y="17113"/>
                  <a:pt x="110492" y="20162"/>
                  <a:pt x="105575" y="24331"/>
                </a:cubicBezTo>
                <a:lnTo>
                  <a:pt x="105575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7" y="12943"/>
                  <a:pt x="167263" y="19726"/>
                  <a:pt x="167263" y="28065"/>
                </a:cubicBezTo>
                <a:cubicBezTo>
                  <a:pt x="167263" y="34848"/>
                  <a:pt x="165396" y="40262"/>
                  <a:pt x="161599" y="44244"/>
                </a:cubicBezTo>
                <a:cubicBezTo>
                  <a:pt x="157926" y="48227"/>
                  <a:pt x="153506" y="50840"/>
                  <a:pt x="148340" y="52147"/>
                </a:cubicBezTo>
                <a:cubicBezTo>
                  <a:pt x="152510" y="52707"/>
                  <a:pt x="156307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7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7" y="106224"/>
                </a:cubicBezTo>
                <a:cubicBezTo>
                  <a:pt x="147593" y="108775"/>
                  <a:pt x="140932" y="110082"/>
                  <a:pt x="133400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5" y="89733"/>
                  <a:pt x="111239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69" y="97823"/>
                  <a:pt x="146659" y="96080"/>
                  <a:pt x="150829" y="92596"/>
                </a:cubicBezTo>
                <a:cubicBezTo>
                  <a:pt x="155125" y="89048"/>
                  <a:pt x="157303" y="84132"/>
                  <a:pt x="157303" y="77972"/>
                </a:cubicBezTo>
                <a:cubicBezTo>
                  <a:pt x="157303" y="71998"/>
                  <a:pt x="155312" y="67393"/>
                  <a:pt x="151452" y="64095"/>
                </a:cubicBezTo>
                <a:cubicBezTo>
                  <a:pt x="147655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0" y="108588"/>
                </a:moveTo>
                <a:lnTo>
                  <a:pt x="184755" y="108588"/>
                </a:lnTo>
                <a:lnTo>
                  <a:pt x="184755" y="94400"/>
                </a:lnTo>
                <a:cubicBezTo>
                  <a:pt x="195400" y="85812"/>
                  <a:pt x="204115" y="78532"/>
                  <a:pt x="210899" y="72433"/>
                </a:cubicBezTo>
                <a:cubicBezTo>
                  <a:pt x="217747" y="66397"/>
                  <a:pt x="223101" y="61108"/>
                  <a:pt x="226836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3" y="36092"/>
                  <a:pt x="237293" y="32109"/>
                </a:cubicBezTo>
                <a:cubicBezTo>
                  <a:pt x="237293" y="25949"/>
                  <a:pt x="235488" y="21095"/>
                  <a:pt x="231815" y="17610"/>
                </a:cubicBezTo>
                <a:cubicBezTo>
                  <a:pt x="228080" y="14125"/>
                  <a:pt x="223038" y="12383"/>
                  <a:pt x="216564" y="12383"/>
                </a:cubicBezTo>
                <a:cubicBezTo>
                  <a:pt x="206168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6" y="4044"/>
                  <a:pt x="205671" y="0"/>
                  <a:pt x="217000" y="0"/>
                </a:cubicBezTo>
                <a:cubicBezTo>
                  <a:pt x="227769" y="0"/>
                  <a:pt x="236235" y="2800"/>
                  <a:pt x="242398" y="8401"/>
                </a:cubicBezTo>
                <a:cubicBezTo>
                  <a:pt x="248685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1" y="53827"/>
                  <a:pt x="241339" y="58681"/>
                </a:cubicBezTo>
                <a:cubicBezTo>
                  <a:pt x="237542" y="63473"/>
                  <a:pt x="232314" y="68887"/>
                  <a:pt x="225652" y="74860"/>
                </a:cubicBezTo>
                <a:cubicBezTo>
                  <a:pt x="218992" y="80835"/>
                  <a:pt x="210526" y="87804"/>
                  <a:pt x="200255" y="95769"/>
                </a:cubicBezTo>
                <a:lnTo>
                  <a:pt x="252980" y="95769"/>
                </a:lnTo>
                <a:lnTo>
                  <a:pt x="252980" y="108588"/>
                </a:lnTo>
                <a:close/>
                <a:moveTo>
                  <a:pt x="323072" y="108588"/>
                </a:moveTo>
                <a:lnTo>
                  <a:pt x="309875" y="108588"/>
                </a:lnTo>
                <a:lnTo>
                  <a:pt x="309875" y="83199"/>
                </a:lnTo>
                <a:lnTo>
                  <a:pt x="263563" y="83199"/>
                </a:lnTo>
                <a:lnTo>
                  <a:pt x="263563" y="73927"/>
                </a:lnTo>
                <a:lnTo>
                  <a:pt x="305394" y="1493"/>
                </a:lnTo>
                <a:lnTo>
                  <a:pt x="323072" y="1493"/>
                </a:lnTo>
                <a:lnTo>
                  <a:pt x="323072" y="71873"/>
                </a:lnTo>
                <a:lnTo>
                  <a:pt x="337514" y="71873"/>
                </a:lnTo>
                <a:lnTo>
                  <a:pt x="337514" y="83199"/>
                </a:lnTo>
                <a:lnTo>
                  <a:pt x="323072" y="83199"/>
                </a:lnTo>
                <a:lnTo>
                  <a:pt x="323072" y="108588"/>
                </a:lnTo>
                <a:close/>
                <a:moveTo>
                  <a:pt x="277195" y="71873"/>
                </a:moveTo>
                <a:lnTo>
                  <a:pt x="309875" y="71873"/>
                </a:lnTo>
                <a:lnTo>
                  <a:pt x="309875" y="16117"/>
                </a:lnTo>
                <a:lnTo>
                  <a:pt x="277195" y="71873"/>
                </a:lnTo>
                <a:close/>
                <a:moveTo>
                  <a:pt x="397273" y="108588"/>
                </a:moveTo>
                <a:lnTo>
                  <a:pt x="383703" y="108588"/>
                </a:lnTo>
                <a:lnTo>
                  <a:pt x="383703" y="18357"/>
                </a:lnTo>
                <a:lnTo>
                  <a:pt x="354072" y="41071"/>
                </a:lnTo>
                <a:lnTo>
                  <a:pt x="354072" y="26011"/>
                </a:lnTo>
                <a:lnTo>
                  <a:pt x="385943" y="1493"/>
                </a:lnTo>
                <a:lnTo>
                  <a:pt x="397273" y="1493"/>
                </a:lnTo>
                <a:lnTo>
                  <a:pt x="397273" y="108588"/>
                </a:lnTo>
                <a:close/>
                <a:moveTo>
                  <a:pt x="501789" y="73491"/>
                </a:moveTo>
                <a:cubicBezTo>
                  <a:pt x="501789" y="80772"/>
                  <a:pt x="500232" y="87182"/>
                  <a:pt x="497058" y="92782"/>
                </a:cubicBezTo>
                <a:cubicBezTo>
                  <a:pt x="493946" y="98258"/>
                  <a:pt x="489713" y="102490"/>
                  <a:pt x="484359" y="105601"/>
                </a:cubicBezTo>
                <a:cubicBezTo>
                  <a:pt x="478944" y="108588"/>
                  <a:pt x="472906" y="110082"/>
                  <a:pt x="466245" y="110082"/>
                </a:cubicBezTo>
                <a:cubicBezTo>
                  <a:pt x="457281" y="110082"/>
                  <a:pt x="450060" y="108091"/>
                  <a:pt x="444582" y="104108"/>
                </a:cubicBezTo>
                <a:cubicBezTo>
                  <a:pt x="439104" y="100125"/>
                  <a:pt x="435058" y="94587"/>
                  <a:pt x="432506" y="87555"/>
                </a:cubicBezTo>
                <a:cubicBezTo>
                  <a:pt x="430016" y="80461"/>
                  <a:pt x="428771" y="72372"/>
                  <a:pt x="428771" y="63161"/>
                </a:cubicBezTo>
                <a:cubicBezTo>
                  <a:pt x="428771" y="50653"/>
                  <a:pt x="430265" y="39639"/>
                  <a:pt x="433253" y="30181"/>
                </a:cubicBezTo>
                <a:cubicBezTo>
                  <a:pt x="436303" y="20722"/>
                  <a:pt x="441034" y="13379"/>
                  <a:pt x="447259" y="8089"/>
                </a:cubicBezTo>
                <a:cubicBezTo>
                  <a:pt x="453670" y="2675"/>
                  <a:pt x="461825" y="0"/>
                  <a:pt x="471785" y="0"/>
                </a:cubicBezTo>
                <a:cubicBezTo>
                  <a:pt x="480375" y="0"/>
                  <a:pt x="487845" y="1866"/>
                  <a:pt x="494319" y="5538"/>
                </a:cubicBezTo>
                <a:lnTo>
                  <a:pt x="494319" y="18855"/>
                </a:lnTo>
                <a:cubicBezTo>
                  <a:pt x="487845" y="14437"/>
                  <a:pt x="480375" y="12259"/>
                  <a:pt x="471785" y="12259"/>
                </a:cubicBezTo>
                <a:cubicBezTo>
                  <a:pt x="465622" y="12259"/>
                  <a:pt x="460456" y="13939"/>
                  <a:pt x="456223" y="17361"/>
                </a:cubicBezTo>
                <a:cubicBezTo>
                  <a:pt x="452052" y="20722"/>
                  <a:pt x="448753" y="25327"/>
                  <a:pt x="446388" y="31238"/>
                </a:cubicBezTo>
                <a:cubicBezTo>
                  <a:pt x="444085" y="37026"/>
                  <a:pt x="442715" y="43498"/>
                  <a:pt x="442217" y="50778"/>
                </a:cubicBezTo>
                <a:cubicBezTo>
                  <a:pt x="445516" y="46298"/>
                  <a:pt x="449251" y="42999"/>
                  <a:pt x="453546" y="40759"/>
                </a:cubicBezTo>
                <a:cubicBezTo>
                  <a:pt x="457841" y="38581"/>
                  <a:pt x="462510" y="37523"/>
                  <a:pt x="467614" y="37523"/>
                </a:cubicBezTo>
                <a:cubicBezTo>
                  <a:pt x="474088" y="37523"/>
                  <a:pt x="479878" y="38893"/>
                  <a:pt x="484919" y="41693"/>
                </a:cubicBezTo>
                <a:cubicBezTo>
                  <a:pt x="490086" y="44493"/>
                  <a:pt x="494195" y="48538"/>
                  <a:pt x="497182" y="53952"/>
                </a:cubicBezTo>
                <a:cubicBezTo>
                  <a:pt x="500295" y="59179"/>
                  <a:pt x="501789" y="65713"/>
                  <a:pt x="501789" y="73491"/>
                </a:cubicBezTo>
                <a:close/>
                <a:moveTo>
                  <a:pt x="465809" y="98134"/>
                </a:moveTo>
                <a:cubicBezTo>
                  <a:pt x="469669" y="98134"/>
                  <a:pt x="473279" y="97263"/>
                  <a:pt x="476578" y="95458"/>
                </a:cubicBezTo>
                <a:cubicBezTo>
                  <a:pt x="479878" y="93529"/>
                  <a:pt x="482492" y="90791"/>
                  <a:pt x="484484" y="87244"/>
                </a:cubicBezTo>
                <a:cubicBezTo>
                  <a:pt x="486600" y="83635"/>
                  <a:pt x="487597" y="79154"/>
                  <a:pt x="487597" y="73803"/>
                </a:cubicBezTo>
                <a:cubicBezTo>
                  <a:pt x="487597" y="68389"/>
                  <a:pt x="486600" y="63908"/>
                  <a:pt x="484609" y="60174"/>
                </a:cubicBezTo>
                <a:cubicBezTo>
                  <a:pt x="482616" y="56503"/>
                  <a:pt x="480126" y="53765"/>
                  <a:pt x="477014" y="51961"/>
                </a:cubicBezTo>
                <a:cubicBezTo>
                  <a:pt x="473901" y="50093"/>
                  <a:pt x="470664" y="49160"/>
                  <a:pt x="467303" y="49160"/>
                </a:cubicBezTo>
                <a:cubicBezTo>
                  <a:pt x="460705" y="49160"/>
                  <a:pt x="455227" y="51276"/>
                  <a:pt x="450745" y="55570"/>
                </a:cubicBezTo>
                <a:cubicBezTo>
                  <a:pt x="446325" y="59739"/>
                  <a:pt x="444147" y="65900"/>
                  <a:pt x="444147" y="74114"/>
                </a:cubicBezTo>
                <a:cubicBezTo>
                  <a:pt x="444147" y="81270"/>
                  <a:pt x="446076" y="87058"/>
                  <a:pt x="449998" y="91538"/>
                </a:cubicBezTo>
                <a:cubicBezTo>
                  <a:pt x="453857" y="95956"/>
                  <a:pt x="459148" y="98134"/>
                  <a:pt x="465809" y="98134"/>
                </a:cubicBezTo>
                <a:close/>
                <a:moveTo>
                  <a:pt x="569453" y="108588"/>
                </a:moveTo>
                <a:lnTo>
                  <a:pt x="556319" y="108588"/>
                </a:lnTo>
                <a:lnTo>
                  <a:pt x="556319" y="83199"/>
                </a:lnTo>
                <a:lnTo>
                  <a:pt x="510006" y="83199"/>
                </a:lnTo>
                <a:lnTo>
                  <a:pt x="510006" y="73927"/>
                </a:lnTo>
                <a:lnTo>
                  <a:pt x="551837" y="1493"/>
                </a:lnTo>
                <a:lnTo>
                  <a:pt x="569453" y="1493"/>
                </a:lnTo>
                <a:lnTo>
                  <a:pt x="569453" y="71873"/>
                </a:lnTo>
                <a:lnTo>
                  <a:pt x="583958" y="71873"/>
                </a:lnTo>
                <a:lnTo>
                  <a:pt x="583958" y="83199"/>
                </a:lnTo>
                <a:lnTo>
                  <a:pt x="569453" y="83199"/>
                </a:lnTo>
                <a:lnTo>
                  <a:pt x="569453" y="108588"/>
                </a:lnTo>
                <a:close/>
                <a:moveTo>
                  <a:pt x="523576" y="71873"/>
                </a:moveTo>
                <a:lnTo>
                  <a:pt x="556319" y="71873"/>
                </a:lnTo>
                <a:lnTo>
                  <a:pt x="556319" y="16117"/>
                </a:lnTo>
                <a:lnTo>
                  <a:pt x="523576" y="7187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4" name="Полилиния 1713">
            <a:extLst>
              <a:ext uri="{FF2B5EF4-FFF2-40B4-BE49-F238E27FC236}">
                <a16:creationId xmlns:a16="http://schemas.microsoft.com/office/drawing/2014/main" id="{6CD490E9-C0F0-5AC6-CF4C-E9709257303D}"/>
              </a:ext>
            </a:extLst>
          </p:cNvPr>
          <p:cNvSpPr/>
          <p:nvPr/>
        </p:nvSpPr>
        <p:spPr>
          <a:xfrm>
            <a:off x="1444111" y="7405468"/>
            <a:ext cx="2556000" cy="726227"/>
          </a:xfrm>
          <a:custGeom>
            <a:avLst/>
            <a:gdLst>
              <a:gd name="connsiteX0" fmla="*/ 1488 w 2191162"/>
              <a:gd name="connsiteY0" fmla="*/ 1222 h 622284"/>
              <a:gd name="connsiteX1" fmla="*/ 2192651 w 2191162"/>
              <a:gd name="connsiteY1" fmla="*/ 1222 h 622284"/>
              <a:gd name="connsiteX2" fmla="*/ 2192651 w 2191162"/>
              <a:gd name="connsiteY2" fmla="*/ 623506 h 622284"/>
              <a:gd name="connsiteX3" fmla="*/ 1488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222"/>
                </a:moveTo>
                <a:lnTo>
                  <a:pt x="2192651" y="1222"/>
                </a:lnTo>
                <a:lnTo>
                  <a:pt x="2192651" y="623506"/>
                </a:lnTo>
                <a:lnTo>
                  <a:pt x="1488" y="623506"/>
                </a:lnTo>
                <a:close/>
              </a:path>
            </a:pathLst>
          </a:custGeom>
          <a:solidFill>
            <a:srgbClr val="46557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5" name="Полилиния 1714">
            <a:extLst>
              <a:ext uri="{FF2B5EF4-FFF2-40B4-BE49-F238E27FC236}">
                <a16:creationId xmlns:a16="http://schemas.microsoft.com/office/drawing/2014/main" id="{72084992-C479-D95E-6A98-AA4AAB87972F}"/>
              </a:ext>
            </a:extLst>
          </p:cNvPr>
          <p:cNvSpPr/>
          <p:nvPr/>
        </p:nvSpPr>
        <p:spPr>
          <a:xfrm>
            <a:off x="1578549" y="7706956"/>
            <a:ext cx="709408" cy="129012"/>
          </a:xfrm>
          <a:custGeom>
            <a:avLst/>
            <a:gdLst>
              <a:gd name="connsiteX0" fmla="*/ 22099 w 605308"/>
              <a:gd name="connsiteY0" fmla="*/ 108588 h 110081"/>
              <a:gd name="connsiteX1" fmla="*/ 10147 w 605308"/>
              <a:gd name="connsiteY1" fmla="*/ 108588 h 110081"/>
              <a:gd name="connsiteX2" fmla="*/ 16434 w 605308"/>
              <a:gd name="connsiteY2" fmla="*/ 77661 h 110081"/>
              <a:gd name="connsiteX3" fmla="*/ 0 w 605308"/>
              <a:gd name="connsiteY3" fmla="*/ 77661 h 110081"/>
              <a:gd name="connsiteX4" fmla="*/ 0 w 605308"/>
              <a:gd name="connsiteY4" fmla="*/ 67206 h 110081"/>
              <a:gd name="connsiteX5" fmla="*/ 18675 w 605308"/>
              <a:gd name="connsiteY5" fmla="*/ 67206 h 110081"/>
              <a:gd name="connsiteX6" fmla="*/ 24215 w 605308"/>
              <a:gd name="connsiteY6" fmla="*/ 40012 h 110081"/>
              <a:gd name="connsiteX7" fmla="*/ 4046 w 605308"/>
              <a:gd name="connsiteY7" fmla="*/ 40012 h 110081"/>
              <a:gd name="connsiteX8" fmla="*/ 4046 w 605308"/>
              <a:gd name="connsiteY8" fmla="*/ 29559 h 110081"/>
              <a:gd name="connsiteX9" fmla="*/ 26270 w 605308"/>
              <a:gd name="connsiteY9" fmla="*/ 29559 h 110081"/>
              <a:gd name="connsiteX10" fmla="*/ 32121 w 605308"/>
              <a:gd name="connsiteY10" fmla="*/ 1493 h 110081"/>
              <a:gd name="connsiteX11" fmla="*/ 44073 w 605308"/>
              <a:gd name="connsiteY11" fmla="*/ 1493 h 110081"/>
              <a:gd name="connsiteX12" fmla="*/ 38221 w 605308"/>
              <a:gd name="connsiteY12" fmla="*/ 29559 h 110081"/>
              <a:gd name="connsiteX13" fmla="*/ 60630 w 605308"/>
              <a:gd name="connsiteY13" fmla="*/ 29559 h 110081"/>
              <a:gd name="connsiteX14" fmla="*/ 66482 w 605308"/>
              <a:gd name="connsiteY14" fmla="*/ 1493 h 110081"/>
              <a:gd name="connsiteX15" fmla="*/ 78434 w 605308"/>
              <a:gd name="connsiteY15" fmla="*/ 1493 h 110081"/>
              <a:gd name="connsiteX16" fmla="*/ 72582 w 605308"/>
              <a:gd name="connsiteY16" fmla="*/ 29559 h 110081"/>
              <a:gd name="connsiteX17" fmla="*/ 89328 w 605308"/>
              <a:gd name="connsiteY17" fmla="*/ 29559 h 110081"/>
              <a:gd name="connsiteX18" fmla="*/ 89328 w 605308"/>
              <a:gd name="connsiteY18" fmla="*/ 40012 h 110081"/>
              <a:gd name="connsiteX19" fmla="*/ 70529 w 605308"/>
              <a:gd name="connsiteY19" fmla="*/ 40012 h 110081"/>
              <a:gd name="connsiteX20" fmla="*/ 64988 w 605308"/>
              <a:gd name="connsiteY20" fmla="*/ 67206 h 110081"/>
              <a:gd name="connsiteX21" fmla="*/ 85282 w 605308"/>
              <a:gd name="connsiteY21" fmla="*/ 67206 h 110081"/>
              <a:gd name="connsiteX22" fmla="*/ 85282 w 605308"/>
              <a:gd name="connsiteY22" fmla="*/ 77661 h 110081"/>
              <a:gd name="connsiteX23" fmla="*/ 62747 w 605308"/>
              <a:gd name="connsiteY23" fmla="*/ 77661 h 110081"/>
              <a:gd name="connsiteX24" fmla="*/ 56460 w 605308"/>
              <a:gd name="connsiteY24" fmla="*/ 108588 h 110081"/>
              <a:gd name="connsiteX25" fmla="*/ 44508 w 605308"/>
              <a:gd name="connsiteY25" fmla="*/ 108588 h 110081"/>
              <a:gd name="connsiteX26" fmla="*/ 50795 w 605308"/>
              <a:gd name="connsiteY26" fmla="*/ 77661 h 110081"/>
              <a:gd name="connsiteX27" fmla="*/ 28386 w 605308"/>
              <a:gd name="connsiteY27" fmla="*/ 77661 h 110081"/>
              <a:gd name="connsiteX28" fmla="*/ 22099 w 605308"/>
              <a:gd name="connsiteY28" fmla="*/ 108588 h 110081"/>
              <a:gd name="connsiteX29" fmla="*/ 30627 w 605308"/>
              <a:gd name="connsiteY29" fmla="*/ 67206 h 110081"/>
              <a:gd name="connsiteX30" fmla="*/ 53036 w 605308"/>
              <a:gd name="connsiteY30" fmla="*/ 67206 h 110081"/>
              <a:gd name="connsiteX31" fmla="*/ 58576 w 605308"/>
              <a:gd name="connsiteY31" fmla="*/ 40012 h 110081"/>
              <a:gd name="connsiteX32" fmla="*/ 36167 w 605308"/>
              <a:gd name="connsiteY32" fmla="*/ 40012 h 110081"/>
              <a:gd name="connsiteX33" fmla="*/ 30627 w 605308"/>
              <a:gd name="connsiteY33" fmla="*/ 67206 h 110081"/>
              <a:gd name="connsiteX34" fmla="*/ 158797 w 605308"/>
              <a:gd name="connsiteY34" fmla="*/ 108588 h 110081"/>
              <a:gd name="connsiteX35" fmla="*/ 145600 w 605308"/>
              <a:gd name="connsiteY35" fmla="*/ 108588 h 110081"/>
              <a:gd name="connsiteX36" fmla="*/ 145600 w 605308"/>
              <a:gd name="connsiteY36" fmla="*/ 83199 h 110081"/>
              <a:gd name="connsiteX37" fmla="*/ 99288 w 605308"/>
              <a:gd name="connsiteY37" fmla="*/ 83199 h 110081"/>
              <a:gd name="connsiteX38" fmla="*/ 99288 w 605308"/>
              <a:gd name="connsiteY38" fmla="*/ 73927 h 110081"/>
              <a:gd name="connsiteX39" fmla="*/ 141119 w 605308"/>
              <a:gd name="connsiteY39" fmla="*/ 1493 h 110081"/>
              <a:gd name="connsiteX40" fmla="*/ 158797 w 605308"/>
              <a:gd name="connsiteY40" fmla="*/ 1493 h 110081"/>
              <a:gd name="connsiteX41" fmla="*/ 158797 w 605308"/>
              <a:gd name="connsiteY41" fmla="*/ 71873 h 110081"/>
              <a:gd name="connsiteX42" fmla="*/ 173239 w 605308"/>
              <a:gd name="connsiteY42" fmla="*/ 71873 h 110081"/>
              <a:gd name="connsiteX43" fmla="*/ 173239 w 605308"/>
              <a:gd name="connsiteY43" fmla="*/ 83199 h 110081"/>
              <a:gd name="connsiteX44" fmla="*/ 158797 w 605308"/>
              <a:gd name="connsiteY44" fmla="*/ 83199 h 110081"/>
              <a:gd name="connsiteX45" fmla="*/ 158797 w 605308"/>
              <a:gd name="connsiteY45" fmla="*/ 108588 h 110081"/>
              <a:gd name="connsiteX46" fmla="*/ 112920 w 605308"/>
              <a:gd name="connsiteY46" fmla="*/ 71873 h 110081"/>
              <a:gd name="connsiteX47" fmla="*/ 145600 w 605308"/>
              <a:gd name="connsiteY47" fmla="*/ 71873 h 110081"/>
              <a:gd name="connsiteX48" fmla="*/ 145600 w 605308"/>
              <a:gd name="connsiteY48" fmla="*/ 16117 h 110081"/>
              <a:gd name="connsiteX49" fmla="*/ 112920 w 605308"/>
              <a:gd name="connsiteY49" fmla="*/ 71873 h 110081"/>
              <a:gd name="connsiteX50" fmla="*/ 255408 w 605308"/>
              <a:gd name="connsiteY50" fmla="*/ 73491 h 110081"/>
              <a:gd name="connsiteX51" fmla="*/ 250614 w 605308"/>
              <a:gd name="connsiteY51" fmla="*/ 92782 h 110081"/>
              <a:gd name="connsiteX52" fmla="*/ 237916 w 605308"/>
              <a:gd name="connsiteY52" fmla="*/ 105601 h 110081"/>
              <a:gd name="connsiteX53" fmla="*/ 219864 w 605308"/>
              <a:gd name="connsiteY53" fmla="*/ 110082 h 110081"/>
              <a:gd name="connsiteX54" fmla="*/ 198201 w 605308"/>
              <a:gd name="connsiteY54" fmla="*/ 104108 h 110081"/>
              <a:gd name="connsiteX55" fmla="*/ 186062 w 605308"/>
              <a:gd name="connsiteY55" fmla="*/ 87555 h 110081"/>
              <a:gd name="connsiteX56" fmla="*/ 182327 w 605308"/>
              <a:gd name="connsiteY56" fmla="*/ 63161 h 110081"/>
              <a:gd name="connsiteX57" fmla="*/ 186809 w 605308"/>
              <a:gd name="connsiteY57" fmla="*/ 30181 h 110081"/>
              <a:gd name="connsiteX58" fmla="*/ 200877 w 605308"/>
              <a:gd name="connsiteY58" fmla="*/ 8089 h 110081"/>
              <a:gd name="connsiteX59" fmla="*/ 225342 w 605308"/>
              <a:gd name="connsiteY59" fmla="*/ 0 h 110081"/>
              <a:gd name="connsiteX60" fmla="*/ 247938 w 605308"/>
              <a:gd name="connsiteY60" fmla="*/ 5538 h 110081"/>
              <a:gd name="connsiteX61" fmla="*/ 247938 w 605308"/>
              <a:gd name="connsiteY61" fmla="*/ 18855 h 110081"/>
              <a:gd name="connsiteX62" fmla="*/ 225342 w 605308"/>
              <a:gd name="connsiteY62" fmla="*/ 12259 h 110081"/>
              <a:gd name="connsiteX63" fmla="*/ 209842 w 605308"/>
              <a:gd name="connsiteY63" fmla="*/ 17361 h 110081"/>
              <a:gd name="connsiteX64" fmla="*/ 199944 w 605308"/>
              <a:gd name="connsiteY64" fmla="*/ 31238 h 110081"/>
              <a:gd name="connsiteX65" fmla="*/ 195773 w 605308"/>
              <a:gd name="connsiteY65" fmla="*/ 50778 h 110081"/>
              <a:gd name="connsiteX66" fmla="*/ 207165 w 605308"/>
              <a:gd name="connsiteY66" fmla="*/ 40759 h 110081"/>
              <a:gd name="connsiteX67" fmla="*/ 221171 w 605308"/>
              <a:gd name="connsiteY67" fmla="*/ 37523 h 110081"/>
              <a:gd name="connsiteX68" fmla="*/ 238538 w 605308"/>
              <a:gd name="connsiteY68" fmla="*/ 41693 h 110081"/>
              <a:gd name="connsiteX69" fmla="*/ 250739 w 605308"/>
              <a:gd name="connsiteY69" fmla="*/ 53952 h 110081"/>
              <a:gd name="connsiteX70" fmla="*/ 255408 w 605308"/>
              <a:gd name="connsiteY70" fmla="*/ 73491 h 110081"/>
              <a:gd name="connsiteX71" fmla="*/ 219365 w 605308"/>
              <a:gd name="connsiteY71" fmla="*/ 98134 h 110081"/>
              <a:gd name="connsiteX72" fmla="*/ 230135 w 605308"/>
              <a:gd name="connsiteY72" fmla="*/ 95458 h 110081"/>
              <a:gd name="connsiteX73" fmla="*/ 238040 w 605308"/>
              <a:gd name="connsiteY73" fmla="*/ 87244 h 110081"/>
              <a:gd name="connsiteX74" fmla="*/ 241215 w 605308"/>
              <a:gd name="connsiteY74" fmla="*/ 73803 h 110081"/>
              <a:gd name="connsiteX75" fmla="*/ 238227 w 605308"/>
              <a:gd name="connsiteY75" fmla="*/ 60174 h 110081"/>
              <a:gd name="connsiteX76" fmla="*/ 230570 w 605308"/>
              <a:gd name="connsiteY76" fmla="*/ 51961 h 110081"/>
              <a:gd name="connsiteX77" fmla="*/ 220859 w 605308"/>
              <a:gd name="connsiteY77" fmla="*/ 49160 h 110081"/>
              <a:gd name="connsiteX78" fmla="*/ 204301 w 605308"/>
              <a:gd name="connsiteY78" fmla="*/ 55570 h 110081"/>
              <a:gd name="connsiteX79" fmla="*/ 197703 w 605308"/>
              <a:gd name="connsiteY79" fmla="*/ 74114 h 110081"/>
              <a:gd name="connsiteX80" fmla="*/ 203555 w 605308"/>
              <a:gd name="connsiteY80" fmla="*/ 91538 h 110081"/>
              <a:gd name="connsiteX81" fmla="*/ 219365 w 605308"/>
              <a:gd name="connsiteY81" fmla="*/ 98134 h 110081"/>
              <a:gd name="connsiteX82" fmla="*/ 295994 w 605308"/>
              <a:gd name="connsiteY82" fmla="*/ 110082 h 110081"/>
              <a:gd name="connsiteX83" fmla="*/ 267484 w 605308"/>
              <a:gd name="connsiteY83" fmla="*/ 102490 h 110081"/>
              <a:gd name="connsiteX84" fmla="*/ 267484 w 605308"/>
              <a:gd name="connsiteY84" fmla="*/ 87804 h 110081"/>
              <a:gd name="connsiteX85" fmla="*/ 280619 w 605308"/>
              <a:gd name="connsiteY85" fmla="*/ 95458 h 110081"/>
              <a:gd name="connsiteX86" fmla="*/ 295994 w 605308"/>
              <a:gd name="connsiteY86" fmla="*/ 97823 h 110081"/>
              <a:gd name="connsiteX87" fmla="*/ 313050 w 605308"/>
              <a:gd name="connsiteY87" fmla="*/ 91102 h 110081"/>
              <a:gd name="connsiteX88" fmla="*/ 319150 w 605308"/>
              <a:gd name="connsiteY88" fmla="*/ 73491 h 110081"/>
              <a:gd name="connsiteX89" fmla="*/ 313175 w 605308"/>
              <a:gd name="connsiteY89" fmla="*/ 56441 h 110081"/>
              <a:gd name="connsiteX90" fmla="*/ 298110 w 605308"/>
              <a:gd name="connsiteY90" fmla="*/ 51089 h 110081"/>
              <a:gd name="connsiteX91" fmla="*/ 287466 w 605308"/>
              <a:gd name="connsiteY91" fmla="*/ 53329 h 110081"/>
              <a:gd name="connsiteX92" fmla="*/ 281366 w 605308"/>
              <a:gd name="connsiteY92" fmla="*/ 57810 h 110081"/>
              <a:gd name="connsiteX93" fmla="*/ 270472 w 605308"/>
              <a:gd name="connsiteY93" fmla="*/ 57810 h 110081"/>
              <a:gd name="connsiteX94" fmla="*/ 270472 w 605308"/>
              <a:gd name="connsiteY94" fmla="*/ 1493 h 110081"/>
              <a:gd name="connsiteX95" fmla="*/ 328426 w 605308"/>
              <a:gd name="connsiteY95" fmla="*/ 1493 h 110081"/>
              <a:gd name="connsiteX96" fmla="*/ 328426 w 605308"/>
              <a:gd name="connsiteY96" fmla="*/ 14374 h 110081"/>
              <a:gd name="connsiteX97" fmla="*/ 282735 w 605308"/>
              <a:gd name="connsiteY97" fmla="*/ 14374 h 110081"/>
              <a:gd name="connsiteX98" fmla="*/ 282735 w 605308"/>
              <a:gd name="connsiteY98" fmla="*/ 44991 h 110081"/>
              <a:gd name="connsiteX99" fmla="*/ 290018 w 605308"/>
              <a:gd name="connsiteY99" fmla="*/ 41071 h 110081"/>
              <a:gd name="connsiteX100" fmla="*/ 300351 w 605308"/>
              <a:gd name="connsiteY100" fmla="*/ 39266 h 110081"/>
              <a:gd name="connsiteX101" fmla="*/ 317097 w 605308"/>
              <a:gd name="connsiteY101" fmla="*/ 43186 h 110081"/>
              <a:gd name="connsiteX102" fmla="*/ 328862 w 605308"/>
              <a:gd name="connsiteY102" fmla="*/ 54512 h 110081"/>
              <a:gd name="connsiteX103" fmla="*/ 333343 w 605308"/>
              <a:gd name="connsiteY103" fmla="*/ 73181 h 110081"/>
              <a:gd name="connsiteX104" fmla="*/ 328737 w 605308"/>
              <a:gd name="connsiteY104" fmla="*/ 92596 h 110081"/>
              <a:gd name="connsiteX105" fmla="*/ 315851 w 605308"/>
              <a:gd name="connsiteY105" fmla="*/ 105601 h 110081"/>
              <a:gd name="connsiteX106" fmla="*/ 295994 w 605308"/>
              <a:gd name="connsiteY106" fmla="*/ 110082 h 110081"/>
              <a:gd name="connsiteX107" fmla="*/ 378162 w 605308"/>
              <a:gd name="connsiteY107" fmla="*/ 110082 h 110081"/>
              <a:gd name="connsiteX108" fmla="*/ 349590 w 605308"/>
              <a:gd name="connsiteY108" fmla="*/ 102490 h 110081"/>
              <a:gd name="connsiteX109" fmla="*/ 349590 w 605308"/>
              <a:gd name="connsiteY109" fmla="*/ 87804 h 110081"/>
              <a:gd name="connsiteX110" fmla="*/ 362787 w 605308"/>
              <a:gd name="connsiteY110" fmla="*/ 95458 h 110081"/>
              <a:gd name="connsiteX111" fmla="*/ 378162 w 605308"/>
              <a:gd name="connsiteY111" fmla="*/ 97823 h 110081"/>
              <a:gd name="connsiteX112" fmla="*/ 395156 w 605308"/>
              <a:gd name="connsiteY112" fmla="*/ 91102 h 110081"/>
              <a:gd name="connsiteX113" fmla="*/ 401320 w 605308"/>
              <a:gd name="connsiteY113" fmla="*/ 73491 h 110081"/>
              <a:gd name="connsiteX114" fmla="*/ 395343 w 605308"/>
              <a:gd name="connsiteY114" fmla="*/ 56441 h 110081"/>
              <a:gd name="connsiteX115" fmla="*/ 380217 w 605308"/>
              <a:gd name="connsiteY115" fmla="*/ 51089 h 110081"/>
              <a:gd name="connsiteX116" fmla="*/ 369634 w 605308"/>
              <a:gd name="connsiteY116" fmla="*/ 53329 h 110081"/>
              <a:gd name="connsiteX117" fmla="*/ 363534 w 605308"/>
              <a:gd name="connsiteY117" fmla="*/ 57810 h 110081"/>
              <a:gd name="connsiteX118" fmla="*/ 352578 w 605308"/>
              <a:gd name="connsiteY118" fmla="*/ 57810 h 110081"/>
              <a:gd name="connsiteX119" fmla="*/ 352578 w 605308"/>
              <a:gd name="connsiteY119" fmla="*/ 1493 h 110081"/>
              <a:gd name="connsiteX120" fmla="*/ 410595 w 605308"/>
              <a:gd name="connsiteY120" fmla="*/ 1493 h 110081"/>
              <a:gd name="connsiteX121" fmla="*/ 410595 w 605308"/>
              <a:gd name="connsiteY121" fmla="*/ 14374 h 110081"/>
              <a:gd name="connsiteX122" fmla="*/ 364841 w 605308"/>
              <a:gd name="connsiteY122" fmla="*/ 14374 h 110081"/>
              <a:gd name="connsiteX123" fmla="*/ 364841 w 605308"/>
              <a:gd name="connsiteY123" fmla="*/ 44991 h 110081"/>
              <a:gd name="connsiteX124" fmla="*/ 372187 w 605308"/>
              <a:gd name="connsiteY124" fmla="*/ 41071 h 110081"/>
              <a:gd name="connsiteX125" fmla="*/ 382458 w 605308"/>
              <a:gd name="connsiteY125" fmla="*/ 39266 h 110081"/>
              <a:gd name="connsiteX126" fmla="*/ 399203 w 605308"/>
              <a:gd name="connsiteY126" fmla="*/ 43186 h 110081"/>
              <a:gd name="connsiteX127" fmla="*/ 411030 w 605308"/>
              <a:gd name="connsiteY127" fmla="*/ 54512 h 110081"/>
              <a:gd name="connsiteX128" fmla="*/ 415512 w 605308"/>
              <a:gd name="connsiteY128" fmla="*/ 73181 h 110081"/>
              <a:gd name="connsiteX129" fmla="*/ 410843 w 605308"/>
              <a:gd name="connsiteY129" fmla="*/ 92596 h 110081"/>
              <a:gd name="connsiteX130" fmla="*/ 398020 w 605308"/>
              <a:gd name="connsiteY130" fmla="*/ 105601 h 110081"/>
              <a:gd name="connsiteX131" fmla="*/ 378162 w 605308"/>
              <a:gd name="connsiteY131" fmla="*/ 110082 h 110081"/>
              <a:gd name="connsiteX132" fmla="*/ 499423 w 605308"/>
              <a:gd name="connsiteY132" fmla="*/ 13628 h 110081"/>
              <a:gd name="connsiteX133" fmla="*/ 453982 w 605308"/>
              <a:gd name="connsiteY133" fmla="*/ 108588 h 110081"/>
              <a:gd name="connsiteX134" fmla="*/ 439354 w 605308"/>
              <a:gd name="connsiteY134" fmla="*/ 108588 h 110081"/>
              <a:gd name="connsiteX135" fmla="*/ 485106 w 605308"/>
              <a:gd name="connsiteY135" fmla="*/ 14374 h 110081"/>
              <a:gd name="connsiteX136" fmla="*/ 430576 w 605308"/>
              <a:gd name="connsiteY136" fmla="*/ 14374 h 110081"/>
              <a:gd name="connsiteX137" fmla="*/ 430576 w 605308"/>
              <a:gd name="connsiteY137" fmla="*/ 1493 h 110081"/>
              <a:gd name="connsiteX138" fmla="*/ 499423 w 605308"/>
              <a:gd name="connsiteY138" fmla="*/ 1493 h 110081"/>
              <a:gd name="connsiteX139" fmla="*/ 499423 w 605308"/>
              <a:gd name="connsiteY139" fmla="*/ 13628 h 110081"/>
              <a:gd name="connsiteX140" fmla="*/ 518534 w 605308"/>
              <a:gd name="connsiteY140" fmla="*/ 1493 h 110081"/>
              <a:gd name="connsiteX141" fmla="*/ 554514 w 605308"/>
              <a:gd name="connsiteY141" fmla="*/ 1493 h 110081"/>
              <a:gd name="connsiteX142" fmla="*/ 574558 w 605308"/>
              <a:gd name="connsiteY142" fmla="*/ 4044 h 110081"/>
              <a:gd name="connsiteX143" fmla="*/ 590680 w 605308"/>
              <a:gd name="connsiteY143" fmla="*/ 12383 h 110081"/>
              <a:gd name="connsiteX144" fmla="*/ 601449 w 605308"/>
              <a:gd name="connsiteY144" fmla="*/ 27629 h 110081"/>
              <a:gd name="connsiteX145" fmla="*/ 605309 w 605308"/>
              <a:gd name="connsiteY145" fmla="*/ 51401 h 110081"/>
              <a:gd name="connsiteX146" fmla="*/ 598462 w 605308"/>
              <a:gd name="connsiteY146" fmla="*/ 83075 h 110081"/>
              <a:gd name="connsiteX147" fmla="*/ 579911 w 605308"/>
              <a:gd name="connsiteY147" fmla="*/ 102179 h 110081"/>
              <a:gd name="connsiteX148" fmla="*/ 552896 w 605308"/>
              <a:gd name="connsiteY148" fmla="*/ 108588 h 110081"/>
              <a:gd name="connsiteX149" fmla="*/ 518534 w 605308"/>
              <a:gd name="connsiteY149" fmla="*/ 108588 h 110081"/>
              <a:gd name="connsiteX150" fmla="*/ 518534 w 605308"/>
              <a:gd name="connsiteY150" fmla="*/ 1493 h 110081"/>
              <a:gd name="connsiteX151" fmla="*/ 552896 w 605308"/>
              <a:gd name="connsiteY151" fmla="*/ 95893 h 110081"/>
              <a:gd name="connsiteX152" fmla="*/ 572317 w 605308"/>
              <a:gd name="connsiteY152" fmla="*/ 91413 h 110081"/>
              <a:gd name="connsiteX153" fmla="*/ 585327 w 605308"/>
              <a:gd name="connsiteY153" fmla="*/ 77225 h 110081"/>
              <a:gd name="connsiteX154" fmla="*/ 590058 w 605308"/>
              <a:gd name="connsiteY154" fmla="*/ 52458 h 110081"/>
              <a:gd name="connsiteX155" fmla="*/ 585452 w 605308"/>
              <a:gd name="connsiteY155" fmla="*/ 29122 h 110081"/>
              <a:gd name="connsiteX156" fmla="*/ 572753 w 605308"/>
              <a:gd name="connsiteY156" fmla="*/ 17610 h 110081"/>
              <a:gd name="connsiteX157" fmla="*/ 554514 w 605308"/>
              <a:gd name="connsiteY157" fmla="*/ 14374 h 110081"/>
              <a:gd name="connsiteX158" fmla="*/ 532540 w 605308"/>
              <a:gd name="connsiteY158" fmla="*/ 14374 h 110081"/>
              <a:gd name="connsiteX159" fmla="*/ 532540 w 605308"/>
              <a:gd name="connsiteY159" fmla="*/ 95893 h 110081"/>
              <a:gd name="connsiteX160" fmla="*/ 552896 w 605308"/>
              <a:gd name="connsiteY160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60530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8797" y="108588"/>
                </a:moveTo>
                <a:lnTo>
                  <a:pt x="145600" y="108588"/>
                </a:lnTo>
                <a:lnTo>
                  <a:pt x="145600" y="83199"/>
                </a:lnTo>
                <a:lnTo>
                  <a:pt x="99288" y="83199"/>
                </a:lnTo>
                <a:lnTo>
                  <a:pt x="99288" y="73927"/>
                </a:lnTo>
                <a:lnTo>
                  <a:pt x="141119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0" y="71873"/>
                </a:lnTo>
                <a:lnTo>
                  <a:pt x="145600" y="16117"/>
                </a:lnTo>
                <a:lnTo>
                  <a:pt x="112920" y="71873"/>
                </a:lnTo>
                <a:close/>
                <a:moveTo>
                  <a:pt x="255408" y="73491"/>
                </a:moveTo>
                <a:cubicBezTo>
                  <a:pt x="255408" y="80772"/>
                  <a:pt x="253789" y="87182"/>
                  <a:pt x="250614" y="92782"/>
                </a:cubicBezTo>
                <a:cubicBezTo>
                  <a:pt x="247502" y="98258"/>
                  <a:pt x="243269" y="102490"/>
                  <a:pt x="237916" y="105601"/>
                </a:cubicBezTo>
                <a:cubicBezTo>
                  <a:pt x="232562" y="108588"/>
                  <a:pt x="226524" y="110082"/>
                  <a:pt x="219864" y="110082"/>
                </a:cubicBezTo>
                <a:cubicBezTo>
                  <a:pt x="210899" y="110082"/>
                  <a:pt x="203679" y="108091"/>
                  <a:pt x="198201" y="104108"/>
                </a:cubicBezTo>
                <a:cubicBezTo>
                  <a:pt x="192723" y="100125"/>
                  <a:pt x="188677" y="94587"/>
                  <a:pt x="186062" y="87555"/>
                </a:cubicBezTo>
                <a:cubicBezTo>
                  <a:pt x="183572" y="80461"/>
                  <a:pt x="182327" y="72372"/>
                  <a:pt x="182327" y="63161"/>
                </a:cubicBezTo>
                <a:cubicBezTo>
                  <a:pt x="182327" y="50653"/>
                  <a:pt x="183821" y="39639"/>
                  <a:pt x="186809" y="30181"/>
                </a:cubicBezTo>
                <a:cubicBezTo>
                  <a:pt x="189922" y="20722"/>
                  <a:pt x="194590" y="13379"/>
                  <a:pt x="200877" y="8089"/>
                </a:cubicBezTo>
                <a:cubicBezTo>
                  <a:pt x="207227" y="2675"/>
                  <a:pt x="215382" y="0"/>
                  <a:pt x="225342" y="0"/>
                </a:cubicBezTo>
                <a:cubicBezTo>
                  <a:pt x="233932" y="0"/>
                  <a:pt x="241464" y="1866"/>
                  <a:pt x="247938" y="5538"/>
                </a:cubicBezTo>
                <a:lnTo>
                  <a:pt x="247938" y="18855"/>
                </a:lnTo>
                <a:cubicBezTo>
                  <a:pt x="241464" y="14437"/>
                  <a:pt x="233932" y="12259"/>
                  <a:pt x="225342" y="12259"/>
                </a:cubicBezTo>
                <a:cubicBezTo>
                  <a:pt x="219179" y="12259"/>
                  <a:pt x="214012" y="13939"/>
                  <a:pt x="209842" y="17361"/>
                </a:cubicBezTo>
                <a:cubicBezTo>
                  <a:pt x="205671" y="20722"/>
                  <a:pt x="202371" y="25327"/>
                  <a:pt x="199944" y="31238"/>
                </a:cubicBezTo>
                <a:cubicBezTo>
                  <a:pt x="197703" y="37026"/>
                  <a:pt x="196271" y="43498"/>
                  <a:pt x="195773" y="50778"/>
                </a:cubicBezTo>
                <a:cubicBezTo>
                  <a:pt x="199072" y="46298"/>
                  <a:pt x="202870" y="42999"/>
                  <a:pt x="207165" y="40759"/>
                </a:cubicBezTo>
                <a:cubicBezTo>
                  <a:pt x="211398" y="38581"/>
                  <a:pt x="216129" y="37523"/>
                  <a:pt x="221171" y="37523"/>
                </a:cubicBezTo>
                <a:cubicBezTo>
                  <a:pt x="227645" y="37523"/>
                  <a:pt x="233434" y="38893"/>
                  <a:pt x="238538" y="41693"/>
                </a:cubicBezTo>
                <a:cubicBezTo>
                  <a:pt x="243705" y="44493"/>
                  <a:pt x="247751" y="48538"/>
                  <a:pt x="250739" y="53952"/>
                </a:cubicBezTo>
                <a:cubicBezTo>
                  <a:pt x="253851" y="59179"/>
                  <a:pt x="255408" y="65713"/>
                  <a:pt x="255408" y="73491"/>
                </a:cubicBezTo>
                <a:close/>
                <a:moveTo>
                  <a:pt x="219365" y="98134"/>
                </a:moveTo>
                <a:cubicBezTo>
                  <a:pt x="223287" y="98134"/>
                  <a:pt x="226836" y="97263"/>
                  <a:pt x="230135" y="95458"/>
                </a:cubicBezTo>
                <a:cubicBezTo>
                  <a:pt x="233434" y="93529"/>
                  <a:pt x="236048" y="90791"/>
                  <a:pt x="238040" y="87244"/>
                </a:cubicBezTo>
                <a:cubicBezTo>
                  <a:pt x="240157" y="83635"/>
                  <a:pt x="241215" y="79154"/>
                  <a:pt x="241215" y="73803"/>
                </a:cubicBezTo>
                <a:cubicBezTo>
                  <a:pt x="241215" y="68389"/>
                  <a:pt x="240219" y="63908"/>
                  <a:pt x="238227" y="60174"/>
                </a:cubicBezTo>
                <a:cubicBezTo>
                  <a:pt x="236235" y="56503"/>
                  <a:pt x="233683" y="53765"/>
                  <a:pt x="230570" y="51961"/>
                </a:cubicBezTo>
                <a:cubicBezTo>
                  <a:pt x="227520" y="50093"/>
                  <a:pt x="224283" y="49160"/>
                  <a:pt x="220859" y="49160"/>
                </a:cubicBezTo>
                <a:cubicBezTo>
                  <a:pt x="214323" y="49160"/>
                  <a:pt x="208783" y="51276"/>
                  <a:pt x="204301" y="55570"/>
                </a:cubicBezTo>
                <a:cubicBezTo>
                  <a:pt x="199944" y="59739"/>
                  <a:pt x="197703" y="65900"/>
                  <a:pt x="197703" y="74114"/>
                </a:cubicBezTo>
                <a:cubicBezTo>
                  <a:pt x="197703" y="81270"/>
                  <a:pt x="199695" y="87058"/>
                  <a:pt x="203555" y="91538"/>
                </a:cubicBezTo>
                <a:cubicBezTo>
                  <a:pt x="207414" y="95956"/>
                  <a:pt x="212705" y="98134"/>
                  <a:pt x="219365" y="98134"/>
                </a:cubicBezTo>
                <a:close/>
                <a:moveTo>
                  <a:pt x="295994" y="110082"/>
                </a:moveTo>
                <a:cubicBezTo>
                  <a:pt x="284042" y="110082"/>
                  <a:pt x="274518" y="107530"/>
                  <a:pt x="267484" y="102490"/>
                </a:cubicBezTo>
                <a:lnTo>
                  <a:pt x="267484" y="87804"/>
                </a:lnTo>
                <a:cubicBezTo>
                  <a:pt x="271655" y="91226"/>
                  <a:pt x="276012" y="93778"/>
                  <a:pt x="280619" y="95458"/>
                </a:cubicBezTo>
                <a:cubicBezTo>
                  <a:pt x="285225" y="97014"/>
                  <a:pt x="290329" y="97823"/>
                  <a:pt x="295994" y="97823"/>
                </a:cubicBezTo>
                <a:cubicBezTo>
                  <a:pt x="303401" y="97823"/>
                  <a:pt x="309066" y="95583"/>
                  <a:pt x="313050" y="91102"/>
                </a:cubicBezTo>
                <a:cubicBezTo>
                  <a:pt x="317097" y="86621"/>
                  <a:pt x="319150" y="80772"/>
                  <a:pt x="319150" y="73491"/>
                </a:cubicBezTo>
                <a:cubicBezTo>
                  <a:pt x="319150" y="65713"/>
                  <a:pt x="317159" y="60050"/>
                  <a:pt x="313175" y="56441"/>
                </a:cubicBezTo>
                <a:cubicBezTo>
                  <a:pt x="309191" y="52894"/>
                  <a:pt x="304148" y="51089"/>
                  <a:pt x="298110" y="51089"/>
                </a:cubicBezTo>
                <a:cubicBezTo>
                  <a:pt x="293691" y="51089"/>
                  <a:pt x="290205" y="51836"/>
                  <a:pt x="287466" y="53329"/>
                </a:cubicBezTo>
                <a:cubicBezTo>
                  <a:pt x="284789" y="54698"/>
                  <a:pt x="282735" y="56192"/>
                  <a:pt x="281366" y="57810"/>
                </a:cubicBezTo>
                <a:lnTo>
                  <a:pt x="270472" y="57810"/>
                </a:lnTo>
                <a:lnTo>
                  <a:pt x="270472" y="1493"/>
                </a:lnTo>
                <a:lnTo>
                  <a:pt x="328426" y="1493"/>
                </a:lnTo>
                <a:lnTo>
                  <a:pt x="328426" y="14374"/>
                </a:lnTo>
                <a:lnTo>
                  <a:pt x="282735" y="14374"/>
                </a:lnTo>
                <a:lnTo>
                  <a:pt x="282735" y="44991"/>
                </a:lnTo>
                <a:cubicBezTo>
                  <a:pt x="284727" y="43498"/>
                  <a:pt x="287154" y="42190"/>
                  <a:pt x="290018" y="41071"/>
                </a:cubicBezTo>
                <a:cubicBezTo>
                  <a:pt x="292944" y="39888"/>
                  <a:pt x="296367" y="39266"/>
                  <a:pt x="300351" y="39266"/>
                </a:cubicBezTo>
                <a:cubicBezTo>
                  <a:pt x="306514" y="39266"/>
                  <a:pt x="312116" y="40572"/>
                  <a:pt x="317097" y="43186"/>
                </a:cubicBezTo>
                <a:cubicBezTo>
                  <a:pt x="322076" y="45675"/>
                  <a:pt x="325998" y="49471"/>
                  <a:pt x="328862" y="54512"/>
                </a:cubicBezTo>
                <a:cubicBezTo>
                  <a:pt x="331850" y="59490"/>
                  <a:pt x="333343" y="65713"/>
                  <a:pt x="333343" y="73181"/>
                </a:cubicBezTo>
                <a:cubicBezTo>
                  <a:pt x="333343" y="80586"/>
                  <a:pt x="331787" y="87058"/>
                  <a:pt x="328737" y="92596"/>
                </a:cubicBezTo>
                <a:cubicBezTo>
                  <a:pt x="325749" y="98196"/>
                  <a:pt x="321454" y="102490"/>
                  <a:pt x="315851" y="105601"/>
                </a:cubicBezTo>
                <a:cubicBezTo>
                  <a:pt x="310312" y="108588"/>
                  <a:pt x="303651" y="110082"/>
                  <a:pt x="295994" y="110082"/>
                </a:cubicBezTo>
                <a:close/>
                <a:moveTo>
                  <a:pt x="378162" y="110082"/>
                </a:moveTo>
                <a:cubicBezTo>
                  <a:pt x="366211" y="110082"/>
                  <a:pt x="356687" y="107530"/>
                  <a:pt x="349590" y="102490"/>
                </a:cubicBezTo>
                <a:lnTo>
                  <a:pt x="349590" y="87804"/>
                </a:lnTo>
                <a:cubicBezTo>
                  <a:pt x="353824" y="91226"/>
                  <a:pt x="358181" y="93778"/>
                  <a:pt x="362787" y="95458"/>
                </a:cubicBezTo>
                <a:cubicBezTo>
                  <a:pt x="367331" y="97014"/>
                  <a:pt x="372498" y="97823"/>
                  <a:pt x="378162" y="97823"/>
                </a:cubicBezTo>
                <a:cubicBezTo>
                  <a:pt x="385508" y="97823"/>
                  <a:pt x="391173" y="95583"/>
                  <a:pt x="395156" y="91102"/>
                </a:cubicBezTo>
                <a:cubicBezTo>
                  <a:pt x="399265" y="86621"/>
                  <a:pt x="401320" y="80772"/>
                  <a:pt x="401320" y="73491"/>
                </a:cubicBezTo>
                <a:cubicBezTo>
                  <a:pt x="401320" y="65713"/>
                  <a:pt x="399327" y="60050"/>
                  <a:pt x="395343" y="56441"/>
                </a:cubicBezTo>
                <a:cubicBezTo>
                  <a:pt x="391359" y="52894"/>
                  <a:pt x="386317" y="51089"/>
                  <a:pt x="380217" y="51089"/>
                </a:cubicBezTo>
                <a:cubicBezTo>
                  <a:pt x="375859" y="51089"/>
                  <a:pt x="372311" y="51836"/>
                  <a:pt x="369634" y="53329"/>
                </a:cubicBezTo>
                <a:cubicBezTo>
                  <a:pt x="366958" y="54698"/>
                  <a:pt x="364903" y="56192"/>
                  <a:pt x="363534" y="57810"/>
                </a:cubicBezTo>
                <a:lnTo>
                  <a:pt x="352578" y="57810"/>
                </a:lnTo>
                <a:lnTo>
                  <a:pt x="352578" y="1493"/>
                </a:lnTo>
                <a:lnTo>
                  <a:pt x="410595" y="1493"/>
                </a:lnTo>
                <a:lnTo>
                  <a:pt x="410595" y="14374"/>
                </a:lnTo>
                <a:lnTo>
                  <a:pt x="364841" y="14374"/>
                </a:lnTo>
                <a:lnTo>
                  <a:pt x="364841" y="44991"/>
                </a:lnTo>
                <a:cubicBezTo>
                  <a:pt x="366833" y="43498"/>
                  <a:pt x="369261" y="42190"/>
                  <a:pt x="372187" y="41071"/>
                </a:cubicBezTo>
                <a:cubicBezTo>
                  <a:pt x="375050" y="39888"/>
                  <a:pt x="378474" y="39266"/>
                  <a:pt x="382458" y="39266"/>
                </a:cubicBezTo>
                <a:cubicBezTo>
                  <a:pt x="388683" y="39266"/>
                  <a:pt x="394223" y="40572"/>
                  <a:pt x="399203" y="43186"/>
                </a:cubicBezTo>
                <a:cubicBezTo>
                  <a:pt x="404183" y="45675"/>
                  <a:pt x="408104" y="49471"/>
                  <a:pt x="411030" y="54512"/>
                </a:cubicBezTo>
                <a:cubicBezTo>
                  <a:pt x="414018" y="59490"/>
                  <a:pt x="415512" y="65713"/>
                  <a:pt x="415512" y="73181"/>
                </a:cubicBezTo>
                <a:cubicBezTo>
                  <a:pt x="415512" y="80586"/>
                  <a:pt x="413956" y="87058"/>
                  <a:pt x="410843" y="92596"/>
                </a:cubicBezTo>
                <a:cubicBezTo>
                  <a:pt x="407855" y="98196"/>
                  <a:pt x="403623" y="102490"/>
                  <a:pt x="398020" y="105601"/>
                </a:cubicBezTo>
                <a:cubicBezTo>
                  <a:pt x="392418" y="108588"/>
                  <a:pt x="385819" y="110082"/>
                  <a:pt x="378162" y="110082"/>
                </a:cubicBezTo>
                <a:close/>
                <a:moveTo>
                  <a:pt x="499423" y="13628"/>
                </a:moveTo>
                <a:lnTo>
                  <a:pt x="453982" y="108588"/>
                </a:lnTo>
                <a:lnTo>
                  <a:pt x="439354" y="108588"/>
                </a:lnTo>
                <a:lnTo>
                  <a:pt x="485106" y="14374"/>
                </a:lnTo>
                <a:lnTo>
                  <a:pt x="430576" y="14374"/>
                </a:lnTo>
                <a:lnTo>
                  <a:pt x="430576" y="1493"/>
                </a:lnTo>
                <a:lnTo>
                  <a:pt x="499423" y="1493"/>
                </a:lnTo>
                <a:lnTo>
                  <a:pt x="499423" y="13628"/>
                </a:lnTo>
                <a:close/>
                <a:moveTo>
                  <a:pt x="518534" y="1493"/>
                </a:moveTo>
                <a:lnTo>
                  <a:pt x="554514" y="1493"/>
                </a:lnTo>
                <a:cubicBezTo>
                  <a:pt x="561672" y="1493"/>
                  <a:pt x="568396" y="2365"/>
                  <a:pt x="574558" y="4044"/>
                </a:cubicBezTo>
                <a:cubicBezTo>
                  <a:pt x="580721" y="5725"/>
                  <a:pt x="586074" y="8525"/>
                  <a:pt x="590680" y="12383"/>
                </a:cubicBezTo>
                <a:cubicBezTo>
                  <a:pt x="595287" y="16179"/>
                  <a:pt x="598835" y="21282"/>
                  <a:pt x="601449" y="27629"/>
                </a:cubicBezTo>
                <a:cubicBezTo>
                  <a:pt x="604002" y="34039"/>
                  <a:pt x="605309" y="41942"/>
                  <a:pt x="605309" y="51401"/>
                </a:cubicBezTo>
                <a:cubicBezTo>
                  <a:pt x="605309" y="63908"/>
                  <a:pt x="603006" y="74487"/>
                  <a:pt x="598462" y="83075"/>
                </a:cubicBezTo>
                <a:cubicBezTo>
                  <a:pt x="593980" y="91538"/>
                  <a:pt x="587817" y="97885"/>
                  <a:pt x="579911" y="102179"/>
                </a:cubicBezTo>
                <a:cubicBezTo>
                  <a:pt x="572068" y="106473"/>
                  <a:pt x="563042" y="108588"/>
                  <a:pt x="552896" y="108588"/>
                </a:cubicBezTo>
                <a:lnTo>
                  <a:pt x="518534" y="108588"/>
                </a:lnTo>
                <a:lnTo>
                  <a:pt x="518534" y="1493"/>
                </a:lnTo>
                <a:close/>
                <a:moveTo>
                  <a:pt x="552896" y="95893"/>
                </a:moveTo>
                <a:cubicBezTo>
                  <a:pt x="560241" y="95893"/>
                  <a:pt x="566715" y="94400"/>
                  <a:pt x="572317" y="91413"/>
                </a:cubicBezTo>
                <a:cubicBezTo>
                  <a:pt x="577858" y="88302"/>
                  <a:pt x="582215" y="83572"/>
                  <a:pt x="585327" y="77225"/>
                </a:cubicBezTo>
                <a:cubicBezTo>
                  <a:pt x="588502" y="70754"/>
                  <a:pt x="590058" y="62477"/>
                  <a:pt x="590058" y="52458"/>
                </a:cubicBezTo>
                <a:cubicBezTo>
                  <a:pt x="590058" y="42377"/>
                  <a:pt x="588564" y="34599"/>
                  <a:pt x="585452" y="29122"/>
                </a:cubicBezTo>
                <a:cubicBezTo>
                  <a:pt x="582339" y="23646"/>
                  <a:pt x="578106" y="19851"/>
                  <a:pt x="572753" y="17610"/>
                </a:cubicBezTo>
                <a:cubicBezTo>
                  <a:pt x="567462" y="15433"/>
                  <a:pt x="561424" y="14374"/>
                  <a:pt x="554514" y="14374"/>
                </a:cubicBezTo>
                <a:lnTo>
                  <a:pt x="532540" y="14374"/>
                </a:lnTo>
                <a:lnTo>
                  <a:pt x="532540" y="95893"/>
                </a:lnTo>
                <a:lnTo>
                  <a:pt x="552896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8" name="Полилиния 1717">
            <a:extLst>
              <a:ext uri="{FF2B5EF4-FFF2-40B4-BE49-F238E27FC236}">
                <a16:creationId xmlns:a16="http://schemas.microsoft.com/office/drawing/2014/main" id="{2CE73D72-84CF-CC6F-6990-D9E68C114428}"/>
              </a:ext>
            </a:extLst>
          </p:cNvPr>
          <p:cNvSpPr/>
          <p:nvPr/>
        </p:nvSpPr>
        <p:spPr>
          <a:xfrm>
            <a:off x="1444111" y="8137848"/>
            <a:ext cx="2556000" cy="726227"/>
          </a:xfrm>
          <a:custGeom>
            <a:avLst/>
            <a:gdLst>
              <a:gd name="connsiteX0" fmla="*/ 1488 w 2191162"/>
              <a:gd name="connsiteY0" fmla="*/ 1422 h 622284"/>
              <a:gd name="connsiteX1" fmla="*/ 2192651 w 2191162"/>
              <a:gd name="connsiteY1" fmla="*/ 1422 h 622284"/>
              <a:gd name="connsiteX2" fmla="*/ 2192651 w 2191162"/>
              <a:gd name="connsiteY2" fmla="*/ 623706 h 622284"/>
              <a:gd name="connsiteX3" fmla="*/ 1488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422"/>
                </a:moveTo>
                <a:lnTo>
                  <a:pt x="2192651" y="1422"/>
                </a:lnTo>
                <a:lnTo>
                  <a:pt x="2192651" y="623706"/>
                </a:lnTo>
                <a:lnTo>
                  <a:pt x="1488" y="623706"/>
                </a:lnTo>
                <a:close/>
              </a:path>
            </a:pathLst>
          </a:custGeom>
          <a:solidFill>
            <a:srgbClr val="6E82A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9" name="Полилиния 1718">
            <a:extLst>
              <a:ext uri="{FF2B5EF4-FFF2-40B4-BE49-F238E27FC236}">
                <a16:creationId xmlns:a16="http://schemas.microsoft.com/office/drawing/2014/main" id="{C59C9607-9AA8-1B69-773F-5F54B4B8A30E}"/>
              </a:ext>
            </a:extLst>
          </p:cNvPr>
          <p:cNvSpPr/>
          <p:nvPr/>
        </p:nvSpPr>
        <p:spPr>
          <a:xfrm>
            <a:off x="1578549" y="8439337"/>
            <a:ext cx="743988" cy="129012"/>
          </a:xfrm>
          <a:custGeom>
            <a:avLst/>
            <a:gdLst>
              <a:gd name="connsiteX0" fmla="*/ 22099 w 634814"/>
              <a:gd name="connsiteY0" fmla="*/ 108588 h 110081"/>
              <a:gd name="connsiteX1" fmla="*/ 10147 w 634814"/>
              <a:gd name="connsiteY1" fmla="*/ 108588 h 110081"/>
              <a:gd name="connsiteX2" fmla="*/ 16434 w 634814"/>
              <a:gd name="connsiteY2" fmla="*/ 77661 h 110081"/>
              <a:gd name="connsiteX3" fmla="*/ 0 w 634814"/>
              <a:gd name="connsiteY3" fmla="*/ 77661 h 110081"/>
              <a:gd name="connsiteX4" fmla="*/ 0 w 634814"/>
              <a:gd name="connsiteY4" fmla="*/ 67206 h 110081"/>
              <a:gd name="connsiteX5" fmla="*/ 18675 w 634814"/>
              <a:gd name="connsiteY5" fmla="*/ 67206 h 110081"/>
              <a:gd name="connsiteX6" fmla="*/ 24215 w 634814"/>
              <a:gd name="connsiteY6" fmla="*/ 40012 h 110081"/>
              <a:gd name="connsiteX7" fmla="*/ 4046 w 634814"/>
              <a:gd name="connsiteY7" fmla="*/ 40012 h 110081"/>
              <a:gd name="connsiteX8" fmla="*/ 4046 w 634814"/>
              <a:gd name="connsiteY8" fmla="*/ 29559 h 110081"/>
              <a:gd name="connsiteX9" fmla="*/ 26270 w 634814"/>
              <a:gd name="connsiteY9" fmla="*/ 29559 h 110081"/>
              <a:gd name="connsiteX10" fmla="*/ 32121 w 634814"/>
              <a:gd name="connsiteY10" fmla="*/ 1493 h 110081"/>
              <a:gd name="connsiteX11" fmla="*/ 44073 w 634814"/>
              <a:gd name="connsiteY11" fmla="*/ 1493 h 110081"/>
              <a:gd name="connsiteX12" fmla="*/ 38221 w 634814"/>
              <a:gd name="connsiteY12" fmla="*/ 29559 h 110081"/>
              <a:gd name="connsiteX13" fmla="*/ 60630 w 634814"/>
              <a:gd name="connsiteY13" fmla="*/ 29559 h 110081"/>
              <a:gd name="connsiteX14" fmla="*/ 66482 w 634814"/>
              <a:gd name="connsiteY14" fmla="*/ 1493 h 110081"/>
              <a:gd name="connsiteX15" fmla="*/ 78434 w 634814"/>
              <a:gd name="connsiteY15" fmla="*/ 1493 h 110081"/>
              <a:gd name="connsiteX16" fmla="*/ 72582 w 634814"/>
              <a:gd name="connsiteY16" fmla="*/ 29559 h 110081"/>
              <a:gd name="connsiteX17" fmla="*/ 89328 w 634814"/>
              <a:gd name="connsiteY17" fmla="*/ 29559 h 110081"/>
              <a:gd name="connsiteX18" fmla="*/ 89328 w 634814"/>
              <a:gd name="connsiteY18" fmla="*/ 40012 h 110081"/>
              <a:gd name="connsiteX19" fmla="*/ 70529 w 634814"/>
              <a:gd name="connsiteY19" fmla="*/ 40012 h 110081"/>
              <a:gd name="connsiteX20" fmla="*/ 64988 w 634814"/>
              <a:gd name="connsiteY20" fmla="*/ 67206 h 110081"/>
              <a:gd name="connsiteX21" fmla="*/ 85282 w 634814"/>
              <a:gd name="connsiteY21" fmla="*/ 67206 h 110081"/>
              <a:gd name="connsiteX22" fmla="*/ 85282 w 634814"/>
              <a:gd name="connsiteY22" fmla="*/ 77661 h 110081"/>
              <a:gd name="connsiteX23" fmla="*/ 62747 w 634814"/>
              <a:gd name="connsiteY23" fmla="*/ 77661 h 110081"/>
              <a:gd name="connsiteX24" fmla="*/ 56460 w 634814"/>
              <a:gd name="connsiteY24" fmla="*/ 108588 h 110081"/>
              <a:gd name="connsiteX25" fmla="*/ 44508 w 634814"/>
              <a:gd name="connsiteY25" fmla="*/ 108588 h 110081"/>
              <a:gd name="connsiteX26" fmla="*/ 50795 w 634814"/>
              <a:gd name="connsiteY26" fmla="*/ 77661 h 110081"/>
              <a:gd name="connsiteX27" fmla="*/ 28386 w 634814"/>
              <a:gd name="connsiteY27" fmla="*/ 77661 h 110081"/>
              <a:gd name="connsiteX28" fmla="*/ 22099 w 634814"/>
              <a:gd name="connsiteY28" fmla="*/ 108588 h 110081"/>
              <a:gd name="connsiteX29" fmla="*/ 30627 w 634814"/>
              <a:gd name="connsiteY29" fmla="*/ 67206 h 110081"/>
              <a:gd name="connsiteX30" fmla="*/ 53036 w 634814"/>
              <a:gd name="connsiteY30" fmla="*/ 67206 h 110081"/>
              <a:gd name="connsiteX31" fmla="*/ 58576 w 634814"/>
              <a:gd name="connsiteY31" fmla="*/ 40012 h 110081"/>
              <a:gd name="connsiteX32" fmla="*/ 36167 w 634814"/>
              <a:gd name="connsiteY32" fmla="*/ 40012 h 110081"/>
              <a:gd name="connsiteX33" fmla="*/ 30627 w 634814"/>
              <a:gd name="connsiteY33" fmla="*/ 67206 h 110081"/>
              <a:gd name="connsiteX34" fmla="*/ 173239 w 634814"/>
              <a:gd name="connsiteY34" fmla="*/ 73491 h 110081"/>
              <a:gd name="connsiteX35" fmla="*/ 168508 w 634814"/>
              <a:gd name="connsiteY35" fmla="*/ 92782 h 110081"/>
              <a:gd name="connsiteX36" fmla="*/ 155809 w 634814"/>
              <a:gd name="connsiteY36" fmla="*/ 105601 h 110081"/>
              <a:gd name="connsiteX37" fmla="*/ 137695 w 634814"/>
              <a:gd name="connsiteY37" fmla="*/ 110082 h 110081"/>
              <a:gd name="connsiteX38" fmla="*/ 116032 w 634814"/>
              <a:gd name="connsiteY38" fmla="*/ 104108 h 110081"/>
              <a:gd name="connsiteX39" fmla="*/ 103956 w 634814"/>
              <a:gd name="connsiteY39" fmla="*/ 87555 h 110081"/>
              <a:gd name="connsiteX40" fmla="*/ 100221 w 634814"/>
              <a:gd name="connsiteY40" fmla="*/ 63161 h 110081"/>
              <a:gd name="connsiteX41" fmla="*/ 104703 w 634814"/>
              <a:gd name="connsiteY41" fmla="*/ 30181 h 110081"/>
              <a:gd name="connsiteX42" fmla="*/ 118709 w 634814"/>
              <a:gd name="connsiteY42" fmla="*/ 8089 h 110081"/>
              <a:gd name="connsiteX43" fmla="*/ 143235 w 634814"/>
              <a:gd name="connsiteY43" fmla="*/ 0 h 110081"/>
              <a:gd name="connsiteX44" fmla="*/ 165769 w 634814"/>
              <a:gd name="connsiteY44" fmla="*/ 5538 h 110081"/>
              <a:gd name="connsiteX45" fmla="*/ 165769 w 634814"/>
              <a:gd name="connsiteY45" fmla="*/ 18855 h 110081"/>
              <a:gd name="connsiteX46" fmla="*/ 143235 w 634814"/>
              <a:gd name="connsiteY46" fmla="*/ 12259 h 110081"/>
              <a:gd name="connsiteX47" fmla="*/ 127673 w 634814"/>
              <a:gd name="connsiteY47" fmla="*/ 17361 h 110081"/>
              <a:gd name="connsiteX48" fmla="*/ 117838 w 634814"/>
              <a:gd name="connsiteY48" fmla="*/ 31238 h 110081"/>
              <a:gd name="connsiteX49" fmla="*/ 113667 w 634814"/>
              <a:gd name="connsiteY49" fmla="*/ 50778 h 110081"/>
              <a:gd name="connsiteX50" fmla="*/ 124996 w 634814"/>
              <a:gd name="connsiteY50" fmla="*/ 40759 h 110081"/>
              <a:gd name="connsiteX51" fmla="*/ 139065 w 634814"/>
              <a:gd name="connsiteY51" fmla="*/ 37523 h 110081"/>
              <a:gd name="connsiteX52" fmla="*/ 156369 w 634814"/>
              <a:gd name="connsiteY52" fmla="*/ 41693 h 110081"/>
              <a:gd name="connsiteX53" fmla="*/ 168633 w 634814"/>
              <a:gd name="connsiteY53" fmla="*/ 53952 h 110081"/>
              <a:gd name="connsiteX54" fmla="*/ 173239 w 634814"/>
              <a:gd name="connsiteY54" fmla="*/ 73491 h 110081"/>
              <a:gd name="connsiteX55" fmla="*/ 137259 w 634814"/>
              <a:gd name="connsiteY55" fmla="*/ 98134 h 110081"/>
              <a:gd name="connsiteX56" fmla="*/ 148028 w 634814"/>
              <a:gd name="connsiteY56" fmla="*/ 95458 h 110081"/>
              <a:gd name="connsiteX57" fmla="*/ 155934 w 634814"/>
              <a:gd name="connsiteY57" fmla="*/ 87244 h 110081"/>
              <a:gd name="connsiteX58" fmla="*/ 159046 w 634814"/>
              <a:gd name="connsiteY58" fmla="*/ 73803 h 110081"/>
              <a:gd name="connsiteX59" fmla="*/ 156059 w 634814"/>
              <a:gd name="connsiteY59" fmla="*/ 60174 h 110081"/>
              <a:gd name="connsiteX60" fmla="*/ 148464 w 634814"/>
              <a:gd name="connsiteY60" fmla="*/ 51961 h 110081"/>
              <a:gd name="connsiteX61" fmla="*/ 138753 w 634814"/>
              <a:gd name="connsiteY61" fmla="*/ 49160 h 110081"/>
              <a:gd name="connsiteX62" fmla="*/ 122195 w 634814"/>
              <a:gd name="connsiteY62" fmla="*/ 55570 h 110081"/>
              <a:gd name="connsiteX63" fmla="*/ 115597 w 634814"/>
              <a:gd name="connsiteY63" fmla="*/ 74114 h 110081"/>
              <a:gd name="connsiteX64" fmla="*/ 121448 w 634814"/>
              <a:gd name="connsiteY64" fmla="*/ 91538 h 110081"/>
              <a:gd name="connsiteX65" fmla="*/ 137259 w 634814"/>
              <a:gd name="connsiteY65" fmla="*/ 98134 h 110081"/>
              <a:gd name="connsiteX66" fmla="*/ 189984 w 634814"/>
              <a:gd name="connsiteY66" fmla="*/ 1493 h 110081"/>
              <a:gd name="connsiteX67" fmla="*/ 256279 w 634814"/>
              <a:gd name="connsiteY67" fmla="*/ 1493 h 110081"/>
              <a:gd name="connsiteX68" fmla="*/ 256279 w 634814"/>
              <a:gd name="connsiteY68" fmla="*/ 14374 h 110081"/>
              <a:gd name="connsiteX69" fmla="*/ 203990 w 634814"/>
              <a:gd name="connsiteY69" fmla="*/ 14374 h 110081"/>
              <a:gd name="connsiteX70" fmla="*/ 203990 w 634814"/>
              <a:gd name="connsiteY70" fmla="*/ 46734 h 110081"/>
              <a:gd name="connsiteX71" fmla="*/ 248373 w 634814"/>
              <a:gd name="connsiteY71" fmla="*/ 46734 h 110081"/>
              <a:gd name="connsiteX72" fmla="*/ 248373 w 634814"/>
              <a:gd name="connsiteY72" fmla="*/ 59428 h 110081"/>
              <a:gd name="connsiteX73" fmla="*/ 203990 w 634814"/>
              <a:gd name="connsiteY73" fmla="*/ 59428 h 110081"/>
              <a:gd name="connsiteX74" fmla="*/ 203990 w 634814"/>
              <a:gd name="connsiteY74" fmla="*/ 95893 h 110081"/>
              <a:gd name="connsiteX75" fmla="*/ 257026 w 634814"/>
              <a:gd name="connsiteY75" fmla="*/ 95893 h 110081"/>
              <a:gd name="connsiteX76" fmla="*/ 257026 w 634814"/>
              <a:gd name="connsiteY76" fmla="*/ 108588 h 110081"/>
              <a:gd name="connsiteX77" fmla="*/ 189984 w 634814"/>
              <a:gd name="connsiteY77" fmla="*/ 108588 h 110081"/>
              <a:gd name="connsiteX78" fmla="*/ 189984 w 634814"/>
              <a:gd name="connsiteY78" fmla="*/ 1493 h 110081"/>
              <a:gd name="connsiteX79" fmla="*/ 308257 w 634814"/>
              <a:gd name="connsiteY79" fmla="*/ 110082 h 110081"/>
              <a:gd name="connsiteX80" fmla="*/ 289582 w 634814"/>
              <a:gd name="connsiteY80" fmla="*/ 106473 h 110081"/>
              <a:gd name="connsiteX81" fmla="*/ 276883 w 634814"/>
              <a:gd name="connsiteY81" fmla="*/ 96205 h 110081"/>
              <a:gd name="connsiteX82" fmla="*/ 272215 w 634814"/>
              <a:gd name="connsiteY82" fmla="*/ 79777 h 110081"/>
              <a:gd name="connsiteX83" fmla="*/ 277631 w 634814"/>
              <a:gd name="connsiteY83" fmla="*/ 62291 h 110081"/>
              <a:gd name="connsiteX84" fmla="*/ 292384 w 634814"/>
              <a:gd name="connsiteY84" fmla="*/ 51711 h 110081"/>
              <a:gd name="connsiteX85" fmla="*/ 280432 w 634814"/>
              <a:gd name="connsiteY85" fmla="*/ 42564 h 110081"/>
              <a:gd name="connsiteX86" fmla="*/ 276136 w 634814"/>
              <a:gd name="connsiteY86" fmla="*/ 27504 h 110081"/>
              <a:gd name="connsiteX87" fmla="*/ 280307 w 634814"/>
              <a:gd name="connsiteY87" fmla="*/ 12570 h 110081"/>
              <a:gd name="connsiteX88" fmla="*/ 291823 w 634814"/>
              <a:gd name="connsiteY88" fmla="*/ 3298 h 110081"/>
              <a:gd name="connsiteX89" fmla="*/ 308257 w 634814"/>
              <a:gd name="connsiteY89" fmla="*/ 186 h 110081"/>
              <a:gd name="connsiteX90" fmla="*/ 324379 w 634814"/>
              <a:gd name="connsiteY90" fmla="*/ 3298 h 110081"/>
              <a:gd name="connsiteX91" fmla="*/ 335709 w 634814"/>
              <a:gd name="connsiteY91" fmla="*/ 12259 h 110081"/>
              <a:gd name="connsiteX92" fmla="*/ 340066 w 634814"/>
              <a:gd name="connsiteY92" fmla="*/ 27194 h 110081"/>
              <a:gd name="connsiteX93" fmla="*/ 335584 w 634814"/>
              <a:gd name="connsiteY93" fmla="*/ 42439 h 110081"/>
              <a:gd name="connsiteX94" fmla="*/ 323757 w 634814"/>
              <a:gd name="connsiteY94" fmla="*/ 51711 h 110081"/>
              <a:gd name="connsiteX95" fmla="*/ 338137 w 634814"/>
              <a:gd name="connsiteY95" fmla="*/ 61855 h 110081"/>
              <a:gd name="connsiteX96" fmla="*/ 343615 w 634814"/>
              <a:gd name="connsiteY96" fmla="*/ 79341 h 110081"/>
              <a:gd name="connsiteX97" fmla="*/ 339008 w 634814"/>
              <a:gd name="connsiteY97" fmla="*/ 95893 h 110081"/>
              <a:gd name="connsiteX98" fmla="*/ 326309 w 634814"/>
              <a:gd name="connsiteY98" fmla="*/ 106473 h 110081"/>
              <a:gd name="connsiteX99" fmla="*/ 308257 w 634814"/>
              <a:gd name="connsiteY99" fmla="*/ 110082 h 110081"/>
              <a:gd name="connsiteX100" fmla="*/ 308257 w 634814"/>
              <a:gd name="connsiteY100" fmla="*/ 46298 h 110081"/>
              <a:gd name="connsiteX101" fmla="*/ 321205 w 634814"/>
              <a:gd name="connsiteY101" fmla="*/ 41817 h 110081"/>
              <a:gd name="connsiteX102" fmla="*/ 326434 w 634814"/>
              <a:gd name="connsiteY102" fmla="*/ 29122 h 110081"/>
              <a:gd name="connsiteX103" fmla="*/ 321205 w 634814"/>
              <a:gd name="connsiteY103" fmla="*/ 16615 h 110081"/>
              <a:gd name="connsiteX104" fmla="*/ 308257 w 634814"/>
              <a:gd name="connsiteY104" fmla="*/ 11947 h 110081"/>
              <a:gd name="connsiteX105" fmla="*/ 294936 w 634814"/>
              <a:gd name="connsiteY105" fmla="*/ 16615 h 110081"/>
              <a:gd name="connsiteX106" fmla="*/ 289707 w 634814"/>
              <a:gd name="connsiteY106" fmla="*/ 29122 h 110081"/>
              <a:gd name="connsiteX107" fmla="*/ 294936 w 634814"/>
              <a:gd name="connsiteY107" fmla="*/ 41817 h 110081"/>
              <a:gd name="connsiteX108" fmla="*/ 308257 w 634814"/>
              <a:gd name="connsiteY108" fmla="*/ 46298 h 110081"/>
              <a:gd name="connsiteX109" fmla="*/ 308257 w 634814"/>
              <a:gd name="connsiteY109" fmla="*/ 98258 h 110081"/>
              <a:gd name="connsiteX110" fmla="*/ 323632 w 634814"/>
              <a:gd name="connsiteY110" fmla="*/ 92907 h 110081"/>
              <a:gd name="connsiteX111" fmla="*/ 329919 w 634814"/>
              <a:gd name="connsiteY111" fmla="*/ 77536 h 110081"/>
              <a:gd name="connsiteX112" fmla="*/ 323632 w 634814"/>
              <a:gd name="connsiteY112" fmla="*/ 62291 h 110081"/>
              <a:gd name="connsiteX113" fmla="*/ 308257 w 634814"/>
              <a:gd name="connsiteY113" fmla="*/ 56752 h 110081"/>
              <a:gd name="connsiteX114" fmla="*/ 292259 w 634814"/>
              <a:gd name="connsiteY114" fmla="*/ 62291 h 110081"/>
              <a:gd name="connsiteX115" fmla="*/ 285972 w 634814"/>
              <a:gd name="connsiteY115" fmla="*/ 77536 h 110081"/>
              <a:gd name="connsiteX116" fmla="*/ 292259 w 634814"/>
              <a:gd name="connsiteY116" fmla="*/ 92907 h 110081"/>
              <a:gd name="connsiteX117" fmla="*/ 308257 w 634814"/>
              <a:gd name="connsiteY117" fmla="*/ 98258 h 110081"/>
              <a:gd name="connsiteX118" fmla="*/ 424414 w 634814"/>
              <a:gd name="connsiteY118" fmla="*/ 108588 h 110081"/>
              <a:gd name="connsiteX119" fmla="*/ 356189 w 634814"/>
              <a:gd name="connsiteY119" fmla="*/ 108588 h 110081"/>
              <a:gd name="connsiteX120" fmla="*/ 356189 w 634814"/>
              <a:gd name="connsiteY120" fmla="*/ 94400 h 110081"/>
              <a:gd name="connsiteX121" fmla="*/ 382333 w 634814"/>
              <a:gd name="connsiteY121" fmla="*/ 72433 h 110081"/>
              <a:gd name="connsiteX122" fmla="*/ 398269 w 634814"/>
              <a:gd name="connsiteY122" fmla="*/ 56628 h 110081"/>
              <a:gd name="connsiteX123" fmla="*/ 406361 w 634814"/>
              <a:gd name="connsiteY123" fmla="*/ 43933 h 110081"/>
              <a:gd name="connsiteX124" fmla="*/ 408727 w 634814"/>
              <a:gd name="connsiteY124" fmla="*/ 32109 h 110081"/>
              <a:gd name="connsiteX125" fmla="*/ 403249 w 634814"/>
              <a:gd name="connsiteY125" fmla="*/ 17610 h 110081"/>
              <a:gd name="connsiteX126" fmla="*/ 387998 w 634814"/>
              <a:gd name="connsiteY126" fmla="*/ 12383 h 110081"/>
              <a:gd name="connsiteX127" fmla="*/ 358990 w 634814"/>
              <a:gd name="connsiteY127" fmla="*/ 27194 h 110081"/>
              <a:gd name="connsiteX128" fmla="*/ 358990 w 634814"/>
              <a:gd name="connsiteY128" fmla="*/ 12134 h 110081"/>
              <a:gd name="connsiteX129" fmla="*/ 388434 w 634814"/>
              <a:gd name="connsiteY129" fmla="*/ 0 h 110081"/>
              <a:gd name="connsiteX130" fmla="*/ 413831 w 634814"/>
              <a:gd name="connsiteY130" fmla="*/ 8401 h 110081"/>
              <a:gd name="connsiteX131" fmla="*/ 423231 w 634814"/>
              <a:gd name="connsiteY131" fmla="*/ 30803 h 110081"/>
              <a:gd name="connsiteX132" fmla="*/ 420865 w 634814"/>
              <a:gd name="connsiteY132" fmla="*/ 44804 h 110081"/>
              <a:gd name="connsiteX133" fmla="*/ 412773 w 634814"/>
              <a:gd name="connsiteY133" fmla="*/ 58681 h 110081"/>
              <a:gd name="connsiteX134" fmla="*/ 397086 w 634814"/>
              <a:gd name="connsiteY134" fmla="*/ 74860 h 110081"/>
              <a:gd name="connsiteX135" fmla="*/ 371689 w 634814"/>
              <a:gd name="connsiteY135" fmla="*/ 95769 h 110081"/>
              <a:gd name="connsiteX136" fmla="*/ 424414 w 634814"/>
              <a:gd name="connsiteY136" fmla="*/ 95769 h 110081"/>
              <a:gd name="connsiteX137" fmla="*/ 424414 w 634814"/>
              <a:gd name="connsiteY137" fmla="*/ 108588 h 110081"/>
              <a:gd name="connsiteX138" fmla="*/ 531357 w 634814"/>
              <a:gd name="connsiteY138" fmla="*/ 108588 h 110081"/>
              <a:gd name="connsiteX139" fmla="*/ 516418 w 634814"/>
              <a:gd name="connsiteY139" fmla="*/ 108588 h 110081"/>
              <a:gd name="connsiteX140" fmla="*/ 505400 w 634814"/>
              <a:gd name="connsiteY140" fmla="*/ 77972 h 110081"/>
              <a:gd name="connsiteX141" fmla="*/ 458028 w 634814"/>
              <a:gd name="connsiteY141" fmla="*/ 77972 h 110081"/>
              <a:gd name="connsiteX142" fmla="*/ 447135 w 634814"/>
              <a:gd name="connsiteY142" fmla="*/ 108588 h 110081"/>
              <a:gd name="connsiteX143" fmla="*/ 434000 w 634814"/>
              <a:gd name="connsiteY143" fmla="*/ 108588 h 110081"/>
              <a:gd name="connsiteX144" fmla="*/ 472097 w 634814"/>
              <a:gd name="connsiteY144" fmla="*/ 1493 h 110081"/>
              <a:gd name="connsiteX145" fmla="*/ 493012 w 634814"/>
              <a:gd name="connsiteY145" fmla="*/ 1493 h 110081"/>
              <a:gd name="connsiteX146" fmla="*/ 531357 w 634814"/>
              <a:gd name="connsiteY146" fmla="*/ 108588 h 110081"/>
              <a:gd name="connsiteX147" fmla="*/ 462635 w 634814"/>
              <a:gd name="connsiteY147" fmla="*/ 65278 h 110081"/>
              <a:gd name="connsiteX148" fmla="*/ 500918 w 634814"/>
              <a:gd name="connsiteY148" fmla="*/ 65278 h 110081"/>
              <a:gd name="connsiteX149" fmla="*/ 481807 w 634814"/>
              <a:gd name="connsiteY149" fmla="*/ 11947 h 110081"/>
              <a:gd name="connsiteX150" fmla="*/ 462635 w 634814"/>
              <a:gd name="connsiteY150" fmla="*/ 65278 h 110081"/>
              <a:gd name="connsiteX151" fmla="*/ 634815 w 634814"/>
              <a:gd name="connsiteY151" fmla="*/ 108588 h 110081"/>
              <a:gd name="connsiteX152" fmla="*/ 619876 w 634814"/>
              <a:gd name="connsiteY152" fmla="*/ 108588 h 110081"/>
              <a:gd name="connsiteX153" fmla="*/ 608795 w 634814"/>
              <a:gd name="connsiteY153" fmla="*/ 77972 h 110081"/>
              <a:gd name="connsiteX154" fmla="*/ 561486 w 634814"/>
              <a:gd name="connsiteY154" fmla="*/ 77972 h 110081"/>
              <a:gd name="connsiteX155" fmla="*/ 550530 w 634814"/>
              <a:gd name="connsiteY155" fmla="*/ 108588 h 110081"/>
              <a:gd name="connsiteX156" fmla="*/ 537396 w 634814"/>
              <a:gd name="connsiteY156" fmla="*/ 108588 h 110081"/>
              <a:gd name="connsiteX157" fmla="*/ 575492 w 634814"/>
              <a:gd name="connsiteY157" fmla="*/ 1493 h 110081"/>
              <a:gd name="connsiteX158" fmla="*/ 596408 w 634814"/>
              <a:gd name="connsiteY158" fmla="*/ 1493 h 110081"/>
              <a:gd name="connsiteX159" fmla="*/ 634815 w 634814"/>
              <a:gd name="connsiteY159" fmla="*/ 108588 h 110081"/>
              <a:gd name="connsiteX160" fmla="*/ 566092 w 634814"/>
              <a:gd name="connsiteY160" fmla="*/ 65278 h 110081"/>
              <a:gd name="connsiteX161" fmla="*/ 604313 w 634814"/>
              <a:gd name="connsiteY161" fmla="*/ 65278 h 110081"/>
              <a:gd name="connsiteX162" fmla="*/ 585202 w 634814"/>
              <a:gd name="connsiteY162" fmla="*/ 11947 h 110081"/>
              <a:gd name="connsiteX163" fmla="*/ 566092 w 634814"/>
              <a:gd name="connsiteY163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634814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3239" y="73491"/>
                </a:moveTo>
                <a:cubicBezTo>
                  <a:pt x="173239" y="80772"/>
                  <a:pt x="171683" y="87182"/>
                  <a:pt x="168508" y="92782"/>
                </a:cubicBezTo>
                <a:cubicBezTo>
                  <a:pt x="165396" y="98258"/>
                  <a:pt x="161163" y="102490"/>
                  <a:pt x="155809" y="105601"/>
                </a:cubicBezTo>
                <a:cubicBezTo>
                  <a:pt x="150394" y="108588"/>
                  <a:pt x="144356" y="110082"/>
                  <a:pt x="137695" y="110082"/>
                </a:cubicBezTo>
                <a:cubicBezTo>
                  <a:pt x="128731" y="110082"/>
                  <a:pt x="121510" y="108091"/>
                  <a:pt x="116032" y="104108"/>
                </a:cubicBezTo>
                <a:cubicBezTo>
                  <a:pt x="110554" y="100125"/>
                  <a:pt x="106508" y="94587"/>
                  <a:pt x="103956" y="87555"/>
                </a:cubicBezTo>
                <a:cubicBezTo>
                  <a:pt x="101466" y="80461"/>
                  <a:pt x="100221" y="72372"/>
                  <a:pt x="100221" y="63161"/>
                </a:cubicBezTo>
                <a:cubicBezTo>
                  <a:pt x="100221" y="50653"/>
                  <a:pt x="101715" y="39639"/>
                  <a:pt x="104703" y="30181"/>
                </a:cubicBezTo>
                <a:cubicBezTo>
                  <a:pt x="107753" y="20722"/>
                  <a:pt x="112484" y="13379"/>
                  <a:pt x="118709" y="8089"/>
                </a:cubicBezTo>
                <a:cubicBezTo>
                  <a:pt x="125121" y="2675"/>
                  <a:pt x="133275" y="0"/>
                  <a:pt x="143235" y="0"/>
                </a:cubicBezTo>
                <a:cubicBezTo>
                  <a:pt x="151825" y="0"/>
                  <a:pt x="159296" y="1866"/>
                  <a:pt x="165769" y="5538"/>
                </a:cubicBezTo>
                <a:lnTo>
                  <a:pt x="165769" y="18855"/>
                </a:lnTo>
                <a:cubicBezTo>
                  <a:pt x="159296" y="14437"/>
                  <a:pt x="151825" y="12259"/>
                  <a:pt x="143235" y="12259"/>
                </a:cubicBezTo>
                <a:cubicBezTo>
                  <a:pt x="137072" y="12259"/>
                  <a:pt x="131906" y="13939"/>
                  <a:pt x="127673" y="17361"/>
                </a:cubicBezTo>
                <a:cubicBezTo>
                  <a:pt x="123502" y="20722"/>
                  <a:pt x="120203" y="25327"/>
                  <a:pt x="117838" y="31238"/>
                </a:cubicBezTo>
                <a:cubicBezTo>
                  <a:pt x="115534" y="37026"/>
                  <a:pt x="114165" y="43498"/>
                  <a:pt x="113667" y="50778"/>
                </a:cubicBezTo>
                <a:cubicBezTo>
                  <a:pt x="116966" y="46298"/>
                  <a:pt x="120701" y="42999"/>
                  <a:pt x="124996" y="40759"/>
                </a:cubicBezTo>
                <a:cubicBezTo>
                  <a:pt x="129291" y="38581"/>
                  <a:pt x="133960" y="37523"/>
                  <a:pt x="139065" y="37523"/>
                </a:cubicBezTo>
                <a:cubicBezTo>
                  <a:pt x="145538" y="37523"/>
                  <a:pt x="151328" y="38893"/>
                  <a:pt x="156369" y="41693"/>
                </a:cubicBezTo>
                <a:cubicBezTo>
                  <a:pt x="161536" y="44493"/>
                  <a:pt x="165644" y="48538"/>
                  <a:pt x="168633" y="53952"/>
                </a:cubicBezTo>
                <a:cubicBezTo>
                  <a:pt x="171745" y="59179"/>
                  <a:pt x="173239" y="65713"/>
                  <a:pt x="173239" y="73491"/>
                </a:cubicBezTo>
                <a:close/>
                <a:moveTo>
                  <a:pt x="137259" y="98134"/>
                </a:moveTo>
                <a:cubicBezTo>
                  <a:pt x="141119" y="98134"/>
                  <a:pt x="144729" y="97263"/>
                  <a:pt x="148028" y="95458"/>
                </a:cubicBezTo>
                <a:cubicBezTo>
                  <a:pt x="151328" y="93529"/>
                  <a:pt x="153942" y="90791"/>
                  <a:pt x="155934" y="87244"/>
                </a:cubicBezTo>
                <a:cubicBezTo>
                  <a:pt x="158050" y="83635"/>
                  <a:pt x="159046" y="79154"/>
                  <a:pt x="159046" y="73803"/>
                </a:cubicBezTo>
                <a:cubicBezTo>
                  <a:pt x="159046" y="68389"/>
                  <a:pt x="158050" y="63908"/>
                  <a:pt x="156059" y="60174"/>
                </a:cubicBezTo>
                <a:cubicBezTo>
                  <a:pt x="154066" y="56503"/>
                  <a:pt x="151577" y="53765"/>
                  <a:pt x="148464" y="51961"/>
                </a:cubicBezTo>
                <a:cubicBezTo>
                  <a:pt x="145352" y="50093"/>
                  <a:pt x="142115" y="49160"/>
                  <a:pt x="138753" y="49160"/>
                </a:cubicBezTo>
                <a:cubicBezTo>
                  <a:pt x="132154" y="49160"/>
                  <a:pt x="126677" y="51276"/>
                  <a:pt x="122195" y="55570"/>
                </a:cubicBezTo>
                <a:cubicBezTo>
                  <a:pt x="117775" y="59739"/>
                  <a:pt x="115597" y="65900"/>
                  <a:pt x="115597" y="74114"/>
                </a:cubicBezTo>
                <a:cubicBezTo>
                  <a:pt x="115597" y="81270"/>
                  <a:pt x="117526" y="87058"/>
                  <a:pt x="121448" y="91538"/>
                </a:cubicBezTo>
                <a:cubicBezTo>
                  <a:pt x="125307" y="95956"/>
                  <a:pt x="130598" y="98134"/>
                  <a:pt x="137259" y="98134"/>
                </a:cubicBezTo>
                <a:close/>
                <a:moveTo>
                  <a:pt x="189984" y="1493"/>
                </a:moveTo>
                <a:lnTo>
                  <a:pt x="256279" y="1493"/>
                </a:lnTo>
                <a:lnTo>
                  <a:pt x="256279" y="14374"/>
                </a:lnTo>
                <a:lnTo>
                  <a:pt x="203990" y="14374"/>
                </a:lnTo>
                <a:lnTo>
                  <a:pt x="203990" y="46734"/>
                </a:lnTo>
                <a:lnTo>
                  <a:pt x="248373" y="46734"/>
                </a:lnTo>
                <a:lnTo>
                  <a:pt x="248373" y="59428"/>
                </a:lnTo>
                <a:lnTo>
                  <a:pt x="203990" y="59428"/>
                </a:lnTo>
                <a:lnTo>
                  <a:pt x="203990" y="95893"/>
                </a:lnTo>
                <a:lnTo>
                  <a:pt x="257026" y="95893"/>
                </a:lnTo>
                <a:lnTo>
                  <a:pt x="257026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8257" y="110082"/>
                </a:moveTo>
                <a:cubicBezTo>
                  <a:pt x="301285" y="110082"/>
                  <a:pt x="295060" y="108900"/>
                  <a:pt x="289582" y="106473"/>
                </a:cubicBezTo>
                <a:cubicBezTo>
                  <a:pt x="284167" y="104108"/>
                  <a:pt x="279934" y="100685"/>
                  <a:pt x="276883" y="96205"/>
                </a:cubicBezTo>
                <a:cubicBezTo>
                  <a:pt x="273771" y="91600"/>
                  <a:pt x="272215" y="86124"/>
                  <a:pt x="272215" y="79777"/>
                </a:cubicBezTo>
                <a:cubicBezTo>
                  <a:pt x="272215" y="72869"/>
                  <a:pt x="274020" y="67082"/>
                  <a:pt x="277631" y="62291"/>
                </a:cubicBezTo>
                <a:cubicBezTo>
                  <a:pt x="281303" y="57437"/>
                  <a:pt x="286221" y="53889"/>
                  <a:pt x="292384" y="51711"/>
                </a:cubicBezTo>
                <a:cubicBezTo>
                  <a:pt x="287404" y="49720"/>
                  <a:pt x="283420" y="46671"/>
                  <a:pt x="280432" y="42564"/>
                </a:cubicBezTo>
                <a:cubicBezTo>
                  <a:pt x="277569" y="38519"/>
                  <a:pt x="276136" y="33479"/>
                  <a:pt x="276136" y="27504"/>
                </a:cubicBezTo>
                <a:cubicBezTo>
                  <a:pt x="276136" y="21593"/>
                  <a:pt x="277506" y="16615"/>
                  <a:pt x="280307" y="12570"/>
                </a:cubicBezTo>
                <a:cubicBezTo>
                  <a:pt x="283108" y="8463"/>
                  <a:pt x="286906" y="5414"/>
                  <a:pt x="291823" y="3298"/>
                </a:cubicBezTo>
                <a:cubicBezTo>
                  <a:pt x="296679" y="1182"/>
                  <a:pt x="302157" y="186"/>
                  <a:pt x="308257" y="186"/>
                </a:cubicBezTo>
                <a:cubicBezTo>
                  <a:pt x="314233" y="186"/>
                  <a:pt x="319587" y="1182"/>
                  <a:pt x="324379" y="3298"/>
                </a:cubicBezTo>
                <a:cubicBezTo>
                  <a:pt x="329172" y="5289"/>
                  <a:pt x="332907" y="8276"/>
                  <a:pt x="335709" y="12259"/>
                </a:cubicBezTo>
                <a:cubicBezTo>
                  <a:pt x="338634" y="16242"/>
                  <a:pt x="340066" y="21219"/>
                  <a:pt x="340066" y="27194"/>
                </a:cubicBezTo>
                <a:cubicBezTo>
                  <a:pt x="340066" y="33292"/>
                  <a:pt x="338572" y="38332"/>
                  <a:pt x="335584" y="42439"/>
                </a:cubicBezTo>
                <a:cubicBezTo>
                  <a:pt x="332596" y="46484"/>
                  <a:pt x="328675" y="49596"/>
                  <a:pt x="323757" y="51711"/>
                </a:cubicBezTo>
                <a:cubicBezTo>
                  <a:pt x="329733" y="53765"/>
                  <a:pt x="334526" y="57188"/>
                  <a:pt x="338137" y="61855"/>
                </a:cubicBezTo>
                <a:cubicBezTo>
                  <a:pt x="341809" y="66522"/>
                  <a:pt x="343615" y="72372"/>
                  <a:pt x="343615" y="79341"/>
                </a:cubicBezTo>
                <a:cubicBezTo>
                  <a:pt x="343615" y="85688"/>
                  <a:pt x="342121" y="91226"/>
                  <a:pt x="339008" y="95893"/>
                </a:cubicBezTo>
                <a:cubicBezTo>
                  <a:pt x="335896" y="100498"/>
                  <a:pt x="331663" y="103983"/>
                  <a:pt x="326309" y="106473"/>
                </a:cubicBezTo>
                <a:cubicBezTo>
                  <a:pt x="321018" y="108900"/>
                  <a:pt x="314980" y="110082"/>
                  <a:pt x="308257" y="110082"/>
                </a:cubicBezTo>
                <a:close/>
                <a:moveTo>
                  <a:pt x="308257" y="46298"/>
                </a:moveTo>
                <a:cubicBezTo>
                  <a:pt x="313486" y="46298"/>
                  <a:pt x="317844" y="44804"/>
                  <a:pt x="321205" y="41817"/>
                </a:cubicBezTo>
                <a:cubicBezTo>
                  <a:pt x="324691" y="38768"/>
                  <a:pt x="326434" y="34536"/>
                  <a:pt x="326434" y="29122"/>
                </a:cubicBezTo>
                <a:cubicBezTo>
                  <a:pt x="326434" y="23771"/>
                  <a:pt x="324691" y="19601"/>
                  <a:pt x="321205" y="16615"/>
                </a:cubicBezTo>
                <a:cubicBezTo>
                  <a:pt x="317844" y="13503"/>
                  <a:pt x="313486" y="11947"/>
                  <a:pt x="308257" y="11947"/>
                </a:cubicBezTo>
                <a:cubicBezTo>
                  <a:pt x="302966" y="11947"/>
                  <a:pt x="298546" y="13503"/>
                  <a:pt x="294936" y="16615"/>
                </a:cubicBezTo>
                <a:cubicBezTo>
                  <a:pt x="291450" y="19601"/>
                  <a:pt x="289707" y="23771"/>
                  <a:pt x="289707" y="29122"/>
                </a:cubicBezTo>
                <a:cubicBezTo>
                  <a:pt x="289707" y="34536"/>
                  <a:pt x="291450" y="38768"/>
                  <a:pt x="294936" y="41817"/>
                </a:cubicBezTo>
                <a:cubicBezTo>
                  <a:pt x="298546" y="44804"/>
                  <a:pt x="302966" y="46298"/>
                  <a:pt x="308257" y="46298"/>
                </a:cubicBezTo>
                <a:close/>
                <a:moveTo>
                  <a:pt x="308257" y="98258"/>
                </a:moveTo>
                <a:cubicBezTo>
                  <a:pt x="314420" y="98258"/>
                  <a:pt x="319524" y="96516"/>
                  <a:pt x="323632" y="92907"/>
                </a:cubicBezTo>
                <a:cubicBezTo>
                  <a:pt x="327803" y="89235"/>
                  <a:pt x="329919" y="84071"/>
                  <a:pt x="329919" y="77536"/>
                </a:cubicBezTo>
                <a:cubicBezTo>
                  <a:pt x="329919" y="70940"/>
                  <a:pt x="327803" y="65900"/>
                  <a:pt x="323632" y="62291"/>
                </a:cubicBezTo>
                <a:cubicBezTo>
                  <a:pt x="319524" y="58619"/>
                  <a:pt x="314420" y="56752"/>
                  <a:pt x="308257" y="56752"/>
                </a:cubicBezTo>
                <a:cubicBezTo>
                  <a:pt x="301845" y="56752"/>
                  <a:pt x="296554" y="58619"/>
                  <a:pt x="292259" y="62291"/>
                </a:cubicBezTo>
                <a:cubicBezTo>
                  <a:pt x="288088" y="65900"/>
                  <a:pt x="285972" y="70940"/>
                  <a:pt x="285972" y="77536"/>
                </a:cubicBezTo>
                <a:cubicBezTo>
                  <a:pt x="285972" y="84071"/>
                  <a:pt x="288088" y="89235"/>
                  <a:pt x="292259" y="92907"/>
                </a:cubicBezTo>
                <a:cubicBezTo>
                  <a:pt x="296554" y="96516"/>
                  <a:pt x="301845" y="98258"/>
                  <a:pt x="308257" y="98258"/>
                </a:cubicBezTo>
                <a:close/>
                <a:moveTo>
                  <a:pt x="424414" y="108588"/>
                </a:moveTo>
                <a:lnTo>
                  <a:pt x="356189" y="108588"/>
                </a:lnTo>
                <a:lnTo>
                  <a:pt x="356189" y="94400"/>
                </a:lnTo>
                <a:cubicBezTo>
                  <a:pt x="366833" y="85812"/>
                  <a:pt x="375548" y="78532"/>
                  <a:pt x="382333" y="72433"/>
                </a:cubicBezTo>
                <a:cubicBezTo>
                  <a:pt x="389181" y="66397"/>
                  <a:pt x="394534" y="61108"/>
                  <a:pt x="398269" y="56628"/>
                </a:cubicBezTo>
                <a:cubicBezTo>
                  <a:pt x="402190" y="52023"/>
                  <a:pt x="404867" y="47791"/>
                  <a:pt x="406361" y="43933"/>
                </a:cubicBezTo>
                <a:cubicBezTo>
                  <a:pt x="407980" y="40012"/>
                  <a:pt x="408727" y="36092"/>
                  <a:pt x="408727" y="32109"/>
                </a:cubicBezTo>
                <a:cubicBezTo>
                  <a:pt x="408727" y="25949"/>
                  <a:pt x="406921" y="21095"/>
                  <a:pt x="403249" y="17610"/>
                </a:cubicBezTo>
                <a:cubicBezTo>
                  <a:pt x="399514" y="14125"/>
                  <a:pt x="394472" y="12383"/>
                  <a:pt x="387998" y="12383"/>
                </a:cubicBezTo>
                <a:cubicBezTo>
                  <a:pt x="377602" y="12383"/>
                  <a:pt x="367953" y="17361"/>
                  <a:pt x="358990" y="27194"/>
                </a:cubicBezTo>
                <a:lnTo>
                  <a:pt x="358990" y="12134"/>
                </a:lnTo>
                <a:cubicBezTo>
                  <a:pt x="367269" y="4044"/>
                  <a:pt x="377105" y="0"/>
                  <a:pt x="388434" y="0"/>
                </a:cubicBezTo>
                <a:cubicBezTo>
                  <a:pt x="399203" y="0"/>
                  <a:pt x="407668" y="2800"/>
                  <a:pt x="413831" y="8401"/>
                </a:cubicBezTo>
                <a:cubicBezTo>
                  <a:pt x="420118" y="13877"/>
                  <a:pt x="423231" y="21344"/>
                  <a:pt x="423231" y="30803"/>
                </a:cubicBezTo>
                <a:cubicBezTo>
                  <a:pt x="423231" y="35657"/>
                  <a:pt x="422421" y="40324"/>
                  <a:pt x="420865" y="44804"/>
                </a:cubicBezTo>
                <a:cubicBezTo>
                  <a:pt x="419371" y="49222"/>
                  <a:pt x="416695" y="53827"/>
                  <a:pt x="412773" y="58681"/>
                </a:cubicBezTo>
                <a:cubicBezTo>
                  <a:pt x="408976" y="63473"/>
                  <a:pt x="403747" y="68887"/>
                  <a:pt x="397086" y="74860"/>
                </a:cubicBezTo>
                <a:cubicBezTo>
                  <a:pt x="390426" y="80835"/>
                  <a:pt x="381959" y="87804"/>
                  <a:pt x="371689" y="95769"/>
                </a:cubicBezTo>
                <a:lnTo>
                  <a:pt x="424414" y="95769"/>
                </a:lnTo>
                <a:lnTo>
                  <a:pt x="424414" y="108588"/>
                </a:lnTo>
                <a:close/>
                <a:moveTo>
                  <a:pt x="531357" y="108588"/>
                </a:moveTo>
                <a:lnTo>
                  <a:pt x="516418" y="108588"/>
                </a:lnTo>
                <a:lnTo>
                  <a:pt x="505400" y="77972"/>
                </a:lnTo>
                <a:lnTo>
                  <a:pt x="458028" y="77972"/>
                </a:lnTo>
                <a:lnTo>
                  <a:pt x="447135" y="108588"/>
                </a:lnTo>
                <a:lnTo>
                  <a:pt x="434000" y="108588"/>
                </a:lnTo>
                <a:lnTo>
                  <a:pt x="472097" y="1493"/>
                </a:lnTo>
                <a:lnTo>
                  <a:pt x="493012" y="1493"/>
                </a:lnTo>
                <a:lnTo>
                  <a:pt x="531357" y="108588"/>
                </a:lnTo>
                <a:close/>
                <a:moveTo>
                  <a:pt x="462635" y="65278"/>
                </a:moveTo>
                <a:lnTo>
                  <a:pt x="500918" y="65278"/>
                </a:lnTo>
                <a:lnTo>
                  <a:pt x="481807" y="11947"/>
                </a:lnTo>
                <a:lnTo>
                  <a:pt x="462635" y="65278"/>
                </a:lnTo>
                <a:close/>
                <a:moveTo>
                  <a:pt x="634815" y="108588"/>
                </a:moveTo>
                <a:lnTo>
                  <a:pt x="619876" y="108588"/>
                </a:lnTo>
                <a:lnTo>
                  <a:pt x="608795" y="77972"/>
                </a:lnTo>
                <a:lnTo>
                  <a:pt x="561486" y="77972"/>
                </a:lnTo>
                <a:lnTo>
                  <a:pt x="550530" y="108588"/>
                </a:lnTo>
                <a:lnTo>
                  <a:pt x="537396" y="108588"/>
                </a:lnTo>
                <a:lnTo>
                  <a:pt x="575492" y="1493"/>
                </a:lnTo>
                <a:lnTo>
                  <a:pt x="596408" y="1493"/>
                </a:lnTo>
                <a:lnTo>
                  <a:pt x="634815" y="108588"/>
                </a:lnTo>
                <a:close/>
                <a:moveTo>
                  <a:pt x="566092" y="65278"/>
                </a:moveTo>
                <a:lnTo>
                  <a:pt x="604313" y="65278"/>
                </a:lnTo>
                <a:lnTo>
                  <a:pt x="585202" y="11947"/>
                </a:lnTo>
                <a:lnTo>
                  <a:pt x="566092" y="6527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2" name="Полилиния 1721">
            <a:extLst>
              <a:ext uri="{FF2B5EF4-FFF2-40B4-BE49-F238E27FC236}">
                <a16:creationId xmlns:a16="http://schemas.microsoft.com/office/drawing/2014/main" id="{372D483F-C2EB-9E90-7B5C-8D5DC45296B2}"/>
              </a:ext>
            </a:extLst>
          </p:cNvPr>
          <p:cNvSpPr/>
          <p:nvPr/>
        </p:nvSpPr>
        <p:spPr>
          <a:xfrm>
            <a:off x="1444111" y="9584143"/>
            <a:ext cx="2556000" cy="726227"/>
          </a:xfrm>
          <a:custGeom>
            <a:avLst/>
            <a:gdLst>
              <a:gd name="connsiteX0" fmla="*/ 1488 w 2191162"/>
              <a:gd name="connsiteY0" fmla="*/ 1622 h 622284"/>
              <a:gd name="connsiteX1" fmla="*/ 2192651 w 2191162"/>
              <a:gd name="connsiteY1" fmla="*/ 1622 h 622284"/>
              <a:gd name="connsiteX2" fmla="*/ 2192651 w 2191162"/>
              <a:gd name="connsiteY2" fmla="*/ 623906 h 622284"/>
              <a:gd name="connsiteX3" fmla="*/ 1488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622"/>
                </a:moveTo>
                <a:lnTo>
                  <a:pt x="2192651" y="1622"/>
                </a:lnTo>
                <a:lnTo>
                  <a:pt x="2192651" y="623906"/>
                </a:lnTo>
                <a:lnTo>
                  <a:pt x="1488" y="623906"/>
                </a:lnTo>
                <a:close/>
              </a:path>
            </a:pathLst>
          </a:custGeom>
          <a:solidFill>
            <a:srgbClr val="A0AF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3" name="Полилиния 1722">
            <a:extLst>
              <a:ext uri="{FF2B5EF4-FFF2-40B4-BE49-F238E27FC236}">
                <a16:creationId xmlns:a16="http://schemas.microsoft.com/office/drawing/2014/main" id="{5C705053-573B-0875-DFDD-9187E82C7E22}"/>
              </a:ext>
            </a:extLst>
          </p:cNvPr>
          <p:cNvSpPr/>
          <p:nvPr/>
        </p:nvSpPr>
        <p:spPr>
          <a:xfrm>
            <a:off x="1578549" y="9885848"/>
            <a:ext cx="748000" cy="128794"/>
          </a:xfrm>
          <a:custGeom>
            <a:avLst/>
            <a:gdLst>
              <a:gd name="connsiteX0" fmla="*/ 22099 w 638238"/>
              <a:gd name="connsiteY0" fmla="*/ 108402 h 109895"/>
              <a:gd name="connsiteX1" fmla="*/ 10147 w 638238"/>
              <a:gd name="connsiteY1" fmla="*/ 108402 h 109895"/>
              <a:gd name="connsiteX2" fmla="*/ 16434 w 638238"/>
              <a:gd name="connsiteY2" fmla="*/ 77475 h 109895"/>
              <a:gd name="connsiteX3" fmla="*/ 0 w 638238"/>
              <a:gd name="connsiteY3" fmla="*/ 77475 h 109895"/>
              <a:gd name="connsiteX4" fmla="*/ 0 w 638238"/>
              <a:gd name="connsiteY4" fmla="*/ 67020 h 109895"/>
              <a:gd name="connsiteX5" fmla="*/ 18675 w 638238"/>
              <a:gd name="connsiteY5" fmla="*/ 67020 h 109895"/>
              <a:gd name="connsiteX6" fmla="*/ 24215 w 638238"/>
              <a:gd name="connsiteY6" fmla="*/ 39826 h 109895"/>
              <a:gd name="connsiteX7" fmla="*/ 4046 w 638238"/>
              <a:gd name="connsiteY7" fmla="*/ 39826 h 109895"/>
              <a:gd name="connsiteX8" fmla="*/ 4046 w 638238"/>
              <a:gd name="connsiteY8" fmla="*/ 29372 h 109895"/>
              <a:gd name="connsiteX9" fmla="*/ 26270 w 638238"/>
              <a:gd name="connsiteY9" fmla="*/ 29372 h 109895"/>
              <a:gd name="connsiteX10" fmla="*/ 32121 w 638238"/>
              <a:gd name="connsiteY10" fmla="*/ 1307 h 109895"/>
              <a:gd name="connsiteX11" fmla="*/ 44073 w 638238"/>
              <a:gd name="connsiteY11" fmla="*/ 1307 h 109895"/>
              <a:gd name="connsiteX12" fmla="*/ 38221 w 638238"/>
              <a:gd name="connsiteY12" fmla="*/ 29372 h 109895"/>
              <a:gd name="connsiteX13" fmla="*/ 60630 w 638238"/>
              <a:gd name="connsiteY13" fmla="*/ 29372 h 109895"/>
              <a:gd name="connsiteX14" fmla="*/ 66482 w 638238"/>
              <a:gd name="connsiteY14" fmla="*/ 1307 h 109895"/>
              <a:gd name="connsiteX15" fmla="*/ 78434 w 638238"/>
              <a:gd name="connsiteY15" fmla="*/ 1307 h 109895"/>
              <a:gd name="connsiteX16" fmla="*/ 72582 w 638238"/>
              <a:gd name="connsiteY16" fmla="*/ 29372 h 109895"/>
              <a:gd name="connsiteX17" fmla="*/ 89328 w 638238"/>
              <a:gd name="connsiteY17" fmla="*/ 29372 h 109895"/>
              <a:gd name="connsiteX18" fmla="*/ 89328 w 638238"/>
              <a:gd name="connsiteY18" fmla="*/ 39826 h 109895"/>
              <a:gd name="connsiteX19" fmla="*/ 70529 w 638238"/>
              <a:gd name="connsiteY19" fmla="*/ 39826 h 109895"/>
              <a:gd name="connsiteX20" fmla="*/ 64988 w 638238"/>
              <a:gd name="connsiteY20" fmla="*/ 67020 h 109895"/>
              <a:gd name="connsiteX21" fmla="*/ 85282 w 638238"/>
              <a:gd name="connsiteY21" fmla="*/ 67020 h 109895"/>
              <a:gd name="connsiteX22" fmla="*/ 85282 w 638238"/>
              <a:gd name="connsiteY22" fmla="*/ 77475 h 109895"/>
              <a:gd name="connsiteX23" fmla="*/ 62747 w 638238"/>
              <a:gd name="connsiteY23" fmla="*/ 77475 h 109895"/>
              <a:gd name="connsiteX24" fmla="*/ 56460 w 638238"/>
              <a:gd name="connsiteY24" fmla="*/ 108402 h 109895"/>
              <a:gd name="connsiteX25" fmla="*/ 44508 w 638238"/>
              <a:gd name="connsiteY25" fmla="*/ 108402 h 109895"/>
              <a:gd name="connsiteX26" fmla="*/ 50795 w 638238"/>
              <a:gd name="connsiteY26" fmla="*/ 77475 h 109895"/>
              <a:gd name="connsiteX27" fmla="*/ 28386 w 638238"/>
              <a:gd name="connsiteY27" fmla="*/ 77475 h 109895"/>
              <a:gd name="connsiteX28" fmla="*/ 22099 w 638238"/>
              <a:gd name="connsiteY28" fmla="*/ 108402 h 109895"/>
              <a:gd name="connsiteX29" fmla="*/ 30627 w 638238"/>
              <a:gd name="connsiteY29" fmla="*/ 67020 h 109895"/>
              <a:gd name="connsiteX30" fmla="*/ 53036 w 638238"/>
              <a:gd name="connsiteY30" fmla="*/ 67020 h 109895"/>
              <a:gd name="connsiteX31" fmla="*/ 58576 w 638238"/>
              <a:gd name="connsiteY31" fmla="*/ 39826 h 109895"/>
              <a:gd name="connsiteX32" fmla="*/ 36167 w 638238"/>
              <a:gd name="connsiteY32" fmla="*/ 39826 h 109895"/>
              <a:gd name="connsiteX33" fmla="*/ 30627 w 638238"/>
              <a:gd name="connsiteY33" fmla="*/ 67020 h 109895"/>
              <a:gd name="connsiteX34" fmla="*/ 189673 w 638238"/>
              <a:gd name="connsiteY34" fmla="*/ 108402 h 109895"/>
              <a:gd name="connsiteX35" fmla="*/ 174733 w 638238"/>
              <a:gd name="connsiteY35" fmla="*/ 108402 h 109895"/>
              <a:gd name="connsiteX36" fmla="*/ 163715 w 638238"/>
              <a:gd name="connsiteY36" fmla="*/ 77786 h 109895"/>
              <a:gd name="connsiteX37" fmla="*/ 116344 w 638238"/>
              <a:gd name="connsiteY37" fmla="*/ 77786 h 109895"/>
              <a:gd name="connsiteX38" fmla="*/ 105450 w 638238"/>
              <a:gd name="connsiteY38" fmla="*/ 108402 h 109895"/>
              <a:gd name="connsiteX39" fmla="*/ 92253 w 638238"/>
              <a:gd name="connsiteY39" fmla="*/ 108402 h 109895"/>
              <a:gd name="connsiteX40" fmla="*/ 130350 w 638238"/>
              <a:gd name="connsiteY40" fmla="*/ 1307 h 109895"/>
              <a:gd name="connsiteX41" fmla="*/ 151265 w 638238"/>
              <a:gd name="connsiteY41" fmla="*/ 1307 h 109895"/>
              <a:gd name="connsiteX42" fmla="*/ 189673 w 638238"/>
              <a:gd name="connsiteY42" fmla="*/ 108402 h 109895"/>
              <a:gd name="connsiteX43" fmla="*/ 120950 w 638238"/>
              <a:gd name="connsiteY43" fmla="*/ 65091 h 109895"/>
              <a:gd name="connsiteX44" fmla="*/ 159233 w 638238"/>
              <a:gd name="connsiteY44" fmla="*/ 65091 h 109895"/>
              <a:gd name="connsiteX45" fmla="*/ 140060 w 638238"/>
              <a:gd name="connsiteY45" fmla="*/ 11761 h 109895"/>
              <a:gd name="connsiteX46" fmla="*/ 120950 w 638238"/>
              <a:gd name="connsiteY46" fmla="*/ 65091 h 109895"/>
              <a:gd name="connsiteX47" fmla="*/ 234118 w 638238"/>
              <a:gd name="connsiteY47" fmla="*/ 109896 h 109895"/>
              <a:gd name="connsiteX48" fmla="*/ 215880 w 638238"/>
              <a:gd name="connsiteY48" fmla="*/ 104047 h 109895"/>
              <a:gd name="connsiteX49" fmla="*/ 203181 w 638238"/>
              <a:gd name="connsiteY49" fmla="*/ 86125 h 109895"/>
              <a:gd name="connsiteX50" fmla="*/ 198699 w 638238"/>
              <a:gd name="connsiteY50" fmla="*/ 54761 h 109895"/>
              <a:gd name="connsiteX51" fmla="*/ 203181 w 638238"/>
              <a:gd name="connsiteY51" fmla="*/ 23398 h 109895"/>
              <a:gd name="connsiteX52" fmla="*/ 215880 w 638238"/>
              <a:gd name="connsiteY52" fmla="*/ 5663 h 109895"/>
              <a:gd name="connsiteX53" fmla="*/ 234118 w 638238"/>
              <a:gd name="connsiteY53" fmla="*/ 0 h 109895"/>
              <a:gd name="connsiteX54" fmla="*/ 252171 w 638238"/>
              <a:gd name="connsiteY54" fmla="*/ 5663 h 109895"/>
              <a:gd name="connsiteX55" fmla="*/ 264620 w 638238"/>
              <a:gd name="connsiteY55" fmla="*/ 23398 h 109895"/>
              <a:gd name="connsiteX56" fmla="*/ 269102 w 638238"/>
              <a:gd name="connsiteY56" fmla="*/ 54512 h 109895"/>
              <a:gd name="connsiteX57" fmla="*/ 264620 w 638238"/>
              <a:gd name="connsiteY57" fmla="*/ 85876 h 109895"/>
              <a:gd name="connsiteX58" fmla="*/ 252171 w 638238"/>
              <a:gd name="connsiteY58" fmla="*/ 104047 h 109895"/>
              <a:gd name="connsiteX59" fmla="*/ 234118 w 638238"/>
              <a:gd name="connsiteY59" fmla="*/ 109896 h 109895"/>
              <a:gd name="connsiteX60" fmla="*/ 233994 w 638238"/>
              <a:gd name="connsiteY60" fmla="*/ 98072 h 109895"/>
              <a:gd name="connsiteX61" fmla="*/ 245323 w 638238"/>
              <a:gd name="connsiteY61" fmla="*/ 94089 h 109895"/>
              <a:gd name="connsiteX62" fmla="*/ 252482 w 638238"/>
              <a:gd name="connsiteY62" fmla="*/ 80462 h 109895"/>
              <a:gd name="connsiteX63" fmla="*/ 255035 w 638238"/>
              <a:gd name="connsiteY63" fmla="*/ 54948 h 109895"/>
              <a:gd name="connsiteX64" fmla="*/ 252669 w 638238"/>
              <a:gd name="connsiteY64" fmla="*/ 29559 h 109895"/>
              <a:gd name="connsiteX65" fmla="*/ 245448 w 638238"/>
              <a:gd name="connsiteY65" fmla="*/ 15931 h 109895"/>
              <a:gd name="connsiteX66" fmla="*/ 234118 w 638238"/>
              <a:gd name="connsiteY66" fmla="*/ 11761 h 109895"/>
              <a:gd name="connsiteX67" fmla="*/ 222602 w 638238"/>
              <a:gd name="connsiteY67" fmla="*/ 15931 h 109895"/>
              <a:gd name="connsiteX68" fmla="*/ 215320 w 638238"/>
              <a:gd name="connsiteY68" fmla="*/ 29559 h 109895"/>
              <a:gd name="connsiteX69" fmla="*/ 212767 w 638238"/>
              <a:gd name="connsiteY69" fmla="*/ 54948 h 109895"/>
              <a:gd name="connsiteX70" fmla="*/ 215133 w 638238"/>
              <a:gd name="connsiteY70" fmla="*/ 80462 h 109895"/>
              <a:gd name="connsiteX71" fmla="*/ 222478 w 638238"/>
              <a:gd name="connsiteY71" fmla="*/ 94089 h 109895"/>
              <a:gd name="connsiteX72" fmla="*/ 233994 w 638238"/>
              <a:gd name="connsiteY72" fmla="*/ 98072 h 109895"/>
              <a:gd name="connsiteX73" fmla="*/ 375299 w 638238"/>
              <a:gd name="connsiteY73" fmla="*/ 108402 h 109895"/>
              <a:gd name="connsiteX74" fmla="*/ 360359 w 638238"/>
              <a:gd name="connsiteY74" fmla="*/ 108402 h 109895"/>
              <a:gd name="connsiteX75" fmla="*/ 349279 w 638238"/>
              <a:gd name="connsiteY75" fmla="*/ 77786 h 109895"/>
              <a:gd name="connsiteX76" fmla="*/ 301907 w 638238"/>
              <a:gd name="connsiteY76" fmla="*/ 77786 h 109895"/>
              <a:gd name="connsiteX77" fmla="*/ 291014 w 638238"/>
              <a:gd name="connsiteY77" fmla="*/ 108402 h 109895"/>
              <a:gd name="connsiteX78" fmla="*/ 277879 w 638238"/>
              <a:gd name="connsiteY78" fmla="*/ 108402 h 109895"/>
              <a:gd name="connsiteX79" fmla="*/ 315976 w 638238"/>
              <a:gd name="connsiteY79" fmla="*/ 1307 h 109895"/>
              <a:gd name="connsiteX80" fmla="*/ 336891 w 638238"/>
              <a:gd name="connsiteY80" fmla="*/ 1307 h 109895"/>
              <a:gd name="connsiteX81" fmla="*/ 375299 w 638238"/>
              <a:gd name="connsiteY81" fmla="*/ 108402 h 109895"/>
              <a:gd name="connsiteX82" fmla="*/ 306576 w 638238"/>
              <a:gd name="connsiteY82" fmla="*/ 65091 h 109895"/>
              <a:gd name="connsiteX83" fmla="*/ 344797 w 638238"/>
              <a:gd name="connsiteY83" fmla="*/ 65091 h 109895"/>
              <a:gd name="connsiteX84" fmla="*/ 325687 w 638238"/>
              <a:gd name="connsiteY84" fmla="*/ 11761 h 109895"/>
              <a:gd name="connsiteX85" fmla="*/ 306576 w 638238"/>
              <a:gd name="connsiteY85" fmla="*/ 65091 h 109895"/>
              <a:gd name="connsiteX86" fmla="*/ 390861 w 638238"/>
              <a:gd name="connsiteY86" fmla="*/ 1307 h 109895"/>
              <a:gd name="connsiteX87" fmla="*/ 456285 w 638238"/>
              <a:gd name="connsiteY87" fmla="*/ 1307 h 109895"/>
              <a:gd name="connsiteX88" fmla="*/ 456285 w 638238"/>
              <a:gd name="connsiteY88" fmla="*/ 14188 h 109895"/>
              <a:gd name="connsiteX89" fmla="*/ 404930 w 638238"/>
              <a:gd name="connsiteY89" fmla="*/ 14188 h 109895"/>
              <a:gd name="connsiteX90" fmla="*/ 404930 w 638238"/>
              <a:gd name="connsiteY90" fmla="*/ 49720 h 109895"/>
              <a:gd name="connsiteX91" fmla="*/ 448504 w 638238"/>
              <a:gd name="connsiteY91" fmla="*/ 49720 h 109895"/>
              <a:gd name="connsiteX92" fmla="*/ 448504 w 638238"/>
              <a:gd name="connsiteY92" fmla="*/ 62415 h 109895"/>
              <a:gd name="connsiteX93" fmla="*/ 404930 w 638238"/>
              <a:gd name="connsiteY93" fmla="*/ 62415 h 109895"/>
              <a:gd name="connsiteX94" fmla="*/ 404930 w 638238"/>
              <a:gd name="connsiteY94" fmla="*/ 108402 h 109895"/>
              <a:gd name="connsiteX95" fmla="*/ 390861 w 638238"/>
              <a:gd name="connsiteY95" fmla="*/ 108402 h 109895"/>
              <a:gd name="connsiteX96" fmla="*/ 390861 w 638238"/>
              <a:gd name="connsiteY96" fmla="*/ 1307 h 109895"/>
              <a:gd name="connsiteX97" fmla="*/ 520028 w 638238"/>
              <a:gd name="connsiteY97" fmla="*/ 109896 h 109895"/>
              <a:gd name="connsiteX98" fmla="*/ 492265 w 638238"/>
              <a:gd name="connsiteY98" fmla="*/ 103300 h 109895"/>
              <a:gd name="connsiteX99" fmla="*/ 473901 w 638238"/>
              <a:gd name="connsiteY99" fmla="*/ 84507 h 109895"/>
              <a:gd name="connsiteX100" fmla="*/ 467303 w 638238"/>
              <a:gd name="connsiteY100" fmla="*/ 54948 h 109895"/>
              <a:gd name="connsiteX101" fmla="*/ 480935 w 638238"/>
              <a:gd name="connsiteY101" fmla="*/ 14624 h 109895"/>
              <a:gd name="connsiteX102" fmla="*/ 519779 w 638238"/>
              <a:gd name="connsiteY102" fmla="*/ 0 h 109895"/>
              <a:gd name="connsiteX103" fmla="*/ 537706 w 638238"/>
              <a:gd name="connsiteY103" fmla="*/ 2054 h 109895"/>
              <a:gd name="connsiteX104" fmla="*/ 552335 w 638238"/>
              <a:gd name="connsiteY104" fmla="*/ 7716 h 109895"/>
              <a:gd name="connsiteX105" fmla="*/ 552335 w 638238"/>
              <a:gd name="connsiteY105" fmla="*/ 21158 h 109895"/>
              <a:gd name="connsiteX106" fmla="*/ 537209 w 638238"/>
              <a:gd name="connsiteY106" fmla="*/ 14935 h 109895"/>
              <a:gd name="connsiteX107" fmla="*/ 519593 w 638238"/>
              <a:gd name="connsiteY107" fmla="*/ 12695 h 109895"/>
              <a:gd name="connsiteX108" fmla="*/ 491642 w 638238"/>
              <a:gd name="connsiteY108" fmla="*/ 23273 h 109895"/>
              <a:gd name="connsiteX109" fmla="*/ 482554 w 638238"/>
              <a:gd name="connsiteY109" fmla="*/ 54948 h 109895"/>
              <a:gd name="connsiteX110" fmla="*/ 492390 w 638238"/>
              <a:gd name="connsiteY110" fmla="*/ 86747 h 109895"/>
              <a:gd name="connsiteX111" fmla="*/ 521273 w 638238"/>
              <a:gd name="connsiteY111" fmla="*/ 97201 h 109895"/>
              <a:gd name="connsiteX112" fmla="*/ 552335 w 638238"/>
              <a:gd name="connsiteY112" fmla="*/ 87369 h 109895"/>
              <a:gd name="connsiteX113" fmla="*/ 552335 w 638238"/>
              <a:gd name="connsiteY113" fmla="*/ 100811 h 109895"/>
              <a:gd name="connsiteX114" fmla="*/ 538453 w 638238"/>
              <a:gd name="connsiteY114" fmla="*/ 107531 h 109895"/>
              <a:gd name="connsiteX115" fmla="*/ 520028 w 638238"/>
              <a:gd name="connsiteY115" fmla="*/ 109896 h 109895"/>
              <a:gd name="connsiteX116" fmla="*/ 602819 w 638238"/>
              <a:gd name="connsiteY116" fmla="*/ 109896 h 109895"/>
              <a:gd name="connsiteX117" fmla="*/ 584145 w 638238"/>
              <a:gd name="connsiteY117" fmla="*/ 106287 h 109895"/>
              <a:gd name="connsiteX118" fmla="*/ 571446 w 638238"/>
              <a:gd name="connsiteY118" fmla="*/ 96019 h 109895"/>
              <a:gd name="connsiteX119" fmla="*/ 566777 w 638238"/>
              <a:gd name="connsiteY119" fmla="*/ 79590 h 109895"/>
              <a:gd name="connsiteX120" fmla="*/ 572193 w 638238"/>
              <a:gd name="connsiteY120" fmla="*/ 62105 h 109895"/>
              <a:gd name="connsiteX121" fmla="*/ 586946 w 638238"/>
              <a:gd name="connsiteY121" fmla="*/ 51525 h 109895"/>
              <a:gd name="connsiteX122" fmla="*/ 574994 w 638238"/>
              <a:gd name="connsiteY122" fmla="*/ 42378 h 109895"/>
              <a:gd name="connsiteX123" fmla="*/ 570699 w 638238"/>
              <a:gd name="connsiteY123" fmla="*/ 27318 h 109895"/>
              <a:gd name="connsiteX124" fmla="*/ 574870 w 638238"/>
              <a:gd name="connsiteY124" fmla="*/ 12383 h 109895"/>
              <a:gd name="connsiteX125" fmla="*/ 586386 w 638238"/>
              <a:gd name="connsiteY125" fmla="*/ 3111 h 109895"/>
              <a:gd name="connsiteX126" fmla="*/ 602819 w 638238"/>
              <a:gd name="connsiteY126" fmla="*/ 0 h 109895"/>
              <a:gd name="connsiteX127" fmla="*/ 618942 w 638238"/>
              <a:gd name="connsiteY127" fmla="*/ 3111 h 109895"/>
              <a:gd name="connsiteX128" fmla="*/ 630271 w 638238"/>
              <a:gd name="connsiteY128" fmla="*/ 12073 h 109895"/>
              <a:gd name="connsiteX129" fmla="*/ 634629 w 638238"/>
              <a:gd name="connsiteY129" fmla="*/ 27008 h 109895"/>
              <a:gd name="connsiteX130" fmla="*/ 630146 w 638238"/>
              <a:gd name="connsiteY130" fmla="*/ 42253 h 109895"/>
              <a:gd name="connsiteX131" fmla="*/ 618319 w 638238"/>
              <a:gd name="connsiteY131" fmla="*/ 51525 h 109895"/>
              <a:gd name="connsiteX132" fmla="*/ 632698 w 638238"/>
              <a:gd name="connsiteY132" fmla="*/ 61669 h 109895"/>
              <a:gd name="connsiteX133" fmla="*/ 638239 w 638238"/>
              <a:gd name="connsiteY133" fmla="*/ 79155 h 109895"/>
              <a:gd name="connsiteX134" fmla="*/ 633570 w 638238"/>
              <a:gd name="connsiteY134" fmla="*/ 95707 h 109895"/>
              <a:gd name="connsiteX135" fmla="*/ 620871 w 638238"/>
              <a:gd name="connsiteY135" fmla="*/ 106287 h 109895"/>
              <a:gd name="connsiteX136" fmla="*/ 602819 w 638238"/>
              <a:gd name="connsiteY136" fmla="*/ 109896 h 109895"/>
              <a:gd name="connsiteX137" fmla="*/ 602819 w 638238"/>
              <a:gd name="connsiteY137" fmla="*/ 46111 h 109895"/>
              <a:gd name="connsiteX138" fmla="*/ 615829 w 638238"/>
              <a:gd name="connsiteY138" fmla="*/ 41631 h 109895"/>
              <a:gd name="connsiteX139" fmla="*/ 621058 w 638238"/>
              <a:gd name="connsiteY139" fmla="*/ 28936 h 109895"/>
              <a:gd name="connsiteX140" fmla="*/ 615829 w 638238"/>
              <a:gd name="connsiteY140" fmla="*/ 16428 h 109895"/>
              <a:gd name="connsiteX141" fmla="*/ 602819 w 638238"/>
              <a:gd name="connsiteY141" fmla="*/ 11761 h 109895"/>
              <a:gd name="connsiteX142" fmla="*/ 589498 w 638238"/>
              <a:gd name="connsiteY142" fmla="*/ 16428 h 109895"/>
              <a:gd name="connsiteX143" fmla="*/ 584269 w 638238"/>
              <a:gd name="connsiteY143" fmla="*/ 28936 h 109895"/>
              <a:gd name="connsiteX144" fmla="*/ 589498 w 638238"/>
              <a:gd name="connsiteY144" fmla="*/ 41631 h 109895"/>
              <a:gd name="connsiteX145" fmla="*/ 602819 w 638238"/>
              <a:gd name="connsiteY145" fmla="*/ 46111 h 109895"/>
              <a:gd name="connsiteX146" fmla="*/ 602819 w 638238"/>
              <a:gd name="connsiteY146" fmla="*/ 98072 h 109895"/>
              <a:gd name="connsiteX147" fmla="*/ 618195 w 638238"/>
              <a:gd name="connsiteY147" fmla="*/ 92721 h 109895"/>
              <a:gd name="connsiteX148" fmla="*/ 624482 w 638238"/>
              <a:gd name="connsiteY148" fmla="*/ 77350 h 109895"/>
              <a:gd name="connsiteX149" fmla="*/ 618195 w 638238"/>
              <a:gd name="connsiteY149" fmla="*/ 62105 h 109895"/>
              <a:gd name="connsiteX150" fmla="*/ 602819 w 638238"/>
              <a:gd name="connsiteY150" fmla="*/ 56566 h 109895"/>
              <a:gd name="connsiteX151" fmla="*/ 586821 w 638238"/>
              <a:gd name="connsiteY151" fmla="*/ 62105 h 109895"/>
              <a:gd name="connsiteX152" fmla="*/ 580534 w 638238"/>
              <a:gd name="connsiteY152" fmla="*/ 77350 h 109895"/>
              <a:gd name="connsiteX153" fmla="*/ 586821 w 638238"/>
              <a:gd name="connsiteY153" fmla="*/ 92721 h 109895"/>
              <a:gd name="connsiteX154" fmla="*/ 602819 w 638238"/>
              <a:gd name="connsiteY15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63823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89673" y="108402"/>
                </a:moveTo>
                <a:lnTo>
                  <a:pt x="174733" y="108402"/>
                </a:lnTo>
                <a:lnTo>
                  <a:pt x="163715" y="77786"/>
                </a:lnTo>
                <a:lnTo>
                  <a:pt x="116344" y="77786"/>
                </a:lnTo>
                <a:lnTo>
                  <a:pt x="105450" y="108402"/>
                </a:lnTo>
                <a:lnTo>
                  <a:pt x="92253" y="108402"/>
                </a:lnTo>
                <a:lnTo>
                  <a:pt x="130350" y="1307"/>
                </a:lnTo>
                <a:lnTo>
                  <a:pt x="151265" y="1307"/>
                </a:lnTo>
                <a:lnTo>
                  <a:pt x="189673" y="108402"/>
                </a:lnTo>
                <a:close/>
                <a:moveTo>
                  <a:pt x="120950" y="65091"/>
                </a:moveTo>
                <a:lnTo>
                  <a:pt x="159233" y="65091"/>
                </a:lnTo>
                <a:lnTo>
                  <a:pt x="140060" y="11761"/>
                </a:lnTo>
                <a:lnTo>
                  <a:pt x="120950" y="65091"/>
                </a:lnTo>
                <a:close/>
                <a:moveTo>
                  <a:pt x="234118" y="109896"/>
                </a:moveTo>
                <a:cubicBezTo>
                  <a:pt x="227333" y="109896"/>
                  <a:pt x="221295" y="107967"/>
                  <a:pt x="215880" y="104047"/>
                </a:cubicBezTo>
                <a:cubicBezTo>
                  <a:pt x="210526" y="100188"/>
                  <a:pt x="206293" y="94214"/>
                  <a:pt x="203181" y="86125"/>
                </a:cubicBezTo>
                <a:cubicBezTo>
                  <a:pt x="200193" y="77972"/>
                  <a:pt x="198699" y="67518"/>
                  <a:pt x="198699" y="54761"/>
                </a:cubicBezTo>
                <a:cubicBezTo>
                  <a:pt x="198699" y="41942"/>
                  <a:pt x="200193" y="31488"/>
                  <a:pt x="203181" y="23398"/>
                </a:cubicBezTo>
                <a:cubicBezTo>
                  <a:pt x="206293" y="15371"/>
                  <a:pt x="210526" y="9459"/>
                  <a:pt x="215880" y="5663"/>
                </a:cubicBezTo>
                <a:cubicBezTo>
                  <a:pt x="221295" y="1867"/>
                  <a:pt x="227333" y="0"/>
                  <a:pt x="234118" y="0"/>
                </a:cubicBezTo>
                <a:cubicBezTo>
                  <a:pt x="240904" y="0"/>
                  <a:pt x="246942" y="1867"/>
                  <a:pt x="252171" y="5663"/>
                </a:cubicBezTo>
                <a:cubicBezTo>
                  <a:pt x="257462" y="9459"/>
                  <a:pt x="261633" y="15371"/>
                  <a:pt x="264620" y="23398"/>
                </a:cubicBezTo>
                <a:cubicBezTo>
                  <a:pt x="267608" y="31363"/>
                  <a:pt x="269102" y="41756"/>
                  <a:pt x="269102" y="54512"/>
                </a:cubicBezTo>
                <a:cubicBezTo>
                  <a:pt x="269102" y="67145"/>
                  <a:pt x="267608" y="77599"/>
                  <a:pt x="264620" y="85876"/>
                </a:cubicBezTo>
                <a:cubicBezTo>
                  <a:pt x="261633" y="94027"/>
                  <a:pt x="257462" y="100064"/>
                  <a:pt x="252171" y="104047"/>
                </a:cubicBezTo>
                <a:cubicBezTo>
                  <a:pt x="246942" y="107967"/>
                  <a:pt x="240904" y="109896"/>
                  <a:pt x="234118" y="109896"/>
                </a:cubicBezTo>
                <a:close/>
                <a:moveTo>
                  <a:pt x="233994" y="98072"/>
                </a:moveTo>
                <a:cubicBezTo>
                  <a:pt x="238476" y="98072"/>
                  <a:pt x="242211" y="96766"/>
                  <a:pt x="245323" y="94089"/>
                </a:cubicBezTo>
                <a:cubicBezTo>
                  <a:pt x="248498" y="91289"/>
                  <a:pt x="250926" y="86747"/>
                  <a:pt x="252482" y="80462"/>
                </a:cubicBezTo>
                <a:cubicBezTo>
                  <a:pt x="254163" y="74114"/>
                  <a:pt x="255035" y="65589"/>
                  <a:pt x="255035" y="54948"/>
                </a:cubicBezTo>
                <a:cubicBezTo>
                  <a:pt x="255035" y="44307"/>
                  <a:pt x="254225" y="35844"/>
                  <a:pt x="252669" y="29559"/>
                </a:cubicBezTo>
                <a:cubicBezTo>
                  <a:pt x="251051" y="23150"/>
                  <a:pt x="248685" y="18669"/>
                  <a:pt x="245448" y="15931"/>
                </a:cubicBezTo>
                <a:cubicBezTo>
                  <a:pt x="242398" y="13192"/>
                  <a:pt x="238601" y="11761"/>
                  <a:pt x="234118" y="11761"/>
                </a:cubicBezTo>
                <a:cubicBezTo>
                  <a:pt x="229636" y="11761"/>
                  <a:pt x="225777" y="13192"/>
                  <a:pt x="222602" y="15931"/>
                </a:cubicBezTo>
                <a:cubicBezTo>
                  <a:pt x="219428" y="18669"/>
                  <a:pt x="217000" y="23150"/>
                  <a:pt x="215320" y="29559"/>
                </a:cubicBezTo>
                <a:cubicBezTo>
                  <a:pt x="213577" y="35844"/>
                  <a:pt x="212767" y="44307"/>
                  <a:pt x="212767" y="54948"/>
                </a:cubicBezTo>
                <a:cubicBezTo>
                  <a:pt x="212767" y="65589"/>
                  <a:pt x="213577" y="74114"/>
                  <a:pt x="215133" y="80462"/>
                </a:cubicBezTo>
                <a:cubicBezTo>
                  <a:pt x="216814" y="86747"/>
                  <a:pt x="219303" y="91289"/>
                  <a:pt x="222478" y="94089"/>
                </a:cubicBezTo>
                <a:cubicBezTo>
                  <a:pt x="225652" y="96766"/>
                  <a:pt x="229512" y="98072"/>
                  <a:pt x="233994" y="98072"/>
                </a:cubicBezTo>
                <a:close/>
                <a:moveTo>
                  <a:pt x="375299" y="108402"/>
                </a:moveTo>
                <a:lnTo>
                  <a:pt x="360359" y="108402"/>
                </a:lnTo>
                <a:lnTo>
                  <a:pt x="349279" y="77786"/>
                </a:lnTo>
                <a:lnTo>
                  <a:pt x="301907" y="77786"/>
                </a:lnTo>
                <a:lnTo>
                  <a:pt x="291014" y="108402"/>
                </a:lnTo>
                <a:lnTo>
                  <a:pt x="277879" y="108402"/>
                </a:lnTo>
                <a:lnTo>
                  <a:pt x="315976" y="1307"/>
                </a:lnTo>
                <a:lnTo>
                  <a:pt x="336891" y="1307"/>
                </a:lnTo>
                <a:lnTo>
                  <a:pt x="375299" y="108402"/>
                </a:lnTo>
                <a:close/>
                <a:moveTo>
                  <a:pt x="306576" y="65091"/>
                </a:moveTo>
                <a:lnTo>
                  <a:pt x="344797" y="65091"/>
                </a:lnTo>
                <a:lnTo>
                  <a:pt x="325687" y="11761"/>
                </a:lnTo>
                <a:lnTo>
                  <a:pt x="306576" y="65091"/>
                </a:lnTo>
                <a:close/>
                <a:moveTo>
                  <a:pt x="390861" y="1307"/>
                </a:moveTo>
                <a:lnTo>
                  <a:pt x="456285" y="1307"/>
                </a:lnTo>
                <a:lnTo>
                  <a:pt x="456285" y="14188"/>
                </a:lnTo>
                <a:lnTo>
                  <a:pt x="404930" y="14188"/>
                </a:lnTo>
                <a:lnTo>
                  <a:pt x="404930" y="49720"/>
                </a:lnTo>
                <a:lnTo>
                  <a:pt x="448504" y="49720"/>
                </a:lnTo>
                <a:lnTo>
                  <a:pt x="448504" y="62415"/>
                </a:lnTo>
                <a:lnTo>
                  <a:pt x="404930" y="62415"/>
                </a:lnTo>
                <a:lnTo>
                  <a:pt x="404930" y="108402"/>
                </a:lnTo>
                <a:lnTo>
                  <a:pt x="390861" y="108402"/>
                </a:lnTo>
                <a:lnTo>
                  <a:pt x="390861" y="1307"/>
                </a:lnTo>
                <a:close/>
                <a:moveTo>
                  <a:pt x="520028" y="109896"/>
                </a:moveTo>
                <a:cubicBezTo>
                  <a:pt x="509508" y="109896"/>
                  <a:pt x="500232" y="107718"/>
                  <a:pt x="492265" y="103300"/>
                </a:cubicBezTo>
                <a:cubicBezTo>
                  <a:pt x="484422" y="98943"/>
                  <a:pt x="478259" y="92658"/>
                  <a:pt x="473901" y="84507"/>
                </a:cubicBezTo>
                <a:cubicBezTo>
                  <a:pt x="469482" y="76230"/>
                  <a:pt x="467303" y="66398"/>
                  <a:pt x="467303" y="54948"/>
                </a:cubicBezTo>
                <a:cubicBezTo>
                  <a:pt x="467303" y="37711"/>
                  <a:pt x="471847" y="24269"/>
                  <a:pt x="480935" y="14624"/>
                </a:cubicBezTo>
                <a:cubicBezTo>
                  <a:pt x="489962" y="4854"/>
                  <a:pt x="502910" y="0"/>
                  <a:pt x="519779" y="0"/>
                </a:cubicBezTo>
                <a:cubicBezTo>
                  <a:pt x="526004" y="0"/>
                  <a:pt x="531980" y="684"/>
                  <a:pt x="537706" y="2054"/>
                </a:cubicBezTo>
                <a:cubicBezTo>
                  <a:pt x="543434" y="3361"/>
                  <a:pt x="548352" y="5228"/>
                  <a:pt x="552335" y="7716"/>
                </a:cubicBezTo>
                <a:lnTo>
                  <a:pt x="552335" y="21158"/>
                </a:lnTo>
                <a:cubicBezTo>
                  <a:pt x="548040" y="18482"/>
                  <a:pt x="542997" y="16428"/>
                  <a:pt x="537209" y="14935"/>
                </a:cubicBezTo>
                <a:cubicBezTo>
                  <a:pt x="531544" y="13442"/>
                  <a:pt x="525693" y="12695"/>
                  <a:pt x="519593" y="12695"/>
                </a:cubicBezTo>
                <a:cubicBezTo>
                  <a:pt x="507080" y="12695"/>
                  <a:pt x="497743" y="16180"/>
                  <a:pt x="491642" y="23273"/>
                </a:cubicBezTo>
                <a:cubicBezTo>
                  <a:pt x="485604" y="30368"/>
                  <a:pt x="482554" y="40885"/>
                  <a:pt x="482554" y="54948"/>
                </a:cubicBezTo>
                <a:cubicBezTo>
                  <a:pt x="482554" y="69074"/>
                  <a:pt x="485853" y="79653"/>
                  <a:pt x="492390" y="86747"/>
                </a:cubicBezTo>
                <a:cubicBezTo>
                  <a:pt x="498988" y="93716"/>
                  <a:pt x="508574" y="97201"/>
                  <a:pt x="521273" y="97201"/>
                </a:cubicBezTo>
                <a:cubicBezTo>
                  <a:pt x="533225" y="97201"/>
                  <a:pt x="543558" y="93903"/>
                  <a:pt x="552335" y="87369"/>
                </a:cubicBezTo>
                <a:lnTo>
                  <a:pt x="552335" y="100811"/>
                </a:lnTo>
                <a:cubicBezTo>
                  <a:pt x="548849" y="103548"/>
                  <a:pt x="544181" y="105788"/>
                  <a:pt x="538453" y="107531"/>
                </a:cubicBezTo>
                <a:cubicBezTo>
                  <a:pt x="532665" y="109087"/>
                  <a:pt x="526502" y="109896"/>
                  <a:pt x="520028" y="109896"/>
                </a:cubicBezTo>
                <a:close/>
                <a:moveTo>
                  <a:pt x="602819" y="109896"/>
                </a:moveTo>
                <a:cubicBezTo>
                  <a:pt x="595848" y="109896"/>
                  <a:pt x="589623" y="108714"/>
                  <a:pt x="584145" y="106287"/>
                </a:cubicBezTo>
                <a:cubicBezTo>
                  <a:pt x="578729" y="103922"/>
                  <a:pt x="574496" y="100499"/>
                  <a:pt x="571446" y="96019"/>
                </a:cubicBezTo>
                <a:cubicBezTo>
                  <a:pt x="568333" y="91414"/>
                  <a:pt x="566777" y="85938"/>
                  <a:pt x="566777" y="79590"/>
                </a:cubicBezTo>
                <a:cubicBezTo>
                  <a:pt x="566777" y="72683"/>
                  <a:pt x="568582" y="66896"/>
                  <a:pt x="572193" y="62105"/>
                </a:cubicBezTo>
                <a:cubicBezTo>
                  <a:pt x="575865" y="57251"/>
                  <a:pt x="580783" y="53703"/>
                  <a:pt x="586946" y="51525"/>
                </a:cubicBezTo>
                <a:cubicBezTo>
                  <a:pt x="581965" y="49534"/>
                  <a:pt x="577982" y="46485"/>
                  <a:pt x="574994" y="42378"/>
                </a:cubicBezTo>
                <a:cubicBezTo>
                  <a:pt x="572130" y="38333"/>
                  <a:pt x="570699" y="33293"/>
                  <a:pt x="570699" y="27318"/>
                </a:cubicBezTo>
                <a:cubicBezTo>
                  <a:pt x="570699" y="21407"/>
                  <a:pt x="572068" y="16428"/>
                  <a:pt x="574870" y="12383"/>
                </a:cubicBezTo>
                <a:cubicBezTo>
                  <a:pt x="577671" y="8277"/>
                  <a:pt x="581468" y="5228"/>
                  <a:pt x="586386" y="3111"/>
                </a:cubicBezTo>
                <a:cubicBezTo>
                  <a:pt x="591240" y="996"/>
                  <a:pt x="596718" y="0"/>
                  <a:pt x="602819" y="0"/>
                </a:cubicBezTo>
                <a:cubicBezTo>
                  <a:pt x="608795" y="0"/>
                  <a:pt x="614148" y="996"/>
                  <a:pt x="618942" y="3111"/>
                </a:cubicBezTo>
                <a:cubicBezTo>
                  <a:pt x="623735" y="5103"/>
                  <a:pt x="627532" y="8090"/>
                  <a:pt x="630271" y="12073"/>
                </a:cubicBezTo>
                <a:cubicBezTo>
                  <a:pt x="633197" y="16055"/>
                  <a:pt x="634629" y="21033"/>
                  <a:pt x="634629" y="27008"/>
                </a:cubicBezTo>
                <a:cubicBezTo>
                  <a:pt x="634629" y="33106"/>
                  <a:pt x="633135" y="38146"/>
                  <a:pt x="630146" y="42253"/>
                </a:cubicBezTo>
                <a:cubicBezTo>
                  <a:pt x="627158" y="46298"/>
                  <a:pt x="623236" y="49410"/>
                  <a:pt x="618319" y="51525"/>
                </a:cubicBezTo>
                <a:cubicBezTo>
                  <a:pt x="624295" y="53579"/>
                  <a:pt x="629088" y="57001"/>
                  <a:pt x="632698" y="61669"/>
                </a:cubicBezTo>
                <a:cubicBezTo>
                  <a:pt x="636371" y="66336"/>
                  <a:pt x="638239" y="72186"/>
                  <a:pt x="638239" y="79155"/>
                </a:cubicBezTo>
                <a:cubicBezTo>
                  <a:pt x="638239" y="85502"/>
                  <a:pt x="636682" y="91040"/>
                  <a:pt x="633570" y="95707"/>
                </a:cubicBezTo>
                <a:cubicBezTo>
                  <a:pt x="630520" y="100312"/>
                  <a:pt x="626287" y="103797"/>
                  <a:pt x="620871" y="106287"/>
                </a:cubicBezTo>
                <a:cubicBezTo>
                  <a:pt x="615580" y="108714"/>
                  <a:pt x="609604" y="109896"/>
                  <a:pt x="602819" y="109896"/>
                </a:cubicBezTo>
                <a:close/>
                <a:moveTo>
                  <a:pt x="602819" y="46111"/>
                </a:moveTo>
                <a:cubicBezTo>
                  <a:pt x="608110" y="46111"/>
                  <a:pt x="612405" y="44618"/>
                  <a:pt x="615829" y="41631"/>
                </a:cubicBezTo>
                <a:cubicBezTo>
                  <a:pt x="619315" y="38582"/>
                  <a:pt x="621058" y="34350"/>
                  <a:pt x="621058" y="28936"/>
                </a:cubicBezTo>
                <a:cubicBezTo>
                  <a:pt x="621058" y="23585"/>
                  <a:pt x="619315" y="19415"/>
                  <a:pt x="615829" y="16428"/>
                </a:cubicBezTo>
                <a:cubicBezTo>
                  <a:pt x="612405" y="13317"/>
                  <a:pt x="608110" y="11761"/>
                  <a:pt x="602819" y="11761"/>
                </a:cubicBezTo>
                <a:cubicBezTo>
                  <a:pt x="597528" y="11761"/>
                  <a:pt x="593108" y="13317"/>
                  <a:pt x="589498" y="16428"/>
                </a:cubicBezTo>
                <a:cubicBezTo>
                  <a:pt x="586012" y="19415"/>
                  <a:pt x="584269" y="23585"/>
                  <a:pt x="584269" y="28936"/>
                </a:cubicBezTo>
                <a:cubicBezTo>
                  <a:pt x="584269" y="34350"/>
                  <a:pt x="586012" y="38582"/>
                  <a:pt x="589498" y="41631"/>
                </a:cubicBezTo>
                <a:cubicBezTo>
                  <a:pt x="593108" y="44618"/>
                  <a:pt x="597528" y="46111"/>
                  <a:pt x="602819" y="46111"/>
                </a:cubicBezTo>
                <a:close/>
                <a:moveTo>
                  <a:pt x="602819" y="98072"/>
                </a:moveTo>
                <a:cubicBezTo>
                  <a:pt x="608982" y="98072"/>
                  <a:pt x="614086" y="96330"/>
                  <a:pt x="618195" y="92721"/>
                </a:cubicBezTo>
                <a:cubicBezTo>
                  <a:pt x="622365" y="89049"/>
                  <a:pt x="624482" y="83885"/>
                  <a:pt x="624482" y="77350"/>
                </a:cubicBezTo>
                <a:cubicBezTo>
                  <a:pt x="624482" y="70754"/>
                  <a:pt x="622365" y="65714"/>
                  <a:pt x="618195" y="62105"/>
                </a:cubicBezTo>
                <a:cubicBezTo>
                  <a:pt x="614086" y="58433"/>
                  <a:pt x="608982" y="56566"/>
                  <a:pt x="602819" y="56566"/>
                </a:cubicBezTo>
                <a:cubicBezTo>
                  <a:pt x="596408" y="56566"/>
                  <a:pt x="591117" y="58433"/>
                  <a:pt x="586821" y="62105"/>
                </a:cubicBezTo>
                <a:cubicBezTo>
                  <a:pt x="582651" y="65714"/>
                  <a:pt x="580534" y="70754"/>
                  <a:pt x="580534" y="77350"/>
                </a:cubicBezTo>
                <a:cubicBezTo>
                  <a:pt x="580534" y="83885"/>
                  <a:pt x="582651" y="89049"/>
                  <a:pt x="586821" y="92721"/>
                </a:cubicBezTo>
                <a:cubicBezTo>
                  <a:pt x="591117" y="96330"/>
                  <a:pt x="596408" y="98072"/>
                  <a:pt x="602819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6" name="Полилиния 1725">
            <a:extLst>
              <a:ext uri="{FF2B5EF4-FFF2-40B4-BE49-F238E27FC236}">
                <a16:creationId xmlns:a16="http://schemas.microsoft.com/office/drawing/2014/main" id="{448D1A2E-C7CC-8D24-37D4-7FC21A6EEE1C}"/>
              </a:ext>
            </a:extLst>
          </p:cNvPr>
          <p:cNvSpPr/>
          <p:nvPr/>
        </p:nvSpPr>
        <p:spPr>
          <a:xfrm>
            <a:off x="1444111" y="11036595"/>
            <a:ext cx="2556000" cy="726227"/>
          </a:xfrm>
          <a:custGeom>
            <a:avLst/>
            <a:gdLst>
              <a:gd name="connsiteX0" fmla="*/ 1488 w 2191162"/>
              <a:gd name="connsiteY0" fmla="*/ 1822 h 622284"/>
              <a:gd name="connsiteX1" fmla="*/ 2192651 w 2191162"/>
              <a:gd name="connsiteY1" fmla="*/ 1822 h 622284"/>
              <a:gd name="connsiteX2" fmla="*/ 2192651 w 2191162"/>
              <a:gd name="connsiteY2" fmla="*/ 624106 h 622284"/>
              <a:gd name="connsiteX3" fmla="*/ 1488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822"/>
                </a:moveTo>
                <a:lnTo>
                  <a:pt x="2192651" y="1822"/>
                </a:lnTo>
                <a:lnTo>
                  <a:pt x="2192651" y="624106"/>
                </a:lnTo>
                <a:lnTo>
                  <a:pt x="1488" y="624106"/>
                </a:lnTo>
                <a:close/>
              </a:path>
            </a:pathLst>
          </a:custGeom>
          <a:solidFill>
            <a:srgbClr val="D8DEE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7" name="Полилиния 1726">
            <a:extLst>
              <a:ext uri="{FF2B5EF4-FFF2-40B4-BE49-F238E27FC236}">
                <a16:creationId xmlns:a16="http://schemas.microsoft.com/office/drawing/2014/main" id="{342CCD67-1676-30E6-1F73-F5693392AF28}"/>
              </a:ext>
            </a:extLst>
          </p:cNvPr>
          <p:cNvSpPr/>
          <p:nvPr/>
        </p:nvSpPr>
        <p:spPr>
          <a:xfrm>
            <a:off x="1578549" y="11338301"/>
            <a:ext cx="782144" cy="128794"/>
          </a:xfrm>
          <a:custGeom>
            <a:avLst/>
            <a:gdLst>
              <a:gd name="connsiteX0" fmla="*/ 22099 w 667371"/>
              <a:gd name="connsiteY0" fmla="*/ 108402 h 109895"/>
              <a:gd name="connsiteX1" fmla="*/ 10147 w 667371"/>
              <a:gd name="connsiteY1" fmla="*/ 108402 h 109895"/>
              <a:gd name="connsiteX2" fmla="*/ 16434 w 667371"/>
              <a:gd name="connsiteY2" fmla="*/ 77475 h 109895"/>
              <a:gd name="connsiteX3" fmla="*/ 0 w 667371"/>
              <a:gd name="connsiteY3" fmla="*/ 77475 h 109895"/>
              <a:gd name="connsiteX4" fmla="*/ 0 w 667371"/>
              <a:gd name="connsiteY4" fmla="*/ 67020 h 109895"/>
              <a:gd name="connsiteX5" fmla="*/ 18675 w 667371"/>
              <a:gd name="connsiteY5" fmla="*/ 67020 h 109895"/>
              <a:gd name="connsiteX6" fmla="*/ 24215 w 667371"/>
              <a:gd name="connsiteY6" fmla="*/ 39826 h 109895"/>
              <a:gd name="connsiteX7" fmla="*/ 4046 w 667371"/>
              <a:gd name="connsiteY7" fmla="*/ 39826 h 109895"/>
              <a:gd name="connsiteX8" fmla="*/ 4046 w 667371"/>
              <a:gd name="connsiteY8" fmla="*/ 29372 h 109895"/>
              <a:gd name="connsiteX9" fmla="*/ 26270 w 667371"/>
              <a:gd name="connsiteY9" fmla="*/ 29372 h 109895"/>
              <a:gd name="connsiteX10" fmla="*/ 32121 w 667371"/>
              <a:gd name="connsiteY10" fmla="*/ 1307 h 109895"/>
              <a:gd name="connsiteX11" fmla="*/ 44073 w 667371"/>
              <a:gd name="connsiteY11" fmla="*/ 1307 h 109895"/>
              <a:gd name="connsiteX12" fmla="*/ 38221 w 667371"/>
              <a:gd name="connsiteY12" fmla="*/ 29372 h 109895"/>
              <a:gd name="connsiteX13" fmla="*/ 60630 w 667371"/>
              <a:gd name="connsiteY13" fmla="*/ 29372 h 109895"/>
              <a:gd name="connsiteX14" fmla="*/ 66482 w 667371"/>
              <a:gd name="connsiteY14" fmla="*/ 1307 h 109895"/>
              <a:gd name="connsiteX15" fmla="*/ 78434 w 667371"/>
              <a:gd name="connsiteY15" fmla="*/ 1307 h 109895"/>
              <a:gd name="connsiteX16" fmla="*/ 72582 w 667371"/>
              <a:gd name="connsiteY16" fmla="*/ 29372 h 109895"/>
              <a:gd name="connsiteX17" fmla="*/ 89328 w 667371"/>
              <a:gd name="connsiteY17" fmla="*/ 29372 h 109895"/>
              <a:gd name="connsiteX18" fmla="*/ 89328 w 667371"/>
              <a:gd name="connsiteY18" fmla="*/ 39826 h 109895"/>
              <a:gd name="connsiteX19" fmla="*/ 70529 w 667371"/>
              <a:gd name="connsiteY19" fmla="*/ 39826 h 109895"/>
              <a:gd name="connsiteX20" fmla="*/ 64988 w 667371"/>
              <a:gd name="connsiteY20" fmla="*/ 67020 h 109895"/>
              <a:gd name="connsiteX21" fmla="*/ 85282 w 667371"/>
              <a:gd name="connsiteY21" fmla="*/ 67020 h 109895"/>
              <a:gd name="connsiteX22" fmla="*/ 85282 w 667371"/>
              <a:gd name="connsiteY22" fmla="*/ 77475 h 109895"/>
              <a:gd name="connsiteX23" fmla="*/ 62747 w 667371"/>
              <a:gd name="connsiteY23" fmla="*/ 77475 h 109895"/>
              <a:gd name="connsiteX24" fmla="*/ 56460 w 667371"/>
              <a:gd name="connsiteY24" fmla="*/ 108402 h 109895"/>
              <a:gd name="connsiteX25" fmla="*/ 44508 w 667371"/>
              <a:gd name="connsiteY25" fmla="*/ 108402 h 109895"/>
              <a:gd name="connsiteX26" fmla="*/ 50795 w 667371"/>
              <a:gd name="connsiteY26" fmla="*/ 77475 h 109895"/>
              <a:gd name="connsiteX27" fmla="*/ 28386 w 667371"/>
              <a:gd name="connsiteY27" fmla="*/ 77475 h 109895"/>
              <a:gd name="connsiteX28" fmla="*/ 22099 w 667371"/>
              <a:gd name="connsiteY28" fmla="*/ 108402 h 109895"/>
              <a:gd name="connsiteX29" fmla="*/ 30627 w 667371"/>
              <a:gd name="connsiteY29" fmla="*/ 67020 h 109895"/>
              <a:gd name="connsiteX30" fmla="*/ 53036 w 667371"/>
              <a:gd name="connsiteY30" fmla="*/ 67020 h 109895"/>
              <a:gd name="connsiteX31" fmla="*/ 58576 w 667371"/>
              <a:gd name="connsiteY31" fmla="*/ 39826 h 109895"/>
              <a:gd name="connsiteX32" fmla="*/ 36167 w 667371"/>
              <a:gd name="connsiteY32" fmla="*/ 39826 h 109895"/>
              <a:gd name="connsiteX33" fmla="*/ 30627 w 667371"/>
              <a:gd name="connsiteY33" fmla="*/ 67020 h 109895"/>
              <a:gd name="connsiteX34" fmla="*/ 107816 w 667371"/>
              <a:gd name="connsiteY34" fmla="*/ 1307 h 109895"/>
              <a:gd name="connsiteX35" fmla="*/ 143857 w 667371"/>
              <a:gd name="connsiteY35" fmla="*/ 1307 h 109895"/>
              <a:gd name="connsiteX36" fmla="*/ 163840 w 667371"/>
              <a:gd name="connsiteY36" fmla="*/ 3858 h 109895"/>
              <a:gd name="connsiteX37" fmla="*/ 179962 w 667371"/>
              <a:gd name="connsiteY37" fmla="*/ 12197 h 109895"/>
              <a:gd name="connsiteX38" fmla="*/ 190731 w 667371"/>
              <a:gd name="connsiteY38" fmla="*/ 27443 h 109895"/>
              <a:gd name="connsiteX39" fmla="*/ 194653 w 667371"/>
              <a:gd name="connsiteY39" fmla="*/ 51215 h 109895"/>
              <a:gd name="connsiteX40" fmla="*/ 187743 w 667371"/>
              <a:gd name="connsiteY40" fmla="*/ 82889 h 109895"/>
              <a:gd name="connsiteX41" fmla="*/ 169255 w 667371"/>
              <a:gd name="connsiteY41" fmla="*/ 101992 h 109895"/>
              <a:gd name="connsiteX42" fmla="*/ 142177 w 667371"/>
              <a:gd name="connsiteY42" fmla="*/ 108402 h 109895"/>
              <a:gd name="connsiteX43" fmla="*/ 107816 w 667371"/>
              <a:gd name="connsiteY43" fmla="*/ 108402 h 109895"/>
              <a:gd name="connsiteX44" fmla="*/ 107816 w 667371"/>
              <a:gd name="connsiteY44" fmla="*/ 1307 h 109895"/>
              <a:gd name="connsiteX45" fmla="*/ 142177 w 667371"/>
              <a:gd name="connsiteY45" fmla="*/ 95707 h 109895"/>
              <a:gd name="connsiteX46" fmla="*/ 161599 w 667371"/>
              <a:gd name="connsiteY46" fmla="*/ 91227 h 109895"/>
              <a:gd name="connsiteX47" fmla="*/ 174609 w 667371"/>
              <a:gd name="connsiteY47" fmla="*/ 77039 h 109895"/>
              <a:gd name="connsiteX48" fmla="*/ 179402 w 667371"/>
              <a:gd name="connsiteY48" fmla="*/ 52272 h 109895"/>
              <a:gd name="connsiteX49" fmla="*/ 174733 w 667371"/>
              <a:gd name="connsiteY49" fmla="*/ 28936 h 109895"/>
              <a:gd name="connsiteX50" fmla="*/ 162034 w 667371"/>
              <a:gd name="connsiteY50" fmla="*/ 17424 h 109895"/>
              <a:gd name="connsiteX51" fmla="*/ 143857 w 667371"/>
              <a:gd name="connsiteY51" fmla="*/ 14188 h 109895"/>
              <a:gd name="connsiteX52" fmla="*/ 121884 w 667371"/>
              <a:gd name="connsiteY52" fmla="*/ 14188 h 109895"/>
              <a:gd name="connsiteX53" fmla="*/ 121884 w 667371"/>
              <a:gd name="connsiteY53" fmla="*/ 95707 h 109895"/>
              <a:gd name="connsiteX54" fmla="*/ 142177 w 667371"/>
              <a:gd name="connsiteY54" fmla="*/ 95707 h 109895"/>
              <a:gd name="connsiteX55" fmla="*/ 242273 w 667371"/>
              <a:gd name="connsiteY55" fmla="*/ 109896 h 109895"/>
              <a:gd name="connsiteX56" fmla="*/ 223599 w 667371"/>
              <a:gd name="connsiteY56" fmla="*/ 106287 h 109895"/>
              <a:gd name="connsiteX57" fmla="*/ 210899 w 667371"/>
              <a:gd name="connsiteY57" fmla="*/ 96019 h 109895"/>
              <a:gd name="connsiteX58" fmla="*/ 206293 w 667371"/>
              <a:gd name="connsiteY58" fmla="*/ 79590 h 109895"/>
              <a:gd name="connsiteX59" fmla="*/ 211646 w 667371"/>
              <a:gd name="connsiteY59" fmla="*/ 62105 h 109895"/>
              <a:gd name="connsiteX60" fmla="*/ 226462 w 667371"/>
              <a:gd name="connsiteY60" fmla="*/ 51525 h 109895"/>
              <a:gd name="connsiteX61" fmla="*/ 214510 w 667371"/>
              <a:gd name="connsiteY61" fmla="*/ 42378 h 109895"/>
              <a:gd name="connsiteX62" fmla="*/ 210153 w 667371"/>
              <a:gd name="connsiteY62" fmla="*/ 27318 h 109895"/>
              <a:gd name="connsiteX63" fmla="*/ 214323 w 667371"/>
              <a:gd name="connsiteY63" fmla="*/ 12383 h 109895"/>
              <a:gd name="connsiteX64" fmla="*/ 225839 w 667371"/>
              <a:gd name="connsiteY64" fmla="*/ 3111 h 109895"/>
              <a:gd name="connsiteX65" fmla="*/ 242273 w 667371"/>
              <a:gd name="connsiteY65" fmla="*/ 0 h 109895"/>
              <a:gd name="connsiteX66" fmla="*/ 258395 w 667371"/>
              <a:gd name="connsiteY66" fmla="*/ 3111 h 109895"/>
              <a:gd name="connsiteX67" fmla="*/ 269788 w 667371"/>
              <a:gd name="connsiteY67" fmla="*/ 12073 h 109895"/>
              <a:gd name="connsiteX68" fmla="*/ 274082 w 667371"/>
              <a:gd name="connsiteY68" fmla="*/ 27008 h 109895"/>
              <a:gd name="connsiteX69" fmla="*/ 269601 w 667371"/>
              <a:gd name="connsiteY69" fmla="*/ 42253 h 109895"/>
              <a:gd name="connsiteX70" fmla="*/ 257835 w 667371"/>
              <a:gd name="connsiteY70" fmla="*/ 51525 h 109895"/>
              <a:gd name="connsiteX71" fmla="*/ 272153 w 667371"/>
              <a:gd name="connsiteY71" fmla="*/ 61669 h 109895"/>
              <a:gd name="connsiteX72" fmla="*/ 277692 w 667371"/>
              <a:gd name="connsiteY72" fmla="*/ 79155 h 109895"/>
              <a:gd name="connsiteX73" fmla="*/ 273086 w 667371"/>
              <a:gd name="connsiteY73" fmla="*/ 95707 h 109895"/>
              <a:gd name="connsiteX74" fmla="*/ 260388 w 667371"/>
              <a:gd name="connsiteY74" fmla="*/ 106287 h 109895"/>
              <a:gd name="connsiteX75" fmla="*/ 242273 w 667371"/>
              <a:gd name="connsiteY75" fmla="*/ 109896 h 109895"/>
              <a:gd name="connsiteX76" fmla="*/ 242273 w 667371"/>
              <a:gd name="connsiteY76" fmla="*/ 46111 h 109895"/>
              <a:gd name="connsiteX77" fmla="*/ 255283 w 667371"/>
              <a:gd name="connsiteY77" fmla="*/ 41631 h 109895"/>
              <a:gd name="connsiteX78" fmla="*/ 260512 w 667371"/>
              <a:gd name="connsiteY78" fmla="*/ 28936 h 109895"/>
              <a:gd name="connsiteX79" fmla="*/ 255283 w 667371"/>
              <a:gd name="connsiteY79" fmla="*/ 16428 h 109895"/>
              <a:gd name="connsiteX80" fmla="*/ 242273 w 667371"/>
              <a:gd name="connsiteY80" fmla="*/ 11761 h 109895"/>
              <a:gd name="connsiteX81" fmla="*/ 229014 w 667371"/>
              <a:gd name="connsiteY81" fmla="*/ 16428 h 109895"/>
              <a:gd name="connsiteX82" fmla="*/ 223785 w 667371"/>
              <a:gd name="connsiteY82" fmla="*/ 28936 h 109895"/>
              <a:gd name="connsiteX83" fmla="*/ 229014 w 667371"/>
              <a:gd name="connsiteY83" fmla="*/ 41631 h 109895"/>
              <a:gd name="connsiteX84" fmla="*/ 242273 w 667371"/>
              <a:gd name="connsiteY84" fmla="*/ 46111 h 109895"/>
              <a:gd name="connsiteX85" fmla="*/ 242273 w 667371"/>
              <a:gd name="connsiteY85" fmla="*/ 98072 h 109895"/>
              <a:gd name="connsiteX86" fmla="*/ 257648 w 667371"/>
              <a:gd name="connsiteY86" fmla="*/ 92721 h 109895"/>
              <a:gd name="connsiteX87" fmla="*/ 263936 w 667371"/>
              <a:gd name="connsiteY87" fmla="*/ 77350 h 109895"/>
              <a:gd name="connsiteX88" fmla="*/ 257648 w 667371"/>
              <a:gd name="connsiteY88" fmla="*/ 62105 h 109895"/>
              <a:gd name="connsiteX89" fmla="*/ 242273 w 667371"/>
              <a:gd name="connsiteY89" fmla="*/ 56566 h 109895"/>
              <a:gd name="connsiteX90" fmla="*/ 226276 w 667371"/>
              <a:gd name="connsiteY90" fmla="*/ 62105 h 109895"/>
              <a:gd name="connsiteX91" fmla="*/ 220051 w 667371"/>
              <a:gd name="connsiteY91" fmla="*/ 77350 h 109895"/>
              <a:gd name="connsiteX92" fmla="*/ 226276 w 667371"/>
              <a:gd name="connsiteY92" fmla="*/ 92721 h 109895"/>
              <a:gd name="connsiteX93" fmla="*/ 242273 w 667371"/>
              <a:gd name="connsiteY93" fmla="*/ 98072 h 109895"/>
              <a:gd name="connsiteX94" fmla="*/ 295434 w 667371"/>
              <a:gd name="connsiteY94" fmla="*/ 1307 h 109895"/>
              <a:gd name="connsiteX95" fmla="*/ 331476 w 667371"/>
              <a:gd name="connsiteY95" fmla="*/ 1307 h 109895"/>
              <a:gd name="connsiteX96" fmla="*/ 351458 w 667371"/>
              <a:gd name="connsiteY96" fmla="*/ 3858 h 109895"/>
              <a:gd name="connsiteX97" fmla="*/ 367580 w 667371"/>
              <a:gd name="connsiteY97" fmla="*/ 12197 h 109895"/>
              <a:gd name="connsiteX98" fmla="*/ 378349 w 667371"/>
              <a:gd name="connsiteY98" fmla="*/ 27443 h 109895"/>
              <a:gd name="connsiteX99" fmla="*/ 382271 w 667371"/>
              <a:gd name="connsiteY99" fmla="*/ 51215 h 109895"/>
              <a:gd name="connsiteX100" fmla="*/ 375361 w 667371"/>
              <a:gd name="connsiteY100" fmla="*/ 82889 h 109895"/>
              <a:gd name="connsiteX101" fmla="*/ 356874 w 667371"/>
              <a:gd name="connsiteY101" fmla="*/ 101992 h 109895"/>
              <a:gd name="connsiteX102" fmla="*/ 329795 w 667371"/>
              <a:gd name="connsiteY102" fmla="*/ 108402 h 109895"/>
              <a:gd name="connsiteX103" fmla="*/ 295434 w 667371"/>
              <a:gd name="connsiteY103" fmla="*/ 108402 h 109895"/>
              <a:gd name="connsiteX104" fmla="*/ 295434 w 667371"/>
              <a:gd name="connsiteY104" fmla="*/ 1307 h 109895"/>
              <a:gd name="connsiteX105" fmla="*/ 329795 w 667371"/>
              <a:gd name="connsiteY105" fmla="*/ 95707 h 109895"/>
              <a:gd name="connsiteX106" fmla="*/ 349217 w 667371"/>
              <a:gd name="connsiteY106" fmla="*/ 91227 h 109895"/>
              <a:gd name="connsiteX107" fmla="*/ 362227 w 667371"/>
              <a:gd name="connsiteY107" fmla="*/ 77039 h 109895"/>
              <a:gd name="connsiteX108" fmla="*/ 367020 w 667371"/>
              <a:gd name="connsiteY108" fmla="*/ 52272 h 109895"/>
              <a:gd name="connsiteX109" fmla="*/ 362352 w 667371"/>
              <a:gd name="connsiteY109" fmla="*/ 28936 h 109895"/>
              <a:gd name="connsiteX110" fmla="*/ 349653 w 667371"/>
              <a:gd name="connsiteY110" fmla="*/ 17424 h 109895"/>
              <a:gd name="connsiteX111" fmla="*/ 331476 w 667371"/>
              <a:gd name="connsiteY111" fmla="*/ 14188 h 109895"/>
              <a:gd name="connsiteX112" fmla="*/ 309502 w 667371"/>
              <a:gd name="connsiteY112" fmla="*/ 14188 h 109895"/>
              <a:gd name="connsiteX113" fmla="*/ 309502 w 667371"/>
              <a:gd name="connsiteY113" fmla="*/ 95707 h 109895"/>
              <a:gd name="connsiteX114" fmla="*/ 329795 w 667371"/>
              <a:gd name="connsiteY114" fmla="*/ 95707 h 109895"/>
              <a:gd name="connsiteX115" fmla="*/ 400946 w 667371"/>
              <a:gd name="connsiteY115" fmla="*/ 1307 h 109895"/>
              <a:gd name="connsiteX116" fmla="*/ 467241 w 667371"/>
              <a:gd name="connsiteY116" fmla="*/ 1307 h 109895"/>
              <a:gd name="connsiteX117" fmla="*/ 467241 w 667371"/>
              <a:gd name="connsiteY117" fmla="*/ 14188 h 109895"/>
              <a:gd name="connsiteX118" fmla="*/ 414952 w 667371"/>
              <a:gd name="connsiteY118" fmla="*/ 14188 h 109895"/>
              <a:gd name="connsiteX119" fmla="*/ 414952 w 667371"/>
              <a:gd name="connsiteY119" fmla="*/ 46547 h 109895"/>
              <a:gd name="connsiteX120" fmla="*/ 459335 w 667371"/>
              <a:gd name="connsiteY120" fmla="*/ 46547 h 109895"/>
              <a:gd name="connsiteX121" fmla="*/ 459335 w 667371"/>
              <a:gd name="connsiteY121" fmla="*/ 59242 h 109895"/>
              <a:gd name="connsiteX122" fmla="*/ 414952 w 667371"/>
              <a:gd name="connsiteY122" fmla="*/ 59242 h 109895"/>
              <a:gd name="connsiteX123" fmla="*/ 414952 w 667371"/>
              <a:gd name="connsiteY123" fmla="*/ 95707 h 109895"/>
              <a:gd name="connsiteX124" fmla="*/ 467988 w 667371"/>
              <a:gd name="connsiteY124" fmla="*/ 95707 h 109895"/>
              <a:gd name="connsiteX125" fmla="*/ 467988 w 667371"/>
              <a:gd name="connsiteY125" fmla="*/ 108402 h 109895"/>
              <a:gd name="connsiteX126" fmla="*/ 400946 w 667371"/>
              <a:gd name="connsiteY126" fmla="*/ 108402 h 109895"/>
              <a:gd name="connsiteX127" fmla="*/ 400946 w 667371"/>
              <a:gd name="connsiteY127" fmla="*/ 1307 h 109895"/>
              <a:gd name="connsiteX128" fmla="*/ 490210 w 667371"/>
              <a:gd name="connsiteY128" fmla="*/ 1307 h 109895"/>
              <a:gd name="connsiteX129" fmla="*/ 556568 w 667371"/>
              <a:gd name="connsiteY129" fmla="*/ 1307 h 109895"/>
              <a:gd name="connsiteX130" fmla="*/ 556568 w 667371"/>
              <a:gd name="connsiteY130" fmla="*/ 14188 h 109895"/>
              <a:gd name="connsiteX131" fmla="*/ 504279 w 667371"/>
              <a:gd name="connsiteY131" fmla="*/ 14188 h 109895"/>
              <a:gd name="connsiteX132" fmla="*/ 504279 w 667371"/>
              <a:gd name="connsiteY132" fmla="*/ 46547 h 109895"/>
              <a:gd name="connsiteX133" fmla="*/ 548662 w 667371"/>
              <a:gd name="connsiteY133" fmla="*/ 46547 h 109895"/>
              <a:gd name="connsiteX134" fmla="*/ 548662 w 667371"/>
              <a:gd name="connsiteY134" fmla="*/ 59242 h 109895"/>
              <a:gd name="connsiteX135" fmla="*/ 504279 w 667371"/>
              <a:gd name="connsiteY135" fmla="*/ 59242 h 109895"/>
              <a:gd name="connsiteX136" fmla="*/ 504279 w 667371"/>
              <a:gd name="connsiteY136" fmla="*/ 95707 h 109895"/>
              <a:gd name="connsiteX137" fmla="*/ 557315 w 667371"/>
              <a:gd name="connsiteY137" fmla="*/ 95707 h 109895"/>
              <a:gd name="connsiteX138" fmla="*/ 557315 w 667371"/>
              <a:gd name="connsiteY138" fmla="*/ 108402 h 109895"/>
              <a:gd name="connsiteX139" fmla="*/ 490210 w 667371"/>
              <a:gd name="connsiteY139" fmla="*/ 108402 h 109895"/>
              <a:gd name="connsiteX140" fmla="*/ 490210 w 667371"/>
              <a:gd name="connsiteY140" fmla="*/ 1307 h 109895"/>
              <a:gd name="connsiteX141" fmla="*/ 667372 w 667371"/>
              <a:gd name="connsiteY141" fmla="*/ 108402 h 109895"/>
              <a:gd name="connsiteX142" fmla="*/ 652432 w 667371"/>
              <a:gd name="connsiteY142" fmla="*/ 108402 h 109895"/>
              <a:gd name="connsiteX143" fmla="*/ 641351 w 667371"/>
              <a:gd name="connsiteY143" fmla="*/ 77786 h 109895"/>
              <a:gd name="connsiteX144" fmla="*/ 593980 w 667371"/>
              <a:gd name="connsiteY144" fmla="*/ 77786 h 109895"/>
              <a:gd name="connsiteX145" fmla="*/ 583086 w 667371"/>
              <a:gd name="connsiteY145" fmla="*/ 108402 h 109895"/>
              <a:gd name="connsiteX146" fmla="*/ 569952 w 667371"/>
              <a:gd name="connsiteY146" fmla="*/ 108402 h 109895"/>
              <a:gd name="connsiteX147" fmla="*/ 608048 w 667371"/>
              <a:gd name="connsiteY147" fmla="*/ 1307 h 109895"/>
              <a:gd name="connsiteX148" fmla="*/ 628964 w 667371"/>
              <a:gd name="connsiteY148" fmla="*/ 1307 h 109895"/>
              <a:gd name="connsiteX149" fmla="*/ 667372 w 667371"/>
              <a:gd name="connsiteY149" fmla="*/ 108402 h 109895"/>
              <a:gd name="connsiteX150" fmla="*/ 598648 w 667371"/>
              <a:gd name="connsiteY150" fmla="*/ 65091 h 109895"/>
              <a:gd name="connsiteX151" fmla="*/ 636869 w 667371"/>
              <a:gd name="connsiteY151" fmla="*/ 65091 h 109895"/>
              <a:gd name="connsiteX152" fmla="*/ 617759 w 667371"/>
              <a:gd name="connsiteY152" fmla="*/ 11761 h 109895"/>
              <a:gd name="connsiteX153" fmla="*/ 598648 w 667371"/>
              <a:gd name="connsiteY153" fmla="*/ 65091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67371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43857" y="1307"/>
                </a:lnTo>
                <a:cubicBezTo>
                  <a:pt x="151016" y="1307"/>
                  <a:pt x="157677" y="2179"/>
                  <a:pt x="163840" y="3858"/>
                </a:cubicBezTo>
                <a:cubicBezTo>
                  <a:pt x="170002" y="5538"/>
                  <a:pt x="175418" y="8339"/>
                  <a:pt x="179962" y="12197"/>
                </a:cubicBezTo>
                <a:cubicBezTo>
                  <a:pt x="184568" y="15993"/>
                  <a:pt x="188178" y="21096"/>
                  <a:pt x="190731" y="27443"/>
                </a:cubicBezTo>
                <a:cubicBezTo>
                  <a:pt x="193346" y="33853"/>
                  <a:pt x="194653" y="41756"/>
                  <a:pt x="194653" y="51215"/>
                </a:cubicBezTo>
                <a:cubicBezTo>
                  <a:pt x="194653" y="63722"/>
                  <a:pt x="192349" y="74301"/>
                  <a:pt x="187743" y="82889"/>
                </a:cubicBezTo>
                <a:cubicBezTo>
                  <a:pt x="183261" y="91352"/>
                  <a:pt x="177099" y="97699"/>
                  <a:pt x="169255" y="101992"/>
                </a:cubicBezTo>
                <a:cubicBezTo>
                  <a:pt x="161350" y="106287"/>
                  <a:pt x="152324" y="108402"/>
                  <a:pt x="142177" y="108402"/>
                </a:cubicBez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42177" y="95707"/>
                </a:moveTo>
                <a:cubicBezTo>
                  <a:pt x="149584" y="95707"/>
                  <a:pt x="156059" y="94214"/>
                  <a:pt x="161599" y="91227"/>
                </a:cubicBezTo>
                <a:cubicBezTo>
                  <a:pt x="167201" y="88116"/>
                  <a:pt x="171496" y="83386"/>
                  <a:pt x="174609" y="77039"/>
                </a:cubicBezTo>
                <a:cubicBezTo>
                  <a:pt x="177783" y="70568"/>
                  <a:pt x="179402" y="62291"/>
                  <a:pt x="179402" y="52272"/>
                </a:cubicBezTo>
                <a:cubicBezTo>
                  <a:pt x="179402" y="42191"/>
                  <a:pt x="177846" y="34413"/>
                  <a:pt x="174733" y="28936"/>
                </a:cubicBezTo>
                <a:cubicBezTo>
                  <a:pt x="171683" y="23460"/>
                  <a:pt x="167450" y="19664"/>
                  <a:pt x="162034" y="17424"/>
                </a:cubicBezTo>
                <a:cubicBezTo>
                  <a:pt x="156806" y="15246"/>
                  <a:pt x="150705" y="14188"/>
                  <a:pt x="143857" y="14188"/>
                </a:cubicBezTo>
                <a:lnTo>
                  <a:pt x="121884" y="14188"/>
                </a:lnTo>
                <a:lnTo>
                  <a:pt x="121884" y="95707"/>
                </a:lnTo>
                <a:lnTo>
                  <a:pt x="142177" y="95707"/>
                </a:lnTo>
                <a:close/>
                <a:moveTo>
                  <a:pt x="242273" y="109896"/>
                </a:moveTo>
                <a:cubicBezTo>
                  <a:pt x="235301" y="109896"/>
                  <a:pt x="229076" y="108714"/>
                  <a:pt x="223599" y="106287"/>
                </a:cubicBezTo>
                <a:cubicBezTo>
                  <a:pt x="218245" y="103922"/>
                  <a:pt x="214012" y="100499"/>
                  <a:pt x="210899" y="96019"/>
                </a:cubicBezTo>
                <a:cubicBezTo>
                  <a:pt x="207849" y="91414"/>
                  <a:pt x="206293" y="85938"/>
                  <a:pt x="206293" y="79590"/>
                </a:cubicBezTo>
                <a:cubicBezTo>
                  <a:pt x="206293" y="72683"/>
                  <a:pt x="208099" y="66896"/>
                  <a:pt x="211646" y="62105"/>
                </a:cubicBezTo>
                <a:cubicBezTo>
                  <a:pt x="215320" y="57251"/>
                  <a:pt x="220299" y="53703"/>
                  <a:pt x="226462" y="51525"/>
                </a:cubicBezTo>
                <a:cubicBezTo>
                  <a:pt x="221482" y="49534"/>
                  <a:pt x="217498" y="46485"/>
                  <a:pt x="214510" y="42378"/>
                </a:cubicBezTo>
                <a:cubicBezTo>
                  <a:pt x="211584" y="38333"/>
                  <a:pt x="210153" y="33293"/>
                  <a:pt x="210153" y="27318"/>
                </a:cubicBezTo>
                <a:cubicBezTo>
                  <a:pt x="210153" y="21407"/>
                  <a:pt x="211584" y="16428"/>
                  <a:pt x="214323" y="12383"/>
                </a:cubicBezTo>
                <a:cubicBezTo>
                  <a:pt x="217124" y="8277"/>
                  <a:pt x="220984" y="5228"/>
                  <a:pt x="225839" y="3111"/>
                </a:cubicBezTo>
                <a:cubicBezTo>
                  <a:pt x="230757" y="996"/>
                  <a:pt x="236235" y="0"/>
                  <a:pt x="242273" y="0"/>
                </a:cubicBezTo>
                <a:cubicBezTo>
                  <a:pt x="248249" y="0"/>
                  <a:pt x="253664" y="996"/>
                  <a:pt x="258395" y="3111"/>
                </a:cubicBezTo>
                <a:cubicBezTo>
                  <a:pt x="263189" y="5103"/>
                  <a:pt x="266986" y="8090"/>
                  <a:pt x="269788" y="12073"/>
                </a:cubicBezTo>
                <a:cubicBezTo>
                  <a:pt x="272651" y="16055"/>
                  <a:pt x="274082" y="21033"/>
                  <a:pt x="274082" y="27008"/>
                </a:cubicBezTo>
                <a:cubicBezTo>
                  <a:pt x="274082" y="33106"/>
                  <a:pt x="272588" y="38146"/>
                  <a:pt x="269601" y="42253"/>
                </a:cubicBezTo>
                <a:cubicBezTo>
                  <a:pt x="266613" y="46298"/>
                  <a:pt x="262691" y="49410"/>
                  <a:pt x="257835" y="51525"/>
                </a:cubicBezTo>
                <a:cubicBezTo>
                  <a:pt x="263811" y="53579"/>
                  <a:pt x="268604" y="57001"/>
                  <a:pt x="272153" y="61669"/>
                </a:cubicBezTo>
                <a:cubicBezTo>
                  <a:pt x="275825" y="66336"/>
                  <a:pt x="277692" y="72186"/>
                  <a:pt x="277692" y="79155"/>
                </a:cubicBezTo>
                <a:cubicBezTo>
                  <a:pt x="277692" y="85502"/>
                  <a:pt x="276136" y="91040"/>
                  <a:pt x="273086" y="95707"/>
                </a:cubicBezTo>
                <a:cubicBezTo>
                  <a:pt x="269974" y="100312"/>
                  <a:pt x="265741" y="103797"/>
                  <a:pt x="260388" y="106287"/>
                </a:cubicBezTo>
                <a:cubicBezTo>
                  <a:pt x="255096" y="108714"/>
                  <a:pt x="249058" y="109896"/>
                  <a:pt x="242273" y="109896"/>
                </a:cubicBezTo>
                <a:close/>
                <a:moveTo>
                  <a:pt x="242273" y="46111"/>
                </a:moveTo>
                <a:cubicBezTo>
                  <a:pt x="247564" y="46111"/>
                  <a:pt x="251922" y="44618"/>
                  <a:pt x="255283" y="41631"/>
                </a:cubicBezTo>
                <a:cubicBezTo>
                  <a:pt x="258769" y="38582"/>
                  <a:pt x="260512" y="34350"/>
                  <a:pt x="260512" y="28936"/>
                </a:cubicBezTo>
                <a:cubicBezTo>
                  <a:pt x="260512" y="23585"/>
                  <a:pt x="258769" y="19415"/>
                  <a:pt x="255283" y="16428"/>
                </a:cubicBezTo>
                <a:cubicBezTo>
                  <a:pt x="251922" y="13317"/>
                  <a:pt x="247564" y="11761"/>
                  <a:pt x="242273" y="11761"/>
                </a:cubicBezTo>
                <a:cubicBezTo>
                  <a:pt x="236982" y="11761"/>
                  <a:pt x="232562" y="13317"/>
                  <a:pt x="229014" y="16428"/>
                </a:cubicBezTo>
                <a:cubicBezTo>
                  <a:pt x="225528" y="19415"/>
                  <a:pt x="223785" y="23585"/>
                  <a:pt x="223785" y="28936"/>
                </a:cubicBezTo>
                <a:cubicBezTo>
                  <a:pt x="223785" y="34350"/>
                  <a:pt x="225528" y="38582"/>
                  <a:pt x="229014" y="41631"/>
                </a:cubicBezTo>
                <a:cubicBezTo>
                  <a:pt x="232562" y="44618"/>
                  <a:pt x="236982" y="46111"/>
                  <a:pt x="242273" y="46111"/>
                </a:cubicBezTo>
                <a:close/>
                <a:moveTo>
                  <a:pt x="242273" y="98072"/>
                </a:moveTo>
                <a:cubicBezTo>
                  <a:pt x="248436" y="98072"/>
                  <a:pt x="253602" y="96330"/>
                  <a:pt x="257648" y="92721"/>
                </a:cubicBezTo>
                <a:cubicBezTo>
                  <a:pt x="261882" y="89049"/>
                  <a:pt x="263936" y="83885"/>
                  <a:pt x="263936" y="77350"/>
                </a:cubicBezTo>
                <a:cubicBezTo>
                  <a:pt x="263936" y="70754"/>
                  <a:pt x="261882" y="65714"/>
                  <a:pt x="257648" y="62105"/>
                </a:cubicBezTo>
                <a:cubicBezTo>
                  <a:pt x="253602" y="58433"/>
                  <a:pt x="248436" y="56566"/>
                  <a:pt x="242273" y="56566"/>
                </a:cubicBezTo>
                <a:cubicBezTo>
                  <a:pt x="235924" y="56566"/>
                  <a:pt x="230570" y="58433"/>
                  <a:pt x="226276" y="62105"/>
                </a:cubicBezTo>
                <a:cubicBezTo>
                  <a:pt x="222105" y="65714"/>
                  <a:pt x="220051" y="70754"/>
                  <a:pt x="220051" y="77350"/>
                </a:cubicBezTo>
                <a:cubicBezTo>
                  <a:pt x="220051" y="83885"/>
                  <a:pt x="222105" y="89049"/>
                  <a:pt x="226276" y="92721"/>
                </a:cubicBezTo>
                <a:cubicBezTo>
                  <a:pt x="230570" y="96330"/>
                  <a:pt x="235924" y="98072"/>
                  <a:pt x="242273" y="98072"/>
                </a:cubicBezTo>
                <a:close/>
                <a:moveTo>
                  <a:pt x="295434" y="1307"/>
                </a:moveTo>
                <a:lnTo>
                  <a:pt x="331476" y="1307"/>
                </a:lnTo>
                <a:cubicBezTo>
                  <a:pt x="338634" y="1307"/>
                  <a:pt x="345296" y="2179"/>
                  <a:pt x="351458" y="3858"/>
                </a:cubicBezTo>
                <a:cubicBezTo>
                  <a:pt x="357621" y="5538"/>
                  <a:pt x="363036" y="8339"/>
                  <a:pt x="367580" y="12197"/>
                </a:cubicBezTo>
                <a:cubicBezTo>
                  <a:pt x="372187" y="15993"/>
                  <a:pt x="375797" y="21096"/>
                  <a:pt x="378349" y="27443"/>
                </a:cubicBezTo>
                <a:cubicBezTo>
                  <a:pt x="380964" y="33853"/>
                  <a:pt x="382271" y="41756"/>
                  <a:pt x="382271" y="51215"/>
                </a:cubicBezTo>
                <a:cubicBezTo>
                  <a:pt x="382271" y="63722"/>
                  <a:pt x="379968" y="74301"/>
                  <a:pt x="375361" y="82889"/>
                </a:cubicBezTo>
                <a:cubicBezTo>
                  <a:pt x="370880" y="91352"/>
                  <a:pt x="364717" y="97699"/>
                  <a:pt x="356874" y="101992"/>
                </a:cubicBezTo>
                <a:cubicBezTo>
                  <a:pt x="348968" y="106287"/>
                  <a:pt x="339941" y="108402"/>
                  <a:pt x="329795" y="108402"/>
                </a:cubicBezTo>
                <a:lnTo>
                  <a:pt x="295434" y="108402"/>
                </a:lnTo>
                <a:lnTo>
                  <a:pt x="295434" y="1307"/>
                </a:lnTo>
                <a:close/>
                <a:moveTo>
                  <a:pt x="329795" y="95707"/>
                </a:moveTo>
                <a:cubicBezTo>
                  <a:pt x="337203" y="95707"/>
                  <a:pt x="343677" y="94214"/>
                  <a:pt x="349217" y="91227"/>
                </a:cubicBezTo>
                <a:cubicBezTo>
                  <a:pt x="354819" y="88116"/>
                  <a:pt x="359115" y="83386"/>
                  <a:pt x="362227" y="77039"/>
                </a:cubicBezTo>
                <a:cubicBezTo>
                  <a:pt x="365402" y="70568"/>
                  <a:pt x="367020" y="62291"/>
                  <a:pt x="367020" y="52272"/>
                </a:cubicBezTo>
                <a:cubicBezTo>
                  <a:pt x="367020" y="42191"/>
                  <a:pt x="365464" y="34413"/>
                  <a:pt x="362352" y="28936"/>
                </a:cubicBezTo>
                <a:cubicBezTo>
                  <a:pt x="359302" y="23460"/>
                  <a:pt x="355068" y="19664"/>
                  <a:pt x="349653" y="17424"/>
                </a:cubicBezTo>
                <a:cubicBezTo>
                  <a:pt x="344424" y="15246"/>
                  <a:pt x="338324" y="14188"/>
                  <a:pt x="331476" y="14188"/>
                </a:cubicBezTo>
                <a:lnTo>
                  <a:pt x="309502" y="14188"/>
                </a:lnTo>
                <a:lnTo>
                  <a:pt x="309502" y="95707"/>
                </a:lnTo>
                <a:lnTo>
                  <a:pt x="329795" y="95707"/>
                </a:lnTo>
                <a:close/>
                <a:moveTo>
                  <a:pt x="400946" y="1307"/>
                </a:moveTo>
                <a:lnTo>
                  <a:pt x="467241" y="1307"/>
                </a:lnTo>
                <a:lnTo>
                  <a:pt x="467241" y="14188"/>
                </a:lnTo>
                <a:lnTo>
                  <a:pt x="414952" y="14188"/>
                </a:lnTo>
                <a:lnTo>
                  <a:pt x="414952" y="46547"/>
                </a:lnTo>
                <a:lnTo>
                  <a:pt x="459335" y="46547"/>
                </a:lnTo>
                <a:lnTo>
                  <a:pt x="459335" y="59242"/>
                </a:lnTo>
                <a:lnTo>
                  <a:pt x="414952" y="59242"/>
                </a:lnTo>
                <a:lnTo>
                  <a:pt x="414952" y="95707"/>
                </a:lnTo>
                <a:lnTo>
                  <a:pt x="467988" y="95707"/>
                </a:lnTo>
                <a:lnTo>
                  <a:pt x="467988" y="108402"/>
                </a:lnTo>
                <a:lnTo>
                  <a:pt x="400946" y="108402"/>
                </a:lnTo>
                <a:lnTo>
                  <a:pt x="400946" y="1307"/>
                </a:lnTo>
                <a:close/>
                <a:moveTo>
                  <a:pt x="490210" y="1307"/>
                </a:moveTo>
                <a:lnTo>
                  <a:pt x="556568" y="1307"/>
                </a:lnTo>
                <a:lnTo>
                  <a:pt x="556568" y="14188"/>
                </a:lnTo>
                <a:lnTo>
                  <a:pt x="504279" y="14188"/>
                </a:lnTo>
                <a:lnTo>
                  <a:pt x="504279" y="46547"/>
                </a:lnTo>
                <a:lnTo>
                  <a:pt x="548662" y="46547"/>
                </a:lnTo>
                <a:lnTo>
                  <a:pt x="548662" y="59242"/>
                </a:lnTo>
                <a:lnTo>
                  <a:pt x="504279" y="59242"/>
                </a:lnTo>
                <a:lnTo>
                  <a:pt x="504279" y="95707"/>
                </a:lnTo>
                <a:lnTo>
                  <a:pt x="557315" y="95707"/>
                </a:lnTo>
                <a:lnTo>
                  <a:pt x="557315" y="108402"/>
                </a:lnTo>
                <a:lnTo>
                  <a:pt x="490210" y="108402"/>
                </a:lnTo>
                <a:lnTo>
                  <a:pt x="490210" y="1307"/>
                </a:lnTo>
                <a:close/>
                <a:moveTo>
                  <a:pt x="667372" y="108402"/>
                </a:moveTo>
                <a:lnTo>
                  <a:pt x="652432" y="108402"/>
                </a:lnTo>
                <a:lnTo>
                  <a:pt x="641351" y="77786"/>
                </a:lnTo>
                <a:lnTo>
                  <a:pt x="593980" y="77786"/>
                </a:lnTo>
                <a:lnTo>
                  <a:pt x="583086" y="108402"/>
                </a:lnTo>
                <a:lnTo>
                  <a:pt x="569952" y="108402"/>
                </a:lnTo>
                <a:lnTo>
                  <a:pt x="608048" y="1307"/>
                </a:lnTo>
                <a:lnTo>
                  <a:pt x="628964" y="1307"/>
                </a:lnTo>
                <a:lnTo>
                  <a:pt x="667372" y="108402"/>
                </a:lnTo>
                <a:close/>
                <a:moveTo>
                  <a:pt x="598648" y="65091"/>
                </a:moveTo>
                <a:lnTo>
                  <a:pt x="636869" y="65091"/>
                </a:lnTo>
                <a:lnTo>
                  <a:pt x="617759" y="11761"/>
                </a:lnTo>
                <a:lnTo>
                  <a:pt x="598648" y="65091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2234" name="Прямоугольник с двумя скругленными соседними углами 2233">
            <a:extLst>
              <a:ext uri="{FF2B5EF4-FFF2-40B4-BE49-F238E27FC236}">
                <a16:creationId xmlns:a16="http://schemas.microsoft.com/office/drawing/2014/main" id="{4C55813D-5D10-4879-EC22-5176CF8C3049}"/>
              </a:ext>
            </a:extLst>
          </p:cNvPr>
          <p:cNvSpPr/>
          <p:nvPr userDrawn="1"/>
        </p:nvSpPr>
        <p:spPr>
          <a:xfrm rot="10800000">
            <a:off x="1444111" y="11765898"/>
            <a:ext cx="2556000" cy="726227"/>
          </a:xfrm>
          <a:prstGeom prst="round2SameRect">
            <a:avLst/>
          </a:prstGeom>
          <a:solidFill>
            <a:srgbClr val="EBEF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sz="11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729" name="Полилиния 1728">
            <a:extLst>
              <a:ext uri="{FF2B5EF4-FFF2-40B4-BE49-F238E27FC236}">
                <a16:creationId xmlns:a16="http://schemas.microsoft.com/office/drawing/2014/main" id="{5C53F8FC-D8C5-77F7-9F3D-71BDAF7F23D8}"/>
              </a:ext>
            </a:extLst>
          </p:cNvPr>
          <p:cNvSpPr/>
          <p:nvPr/>
        </p:nvSpPr>
        <p:spPr>
          <a:xfrm>
            <a:off x="1578549" y="12069136"/>
            <a:ext cx="719331" cy="127263"/>
          </a:xfrm>
          <a:custGeom>
            <a:avLst/>
            <a:gdLst>
              <a:gd name="connsiteX0" fmla="*/ 22099 w 613775"/>
              <a:gd name="connsiteY0" fmla="*/ 107095 h 108588"/>
              <a:gd name="connsiteX1" fmla="*/ 10147 w 613775"/>
              <a:gd name="connsiteY1" fmla="*/ 107095 h 108588"/>
              <a:gd name="connsiteX2" fmla="*/ 16434 w 613775"/>
              <a:gd name="connsiteY2" fmla="*/ 76168 h 108588"/>
              <a:gd name="connsiteX3" fmla="*/ 0 w 613775"/>
              <a:gd name="connsiteY3" fmla="*/ 76168 h 108588"/>
              <a:gd name="connsiteX4" fmla="*/ 0 w 613775"/>
              <a:gd name="connsiteY4" fmla="*/ 65713 h 108588"/>
              <a:gd name="connsiteX5" fmla="*/ 18675 w 613775"/>
              <a:gd name="connsiteY5" fmla="*/ 65713 h 108588"/>
              <a:gd name="connsiteX6" fmla="*/ 24215 w 613775"/>
              <a:gd name="connsiteY6" fmla="*/ 38519 h 108588"/>
              <a:gd name="connsiteX7" fmla="*/ 4046 w 613775"/>
              <a:gd name="connsiteY7" fmla="*/ 38519 h 108588"/>
              <a:gd name="connsiteX8" fmla="*/ 4046 w 613775"/>
              <a:gd name="connsiteY8" fmla="*/ 28065 h 108588"/>
              <a:gd name="connsiteX9" fmla="*/ 26270 w 613775"/>
              <a:gd name="connsiteY9" fmla="*/ 28065 h 108588"/>
              <a:gd name="connsiteX10" fmla="*/ 32121 w 613775"/>
              <a:gd name="connsiteY10" fmla="*/ 0 h 108588"/>
              <a:gd name="connsiteX11" fmla="*/ 44073 w 613775"/>
              <a:gd name="connsiteY11" fmla="*/ 0 h 108588"/>
              <a:gd name="connsiteX12" fmla="*/ 38221 w 613775"/>
              <a:gd name="connsiteY12" fmla="*/ 28065 h 108588"/>
              <a:gd name="connsiteX13" fmla="*/ 60630 w 613775"/>
              <a:gd name="connsiteY13" fmla="*/ 28065 h 108588"/>
              <a:gd name="connsiteX14" fmla="*/ 66482 w 613775"/>
              <a:gd name="connsiteY14" fmla="*/ 0 h 108588"/>
              <a:gd name="connsiteX15" fmla="*/ 78434 w 613775"/>
              <a:gd name="connsiteY15" fmla="*/ 0 h 108588"/>
              <a:gd name="connsiteX16" fmla="*/ 72582 w 613775"/>
              <a:gd name="connsiteY16" fmla="*/ 28065 h 108588"/>
              <a:gd name="connsiteX17" fmla="*/ 89328 w 613775"/>
              <a:gd name="connsiteY17" fmla="*/ 28065 h 108588"/>
              <a:gd name="connsiteX18" fmla="*/ 89328 w 613775"/>
              <a:gd name="connsiteY18" fmla="*/ 38519 h 108588"/>
              <a:gd name="connsiteX19" fmla="*/ 70529 w 613775"/>
              <a:gd name="connsiteY19" fmla="*/ 38519 h 108588"/>
              <a:gd name="connsiteX20" fmla="*/ 64988 w 613775"/>
              <a:gd name="connsiteY20" fmla="*/ 65713 h 108588"/>
              <a:gd name="connsiteX21" fmla="*/ 85282 w 613775"/>
              <a:gd name="connsiteY21" fmla="*/ 65713 h 108588"/>
              <a:gd name="connsiteX22" fmla="*/ 85282 w 613775"/>
              <a:gd name="connsiteY22" fmla="*/ 76168 h 108588"/>
              <a:gd name="connsiteX23" fmla="*/ 62747 w 613775"/>
              <a:gd name="connsiteY23" fmla="*/ 76168 h 108588"/>
              <a:gd name="connsiteX24" fmla="*/ 56460 w 613775"/>
              <a:gd name="connsiteY24" fmla="*/ 107095 h 108588"/>
              <a:gd name="connsiteX25" fmla="*/ 44508 w 613775"/>
              <a:gd name="connsiteY25" fmla="*/ 107095 h 108588"/>
              <a:gd name="connsiteX26" fmla="*/ 50795 w 613775"/>
              <a:gd name="connsiteY26" fmla="*/ 76168 h 108588"/>
              <a:gd name="connsiteX27" fmla="*/ 28386 w 613775"/>
              <a:gd name="connsiteY27" fmla="*/ 76168 h 108588"/>
              <a:gd name="connsiteX28" fmla="*/ 22099 w 613775"/>
              <a:gd name="connsiteY28" fmla="*/ 107095 h 108588"/>
              <a:gd name="connsiteX29" fmla="*/ 30627 w 613775"/>
              <a:gd name="connsiteY29" fmla="*/ 65713 h 108588"/>
              <a:gd name="connsiteX30" fmla="*/ 53036 w 613775"/>
              <a:gd name="connsiteY30" fmla="*/ 65713 h 108588"/>
              <a:gd name="connsiteX31" fmla="*/ 58576 w 613775"/>
              <a:gd name="connsiteY31" fmla="*/ 38519 h 108588"/>
              <a:gd name="connsiteX32" fmla="*/ 36167 w 613775"/>
              <a:gd name="connsiteY32" fmla="*/ 38519 h 108588"/>
              <a:gd name="connsiteX33" fmla="*/ 30627 w 613775"/>
              <a:gd name="connsiteY33" fmla="*/ 65713 h 108588"/>
              <a:gd name="connsiteX34" fmla="*/ 107816 w 613775"/>
              <a:gd name="connsiteY34" fmla="*/ 0 h 108588"/>
              <a:gd name="connsiteX35" fmla="*/ 174172 w 613775"/>
              <a:gd name="connsiteY35" fmla="*/ 0 h 108588"/>
              <a:gd name="connsiteX36" fmla="*/ 174172 w 613775"/>
              <a:gd name="connsiteY36" fmla="*/ 12881 h 108588"/>
              <a:gd name="connsiteX37" fmla="*/ 121884 w 613775"/>
              <a:gd name="connsiteY37" fmla="*/ 12881 h 108588"/>
              <a:gd name="connsiteX38" fmla="*/ 121884 w 613775"/>
              <a:gd name="connsiteY38" fmla="*/ 45240 h 108588"/>
              <a:gd name="connsiteX39" fmla="*/ 166267 w 613775"/>
              <a:gd name="connsiteY39" fmla="*/ 45240 h 108588"/>
              <a:gd name="connsiteX40" fmla="*/ 166267 w 613775"/>
              <a:gd name="connsiteY40" fmla="*/ 57934 h 108588"/>
              <a:gd name="connsiteX41" fmla="*/ 121884 w 613775"/>
              <a:gd name="connsiteY41" fmla="*/ 57934 h 108588"/>
              <a:gd name="connsiteX42" fmla="*/ 121884 w 613775"/>
              <a:gd name="connsiteY42" fmla="*/ 94400 h 108588"/>
              <a:gd name="connsiteX43" fmla="*/ 174920 w 613775"/>
              <a:gd name="connsiteY43" fmla="*/ 94400 h 108588"/>
              <a:gd name="connsiteX44" fmla="*/ 174920 w 613775"/>
              <a:gd name="connsiteY44" fmla="*/ 107095 h 108588"/>
              <a:gd name="connsiteX45" fmla="*/ 107816 w 613775"/>
              <a:gd name="connsiteY45" fmla="*/ 107095 h 108588"/>
              <a:gd name="connsiteX46" fmla="*/ 107816 w 613775"/>
              <a:gd name="connsiteY46" fmla="*/ 0 h 108588"/>
              <a:gd name="connsiteX47" fmla="*/ 197143 w 613775"/>
              <a:gd name="connsiteY47" fmla="*/ 0 h 108588"/>
              <a:gd name="connsiteX48" fmla="*/ 233434 w 613775"/>
              <a:gd name="connsiteY48" fmla="*/ 0 h 108588"/>
              <a:gd name="connsiteX49" fmla="*/ 260139 w 613775"/>
              <a:gd name="connsiteY49" fmla="*/ 5974 h 108588"/>
              <a:gd name="connsiteX50" fmla="*/ 269414 w 613775"/>
              <a:gd name="connsiteY50" fmla="*/ 26136 h 108588"/>
              <a:gd name="connsiteX51" fmla="*/ 263625 w 613775"/>
              <a:gd name="connsiteY51" fmla="*/ 43622 h 108588"/>
              <a:gd name="connsiteX52" fmla="*/ 248063 w 613775"/>
              <a:gd name="connsiteY52" fmla="*/ 51525 h 108588"/>
              <a:gd name="connsiteX53" fmla="*/ 266861 w 613775"/>
              <a:gd name="connsiteY53" fmla="*/ 58868 h 108588"/>
              <a:gd name="connsiteX54" fmla="*/ 273335 w 613775"/>
              <a:gd name="connsiteY54" fmla="*/ 76168 h 108588"/>
              <a:gd name="connsiteX55" fmla="*/ 268107 w 613775"/>
              <a:gd name="connsiteY55" fmla="*/ 94089 h 108588"/>
              <a:gd name="connsiteX56" fmla="*/ 253727 w 613775"/>
              <a:gd name="connsiteY56" fmla="*/ 104108 h 108588"/>
              <a:gd name="connsiteX57" fmla="*/ 233123 w 613775"/>
              <a:gd name="connsiteY57" fmla="*/ 107095 h 108588"/>
              <a:gd name="connsiteX58" fmla="*/ 197143 w 613775"/>
              <a:gd name="connsiteY58" fmla="*/ 107095 h 108588"/>
              <a:gd name="connsiteX59" fmla="*/ 197143 w 613775"/>
              <a:gd name="connsiteY59" fmla="*/ 0 h 108588"/>
              <a:gd name="connsiteX60" fmla="*/ 232376 w 613775"/>
              <a:gd name="connsiteY60" fmla="*/ 45738 h 108588"/>
              <a:gd name="connsiteX61" fmla="*/ 248810 w 613775"/>
              <a:gd name="connsiteY61" fmla="*/ 41257 h 108588"/>
              <a:gd name="connsiteX62" fmla="*/ 255221 w 613775"/>
              <a:gd name="connsiteY62" fmla="*/ 26882 h 108588"/>
              <a:gd name="connsiteX63" fmla="*/ 249557 w 613775"/>
              <a:gd name="connsiteY63" fmla="*/ 15868 h 108588"/>
              <a:gd name="connsiteX64" fmla="*/ 233434 w 613775"/>
              <a:gd name="connsiteY64" fmla="*/ 12881 h 108588"/>
              <a:gd name="connsiteX65" fmla="*/ 211149 w 613775"/>
              <a:gd name="connsiteY65" fmla="*/ 12881 h 108588"/>
              <a:gd name="connsiteX66" fmla="*/ 211149 w 613775"/>
              <a:gd name="connsiteY66" fmla="*/ 45738 h 108588"/>
              <a:gd name="connsiteX67" fmla="*/ 232376 w 613775"/>
              <a:gd name="connsiteY67" fmla="*/ 45738 h 108588"/>
              <a:gd name="connsiteX68" fmla="*/ 233123 w 613775"/>
              <a:gd name="connsiteY68" fmla="*/ 94400 h 108588"/>
              <a:gd name="connsiteX69" fmla="*/ 251486 w 613775"/>
              <a:gd name="connsiteY69" fmla="*/ 90542 h 108588"/>
              <a:gd name="connsiteX70" fmla="*/ 258520 w 613775"/>
              <a:gd name="connsiteY70" fmla="*/ 76478 h 108588"/>
              <a:gd name="connsiteX71" fmla="*/ 251922 w 613775"/>
              <a:gd name="connsiteY71" fmla="*/ 62415 h 108588"/>
              <a:gd name="connsiteX72" fmla="*/ 231504 w 613775"/>
              <a:gd name="connsiteY72" fmla="*/ 58433 h 108588"/>
              <a:gd name="connsiteX73" fmla="*/ 211149 w 613775"/>
              <a:gd name="connsiteY73" fmla="*/ 58433 h 108588"/>
              <a:gd name="connsiteX74" fmla="*/ 211149 w 613775"/>
              <a:gd name="connsiteY74" fmla="*/ 94400 h 108588"/>
              <a:gd name="connsiteX75" fmla="*/ 233123 w 613775"/>
              <a:gd name="connsiteY75" fmla="*/ 94400 h 108588"/>
              <a:gd name="connsiteX76" fmla="*/ 293379 w 613775"/>
              <a:gd name="connsiteY76" fmla="*/ 0 h 108588"/>
              <a:gd name="connsiteX77" fmla="*/ 359737 w 613775"/>
              <a:gd name="connsiteY77" fmla="*/ 0 h 108588"/>
              <a:gd name="connsiteX78" fmla="*/ 359737 w 613775"/>
              <a:gd name="connsiteY78" fmla="*/ 12881 h 108588"/>
              <a:gd name="connsiteX79" fmla="*/ 307448 w 613775"/>
              <a:gd name="connsiteY79" fmla="*/ 12881 h 108588"/>
              <a:gd name="connsiteX80" fmla="*/ 307448 w 613775"/>
              <a:gd name="connsiteY80" fmla="*/ 45240 h 108588"/>
              <a:gd name="connsiteX81" fmla="*/ 351831 w 613775"/>
              <a:gd name="connsiteY81" fmla="*/ 45240 h 108588"/>
              <a:gd name="connsiteX82" fmla="*/ 351831 w 613775"/>
              <a:gd name="connsiteY82" fmla="*/ 57934 h 108588"/>
              <a:gd name="connsiteX83" fmla="*/ 307448 w 613775"/>
              <a:gd name="connsiteY83" fmla="*/ 57934 h 108588"/>
              <a:gd name="connsiteX84" fmla="*/ 307448 w 613775"/>
              <a:gd name="connsiteY84" fmla="*/ 94400 h 108588"/>
              <a:gd name="connsiteX85" fmla="*/ 360484 w 613775"/>
              <a:gd name="connsiteY85" fmla="*/ 94400 h 108588"/>
              <a:gd name="connsiteX86" fmla="*/ 360484 w 613775"/>
              <a:gd name="connsiteY86" fmla="*/ 107095 h 108588"/>
              <a:gd name="connsiteX87" fmla="*/ 293379 w 613775"/>
              <a:gd name="connsiteY87" fmla="*/ 107095 h 108588"/>
              <a:gd name="connsiteX88" fmla="*/ 293379 w 613775"/>
              <a:gd name="connsiteY88" fmla="*/ 0 h 108588"/>
              <a:gd name="connsiteX89" fmla="*/ 382706 w 613775"/>
              <a:gd name="connsiteY89" fmla="*/ 0 h 108588"/>
              <a:gd name="connsiteX90" fmla="*/ 448130 w 613775"/>
              <a:gd name="connsiteY90" fmla="*/ 0 h 108588"/>
              <a:gd name="connsiteX91" fmla="*/ 448130 w 613775"/>
              <a:gd name="connsiteY91" fmla="*/ 12881 h 108588"/>
              <a:gd name="connsiteX92" fmla="*/ 396712 w 613775"/>
              <a:gd name="connsiteY92" fmla="*/ 12881 h 108588"/>
              <a:gd name="connsiteX93" fmla="*/ 396712 w 613775"/>
              <a:gd name="connsiteY93" fmla="*/ 48413 h 108588"/>
              <a:gd name="connsiteX94" fmla="*/ 440349 w 613775"/>
              <a:gd name="connsiteY94" fmla="*/ 48413 h 108588"/>
              <a:gd name="connsiteX95" fmla="*/ 440349 w 613775"/>
              <a:gd name="connsiteY95" fmla="*/ 61108 h 108588"/>
              <a:gd name="connsiteX96" fmla="*/ 396712 w 613775"/>
              <a:gd name="connsiteY96" fmla="*/ 61108 h 108588"/>
              <a:gd name="connsiteX97" fmla="*/ 396712 w 613775"/>
              <a:gd name="connsiteY97" fmla="*/ 107095 h 108588"/>
              <a:gd name="connsiteX98" fmla="*/ 382706 w 613775"/>
              <a:gd name="connsiteY98" fmla="*/ 107095 h 108588"/>
              <a:gd name="connsiteX99" fmla="*/ 382706 w 613775"/>
              <a:gd name="connsiteY99" fmla="*/ 0 h 108588"/>
              <a:gd name="connsiteX100" fmla="*/ 467614 w 613775"/>
              <a:gd name="connsiteY100" fmla="*/ 0 h 108588"/>
              <a:gd name="connsiteX101" fmla="*/ 533038 w 613775"/>
              <a:gd name="connsiteY101" fmla="*/ 0 h 108588"/>
              <a:gd name="connsiteX102" fmla="*/ 533038 w 613775"/>
              <a:gd name="connsiteY102" fmla="*/ 12881 h 108588"/>
              <a:gd name="connsiteX103" fmla="*/ 481620 w 613775"/>
              <a:gd name="connsiteY103" fmla="*/ 12881 h 108588"/>
              <a:gd name="connsiteX104" fmla="*/ 481620 w 613775"/>
              <a:gd name="connsiteY104" fmla="*/ 48413 h 108588"/>
              <a:gd name="connsiteX105" fmla="*/ 525257 w 613775"/>
              <a:gd name="connsiteY105" fmla="*/ 48413 h 108588"/>
              <a:gd name="connsiteX106" fmla="*/ 525257 w 613775"/>
              <a:gd name="connsiteY106" fmla="*/ 61108 h 108588"/>
              <a:gd name="connsiteX107" fmla="*/ 481620 w 613775"/>
              <a:gd name="connsiteY107" fmla="*/ 61108 h 108588"/>
              <a:gd name="connsiteX108" fmla="*/ 481620 w 613775"/>
              <a:gd name="connsiteY108" fmla="*/ 107095 h 108588"/>
              <a:gd name="connsiteX109" fmla="*/ 467614 w 613775"/>
              <a:gd name="connsiteY109" fmla="*/ 107095 h 108588"/>
              <a:gd name="connsiteX110" fmla="*/ 467614 w 613775"/>
              <a:gd name="connsiteY110" fmla="*/ 0 h 108588"/>
              <a:gd name="connsiteX111" fmla="*/ 576426 w 613775"/>
              <a:gd name="connsiteY111" fmla="*/ 108588 h 108588"/>
              <a:gd name="connsiteX112" fmla="*/ 547915 w 613775"/>
              <a:gd name="connsiteY112" fmla="*/ 100997 h 108588"/>
              <a:gd name="connsiteX113" fmla="*/ 547915 w 613775"/>
              <a:gd name="connsiteY113" fmla="*/ 86311 h 108588"/>
              <a:gd name="connsiteX114" fmla="*/ 561050 w 613775"/>
              <a:gd name="connsiteY114" fmla="*/ 93965 h 108588"/>
              <a:gd name="connsiteX115" fmla="*/ 576426 w 613775"/>
              <a:gd name="connsiteY115" fmla="*/ 96329 h 108588"/>
              <a:gd name="connsiteX116" fmla="*/ 593482 w 613775"/>
              <a:gd name="connsiteY116" fmla="*/ 89608 h 108588"/>
              <a:gd name="connsiteX117" fmla="*/ 599582 w 613775"/>
              <a:gd name="connsiteY117" fmla="*/ 71998 h 108588"/>
              <a:gd name="connsiteX118" fmla="*/ 593606 w 613775"/>
              <a:gd name="connsiteY118" fmla="*/ 54947 h 108588"/>
              <a:gd name="connsiteX119" fmla="*/ 578542 w 613775"/>
              <a:gd name="connsiteY119" fmla="*/ 49596 h 108588"/>
              <a:gd name="connsiteX120" fmla="*/ 567897 w 613775"/>
              <a:gd name="connsiteY120" fmla="*/ 51836 h 108588"/>
              <a:gd name="connsiteX121" fmla="*/ 561797 w 613775"/>
              <a:gd name="connsiteY121" fmla="*/ 56316 h 108588"/>
              <a:gd name="connsiteX122" fmla="*/ 550903 w 613775"/>
              <a:gd name="connsiteY122" fmla="*/ 56316 h 108588"/>
              <a:gd name="connsiteX123" fmla="*/ 550903 w 613775"/>
              <a:gd name="connsiteY123" fmla="*/ 0 h 108588"/>
              <a:gd name="connsiteX124" fmla="*/ 608857 w 613775"/>
              <a:gd name="connsiteY124" fmla="*/ 0 h 108588"/>
              <a:gd name="connsiteX125" fmla="*/ 608857 w 613775"/>
              <a:gd name="connsiteY125" fmla="*/ 12881 h 108588"/>
              <a:gd name="connsiteX126" fmla="*/ 563105 w 613775"/>
              <a:gd name="connsiteY126" fmla="*/ 12881 h 108588"/>
              <a:gd name="connsiteX127" fmla="*/ 563105 w 613775"/>
              <a:gd name="connsiteY127" fmla="*/ 43498 h 108588"/>
              <a:gd name="connsiteX128" fmla="*/ 570449 w 613775"/>
              <a:gd name="connsiteY128" fmla="*/ 39577 h 108588"/>
              <a:gd name="connsiteX129" fmla="*/ 580783 w 613775"/>
              <a:gd name="connsiteY129" fmla="*/ 37772 h 108588"/>
              <a:gd name="connsiteX130" fmla="*/ 597465 w 613775"/>
              <a:gd name="connsiteY130" fmla="*/ 41693 h 108588"/>
              <a:gd name="connsiteX131" fmla="*/ 609293 w 613775"/>
              <a:gd name="connsiteY131" fmla="*/ 53019 h 108588"/>
              <a:gd name="connsiteX132" fmla="*/ 613775 w 613775"/>
              <a:gd name="connsiteY132" fmla="*/ 71687 h 108588"/>
              <a:gd name="connsiteX133" fmla="*/ 609168 w 613775"/>
              <a:gd name="connsiteY133" fmla="*/ 91103 h 108588"/>
              <a:gd name="connsiteX134" fmla="*/ 596283 w 613775"/>
              <a:gd name="connsiteY134" fmla="*/ 104108 h 108588"/>
              <a:gd name="connsiteX135" fmla="*/ 576426 w 613775"/>
              <a:gd name="connsiteY135" fmla="*/ 108588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613775" h="108588">
                <a:moveTo>
                  <a:pt x="22099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70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2" y="65713"/>
                </a:lnTo>
                <a:lnTo>
                  <a:pt x="85282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7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7" y="38519"/>
                </a:lnTo>
                <a:lnTo>
                  <a:pt x="30627" y="65713"/>
                </a:lnTo>
                <a:close/>
                <a:moveTo>
                  <a:pt x="107816" y="0"/>
                </a:moveTo>
                <a:lnTo>
                  <a:pt x="174172" y="0"/>
                </a:lnTo>
                <a:lnTo>
                  <a:pt x="174172" y="12881"/>
                </a:lnTo>
                <a:lnTo>
                  <a:pt x="121884" y="12881"/>
                </a:lnTo>
                <a:lnTo>
                  <a:pt x="121884" y="45240"/>
                </a:lnTo>
                <a:lnTo>
                  <a:pt x="166267" y="45240"/>
                </a:lnTo>
                <a:lnTo>
                  <a:pt x="166267" y="57934"/>
                </a:lnTo>
                <a:lnTo>
                  <a:pt x="121884" y="57934"/>
                </a:lnTo>
                <a:lnTo>
                  <a:pt x="121884" y="94400"/>
                </a:lnTo>
                <a:lnTo>
                  <a:pt x="174920" y="94400"/>
                </a:lnTo>
                <a:lnTo>
                  <a:pt x="174920" y="107095"/>
                </a:lnTo>
                <a:lnTo>
                  <a:pt x="107816" y="107095"/>
                </a:lnTo>
                <a:lnTo>
                  <a:pt x="107816" y="0"/>
                </a:lnTo>
                <a:close/>
                <a:moveTo>
                  <a:pt x="197143" y="0"/>
                </a:moveTo>
                <a:lnTo>
                  <a:pt x="233434" y="0"/>
                </a:lnTo>
                <a:cubicBezTo>
                  <a:pt x="245199" y="0"/>
                  <a:pt x="254101" y="1991"/>
                  <a:pt x="260139" y="5974"/>
                </a:cubicBezTo>
                <a:cubicBezTo>
                  <a:pt x="266364" y="9956"/>
                  <a:pt x="269414" y="16677"/>
                  <a:pt x="269414" y="26136"/>
                </a:cubicBezTo>
                <a:cubicBezTo>
                  <a:pt x="269414" y="33790"/>
                  <a:pt x="267484" y="39639"/>
                  <a:pt x="263625" y="43622"/>
                </a:cubicBezTo>
                <a:cubicBezTo>
                  <a:pt x="259703" y="47480"/>
                  <a:pt x="254536" y="50156"/>
                  <a:pt x="248063" y="51525"/>
                </a:cubicBezTo>
                <a:cubicBezTo>
                  <a:pt x="256342" y="52520"/>
                  <a:pt x="262629" y="54947"/>
                  <a:pt x="266861" y="58868"/>
                </a:cubicBezTo>
                <a:cubicBezTo>
                  <a:pt x="271157" y="62664"/>
                  <a:pt x="273335" y="68389"/>
                  <a:pt x="273335" y="76168"/>
                </a:cubicBezTo>
                <a:cubicBezTo>
                  <a:pt x="273335" y="83572"/>
                  <a:pt x="271592" y="89547"/>
                  <a:pt x="268107" y="94089"/>
                </a:cubicBezTo>
                <a:cubicBezTo>
                  <a:pt x="264620" y="98694"/>
                  <a:pt x="259827" y="101992"/>
                  <a:pt x="253727" y="104108"/>
                </a:cubicBezTo>
                <a:cubicBezTo>
                  <a:pt x="247689" y="106099"/>
                  <a:pt x="240779" y="107095"/>
                  <a:pt x="233123" y="107095"/>
                </a:cubicBezTo>
                <a:lnTo>
                  <a:pt x="197143" y="107095"/>
                </a:lnTo>
                <a:lnTo>
                  <a:pt x="197143" y="0"/>
                </a:lnTo>
                <a:close/>
                <a:moveTo>
                  <a:pt x="232376" y="45738"/>
                </a:moveTo>
                <a:cubicBezTo>
                  <a:pt x="239161" y="45738"/>
                  <a:pt x="244639" y="44244"/>
                  <a:pt x="248810" y="41257"/>
                </a:cubicBezTo>
                <a:cubicBezTo>
                  <a:pt x="253104" y="38146"/>
                  <a:pt x="255221" y="33354"/>
                  <a:pt x="255221" y="26882"/>
                </a:cubicBezTo>
                <a:cubicBezTo>
                  <a:pt x="255221" y="21406"/>
                  <a:pt x="253354" y="17735"/>
                  <a:pt x="249557" y="15868"/>
                </a:cubicBezTo>
                <a:cubicBezTo>
                  <a:pt x="245759" y="13877"/>
                  <a:pt x="240405" y="12881"/>
                  <a:pt x="233434" y="12881"/>
                </a:cubicBezTo>
                <a:lnTo>
                  <a:pt x="211149" y="12881"/>
                </a:lnTo>
                <a:lnTo>
                  <a:pt x="211149" y="45738"/>
                </a:lnTo>
                <a:lnTo>
                  <a:pt x="232376" y="45738"/>
                </a:lnTo>
                <a:close/>
                <a:moveTo>
                  <a:pt x="233123" y="94400"/>
                </a:moveTo>
                <a:cubicBezTo>
                  <a:pt x="240717" y="94400"/>
                  <a:pt x="246817" y="93093"/>
                  <a:pt x="251486" y="90542"/>
                </a:cubicBezTo>
                <a:cubicBezTo>
                  <a:pt x="256155" y="87929"/>
                  <a:pt x="258520" y="83262"/>
                  <a:pt x="258520" y="76478"/>
                </a:cubicBezTo>
                <a:cubicBezTo>
                  <a:pt x="258520" y="69696"/>
                  <a:pt x="256342" y="65028"/>
                  <a:pt x="251922" y="62415"/>
                </a:cubicBezTo>
                <a:cubicBezTo>
                  <a:pt x="247689" y="59739"/>
                  <a:pt x="240842" y="58433"/>
                  <a:pt x="231504" y="58433"/>
                </a:cubicBezTo>
                <a:lnTo>
                  <a:pt x="211149" y="58433"/>
                </a:lnTo>
                <a:lnTo>
                  <a:pt x="211149" y="94400"/>
                </a:lnTo>
                <a:lnTo>
                  <a:pt x="233123" y="94400"/>
                </a:lnTo>
                <a:close/>
                <a:moveTo>
                  <a:pt x="293379" y="0"/>
                </a:moveTo>
                <a:lnTo>
                  <a:pt x="359737" y="0"/>
                </a:lnTo>
                <a:lnTo>
                  <a:pt x="359737" y="12881"/>
                </a:lnTo>
                <a:lnTo>
                  <a:pt x="307448" y="12881"/>
                </a:lnTo>
                <a:lnTo>
                  <a:pt x="307448" y="45240"/>
                </a:lnTo>
                <a:lnTo>
                  <a:pt x="351831" y="45240"/>
                </a:lnTo>
                <a:lnTo>
                  <a:pt x="351831" y="57934"/>
                </a:lnTo>
                <a:lnTo>
                  <a:pt x="307448" y="57934"/>
                </a:lnTo>
                <a:lnTo>
                  <a:pt x="307448" y="94400"/>
                </a:lnTo>
                <a:lnTo>
                  <a:pt x="360484" y="94400"/>
                </a:lnTo>
                <a:lnTo>
                  <a:pt x="360484" y="107095"/>
                </a:lnTo>
                <a:lnTo>
                  <a:pt x="293379" y="107095"/>
                </a:lnTo>
                <a:lnTo>
                  <a:pt x="293379" y="0"/>
                </a:lnTo>
                <a:close/>
                <a:moveTo>
                  <a:pt x="382706" y="0"/>
                </a:moveTo>
                <a:lnTo>
                  <a:pt x="448130" y="0"/>
                </a:lnTo>
                <a:lnTo>
                  <a:pt x="448130" y="12881"/>
                </a:lnTo>
                <a:lnTo>
                  <a:pt x="396712" y="12881"/>
                </a:lnTo>
                <a:lnTo>
                  <a:pt x="396712" y="48413"/>
                </a:lnTo>
                <a:lnTo>
                  <a:pt x="440349" y="48413"/>
                </a:lnTo>
                <a:lnTo>
                  <a:pt x="440349" y="61108"/>
                </a:lnTo>
                <a:lnTo>
                  <a:pt x="396712" y="61108"/>
                </a:lnTo>
                <a:lnTo>
                  <a:pt x="396712" y="107095"/>
                </a:lnTo>
                <a:lnTo>
                  <a:pt x="382706" y="107095"/>
                </a:lnTo>
                <a:lnTo>
                  <a:pt x="382706" y="0"/>
                </a:lnTo>
                <a:close/>
                <a:moveTo>
                  <a:pt x="467614" y="0"/>
                </a:moveTo>
                <a:lnTo>
                  <a:pt x="533038" y="0"/>
                </a:lnTo>
                <a:lnTo>
                  <a:pt x="533038" y="12881"/>
                </a:lnTo>
                <a:lnTo>
                  <a:pt x="481620" y="12881"/>
                </a:lnTo>
                <a:lnTo>
                  <a:pt x="481620" y="48413"/>
                </a:lnTo>
                <a:lnTo>
                  <a:pt x="525257" y="48413"/>
                </a:lnTo>
                <a:lnTo>
                  <a:pt x="525257" y="61108"/>
                </a:lnTo>
                <a:lnTo>
                  <a:pt x="481620" y="61108"/>
                </a:lnTo>
                <a:lnTo>
                  <a:pt x="481620" y="107095"/>
                </a:lnTo>
                <a:lnTo>
                  <a:pt x="467614" y="107095"/>
                </a:lnTo>
                <a:lnTo>
                  <a:pt x="467614" y="0"/>
                </a:lnTo>
                <a:close/>
                <a:moveTo>
                  <a:pt x="576426" y="108588"/>
                </a:moveTo>
                <a:cubicBezTo>
                  <a:pt x="564474" y="108588"/>
                  <a:pt x="554950" y="106037"/>
                  <a:pt x="547915" y="100997"/>
                </a:cubicBezTo>
                <a:lnTo>
                  <a:pt x="547915" y="86311"/>
                </a:lnTo>
                <a:cubicBezTo>
                  <a:pt x="552086" y="89733"/>
                  <a:pt x="556443" y="92284"/>
                  <a:pt x="561050" y="93965"/>
                </a:cubicBezTo>
                <a:cubicBezTo>
                  <a:pt x="565594" y="95520"/>
                  <a:pt x="570761" y="96329"/>
                  <a:pt x="576426" y="96329"/>
                </a:cubicBezTo>
                <a:cubicBezTo>
                  <a:pt x="583771" y="96329"/>
                  <a:pt x="589498" y="94089"/>
                  <a:pt x="593482" y="89608"/>
                </a:cubicBezTo>
                <a:cubicBezTo>
                  <a:pt x="597528" y="85128"/>
                  <a:pt x="599582" y="79279"/>
                  <a:pt x="599582" y="71998"/>
                </a:cubicBezTo>
                <a:cubicBezTo>
                  <a:pt x="599582" y="64219"/>
                  <a:pt x="597590" y="58556"/>
                  <a:pt x="593606" y="54947"/>
                </a:cubicBezTo>
                <a:cubicBezTo>
                  <a:pt x="589623" y="51401"/>
                  <a:pt x="584580" y="49596"/>
                  <a:pt x="578542" y="49596"/>
                </a:cubicBezTo>
                <a:cubicBezTo>
                  <a:pt x="574122" y="49596"/>
                  <a:pt x="570574" y="50343"/>
                  <a:pt x="567897" y="51836"/>
                </a:cubicBezTo>
                <a:cubicBezTo>
                  <a:pt x="565221" y="53205"/>
                  <a:pt x="563167" y="54698"/>
                  <a:pt x="561797" y="56316"/>
                </a:cubicBezTo>
                <a:lnTo>
                  <a:pt x="550903" y="56316"/>
                </a:lnTo>
                <a:lnTo>
                  <a:pt x="550903" y="0"/>
                </a:lnTo>
                <a:lnTo>
                  <a:pt x="608857" y="0"/>
                </a:lnTo>
                <a:lnTo>
                  <a:pt x="608857" y="12881"/>
                </a:lnTo>
                <a:lnTo>
                  <a:pt x="563105" y="12881"/>
                </a:lnTo>
                <a:lnTo>
                  <a:pt x="563105" y="43498"/>
                </a:lnTo>
                <a:cubicBezTo>
                  <a:pt x="565096" y="42004"/>
                  <a:pt x="567586" y="40697"/>
                  <a:pt x="570449" y="39577"/>
                </a:cubicBezTo>
                <a:cubicBezTo>
                  <a:pt x="573313" y="38394"/>
                  <a:pt x="576799" y="37772"/>
                  <a:pt x="580783" y="37772"/>
                </a:cubicBezTo>
                <a:cubicBezTo>
                  <a:pt x="586946" y="37772"/>
                  <a:pt x="592486" y="39079"/>
                  <a:pt x="597465" y="41693"/>
                </a:cubicBezTo>
                <a:cubicBezTo>
                  <a:pt x="602446" y="44182"/>
                  <a:pt x="606430" y="47978"/>
                  <a:pt x="609293" y="53019"/>
                </a:cubicBezTo>
                <a:cubicBezTo>
                  <a:pt x="612281" y="57997"/>
                  <a:pt x="613775" y="64219"/>
                  <a:pt x="613775" y="71687"/>
                </a:cubicBezTo>
                <a:cubicBezTo>
                  <a:pt x="613775" y="79092"/>
                  <a:pt x="612219" y="85564"/>
                  <a:pt x="609168" y="91103"/>
                </a:cubicBezTo>
                <a:cubicBezTo>
                  <a:pt x="606180" y="96702"/>
                  <a:pt x="601886" y="100997"/>
                  <a:pt x="596283" y="104108"/>
                </a:cubicBezTo>
                <a:cubicBezTo>
                  <a:pt x="590743" y="107095"/>
                  <a:pt x="584082" y="108588"/>
                  <a:pt x="576426" y="10858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36" name="Полилиния 1735">
            <a:extLst>
              <a:ext uri="{FF2B5EF4-FFF2-40B4-BE49-F238E27FC236}">
                <a16:creationId xmlns:a16="http://schemas.microsoft.com/office/drawing/2014/main" id="{B35F5141-96AD-CB6F-BB2C-23BE5C818D3D}"/>
              </a:ext>
            </a:extLst>
          </p:cNvPr>
          <p:cNvSpPr/>
          <p:nvPr/>
        </p:nvSpPr>
        <p:spPr>
          <a:xfrm>
            <a:off x="1444111" y="5949935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25314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37" name="TextBox 1736">
            <a:extLst>
              <a:ext uri="{FF2B5EF4-FFF2-40B4-BE49-F238E27FC236}">
                <a16:creationId xmlns:a16="http://schemas.microsoft.com/office/drawing/2014/main" id="{31311805-407F-93CC-648B-B40E7CB3C2AB}"/>
              </a:ext>
            </a:extLst>
          </p:cNvPr>
          <p:cNvSpPr txBox="1"/>
          <p:nvPr/>
        </p:nvSpPr>
        <p:spPr>
          <a:xfrm>
            <a:off x="1487656" y="6238161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25314B</a:t>
            </a:r>
            <a:endParaRPr kumimoji="0" lang="ru-RU" sz="1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  <p:sp>
        <p:nvSpPr>
          <p:cNvPr id="1840" name="Полилиния 1839">
            <a:extLst>
              <a:ext uri="{FF2B5EF4-FFF2-40B4-BE49-F238E27FC236}">
                <a16:creationId xmlns:a16="http://schemas.microsoft.com/office/drawing/2014/main" id="{06D1868B-0746-F37E-D758-784084CBE92F}"/>
              </a:ext>
            </a:extLst>
          </p:cNvPr>
          <p:cNvSpPr/>
          <p:nvPr userDrawn="1"/>
        </p:nvSpPr>
        <p:spPr>
          <a:xfrm>
            <a:off x="1444111" y="5231409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1D2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YS Text Regular"/>
            </a:endParaRPr>
          </a:p>
        </p:txBody>
      </p:sp>
      <p:sp>
        <p:nvSpPr>
          <p:cNvPr id="1842" name="TextBox 1841">
            <a:extLst>
              <a:ext uri="{FF2B5EF4-FFF2-40B4-BE49-F238E27FC236}">
                <a16:creationId xmlns:a16="http://schemas.microsoft.com/office/drawing/2014/main" id="{25A2063E-55BB-1063-32B7-3186A7105360}"/>
              </a:ext>
            </a:extLst>
          </p:cNvPr>
          <p:cNvSpPr txBox="1"/>
          <p:nvPr userDrawn="1"/>
        </p:nvSpPr>
        <p:spPr>
          <a:xfrm>
            <a:off x="1487656" y="5395950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  <a:sym typeface="Arial"/>
              </a:rPr>
              <a:t>1D2333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1843" name="Полилиния 1842">
            <a:extLst>
              <a:ext uri="{FF2B5EF4-FFF2-40B4-BE49-F238E27FC236}">
                <a16:creationId xmlns:a16="http://schemas.microsoft.com/office/drawing/2014/main" id="{4AC1FD1F-5372-D84C-9C0F-5098CF712D41}"/>
              </a:ext>
            </a:extLst>
          </p:cNvPr>
          <p:cNvSpPr/>
          <p:nvPr userDrawn="1"/>
        </p:nvSpPr>
        <p:spPr>
          <a:xfrm>
            <a:off x="1444111" y="3787620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YS Text Regular"/>
            </a:endParaRPr>
          </a:p>
        </p:txBody>
      </p:sp>
      <p:sp>
        <p:nvSpPr>
          <p:cNvPr id="1844" name="TextBox 1843">
            <a:extLst>
              <a:ext uri="{FF2B5EF4-FFF2-40B4-BE49-F238E27FC236}">
                <a16:creationId xmlns:a16="http://schemas.microsoft.com/office/drawing/2014/main" id="{3DCE200C-8AAD-1F1A-0B4D-B7DE43C55791}"/>
              </a:ext>
            </a:extLst>
          </p:cNvPr>
          <p:cNvSpPr txBox="1"/>
          <p:nvPr userDrawn="1"/>
        </p:nvSpPr>
        <p:spPr>
          <a:xfrm>
            <a:off x="1487656" y="3964192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  <a:sym typeface="Arial"/>
              </a:rPr>
              <a:t>0F141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1887" name="Полилиния 1886">
            <a:extLst>
              <a:ext uri="{FF2B5EF4-FFF2-40B4-BE49-F238E27FC236}">
                <a16:creationId xmlns:a16="http://schemas.microsoft.com/office/drawing/2014/main" id="{C8515498-CD2E-0CFD-B61B-B2E0C4196CCD}"/>
              </a:ext>
            </a:extLst>
          </p:cNvPr>
          <p:cNvSpPr/>
          <p:nvPr userDrawn="1"/>
        </p:nvSpPr>
        <p:spPr>
          <a:xfrm>
            <a:off x="1444111" y="8859747"/>
            <a:ext cx="2556000" cy="726227"/>
          </a:xfrm>
          <a:custGeom>
            <a:avLst/>
            <a:gdLst>
              <a:gd name="connsiteX0" fmla="*/ 1488 w 2191162"/>
              <a:gd name="connsiteY0" fmla="*/ 1522 h 622284"/>
              <a:gd name="connsiteX1" fmla="*/ 2192651 w 2191162"/>
              <a:gd name="connsiteY1" fmla="*/ 1522 h 622284"/>
              <a:gd name="connsiteX2" fmla="*/ 2192651 w 2191162"/>
              <a:gd name="connsiteY2" fmla="*/ 623806 h 622284"/>
              <a:gd name="connsiteX3" fmla="*/ 1488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522"/>
                </a:moveTo>
                <a:lnTo>
                  <a:pt x="2192651" y="1522"/>
                </a:lnTo>
                <a:lnTo>
                  <a:pt x="2192651" y="623806"/>
                </a:lnTo>
                <a:lnTo>
                  <a:pt x="1488" y="623806"/>
                </a:lnTo>
                <a:close/>
              </a:path>
            </a:pathLst>
          </a:custGeom>
          <a:solidFill>
            <a:srgbClr val="8495B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888" name="TextBox 1887">
            <a:extLst>
              <a:ext uri="{FF2B5EF4-FFF2-40B4-BE49-F238E27FC236}">
                <a16:creationId xmlns:a16="http://schemas.microsoft.com/office/drawing/2014/main" id="{CF12A430-CDD4-944B-E736-ED1D8DA869BE}"/>
              </a:ext>
            </a:extLst>
          </p:cNvPr>
          <p:cNvSpPr txBox="1"/>
          <p:nvPr userDrawn="1"/>
        </p:nvSpPr>
        <p:spPr>
          <a:xfrm>
            <a:off x="1487656" y="9070629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</a:rPr>
              <a:t>#8495B8</a:t>
            </a:r>
          </a:p>
        </p:txBody>
      </p:sp>
      <p:sp>
        <p:nvSpPr>
          <p:cNvPr id="1897" name="Полилиния 1896">
            <a:extLst>
              <a:ext uri="{FF2B5EF4-FFF2-40B4-BE49-F238E27FC236}">
                <a16:creationId xmlns:a16="http://schemas.microsoft.com/office/drawing/2014/main" id="{7ED568B4-E221-7F8C-3230-BE470CF9112D}"/>
              </a:ext>
            </a:extLst>
          </p:cNvPr>
          <p:cNvSpPr/>
          <p:nvPr userDrawn="1"/>
        </p:nvSpPr>
        <p:spPr>
          <a:xfrm>
            <a:off x="1444111" y="10312200"/>
            <a:ext cx="2556000" cy="726227"/>
          </a:xfrm>
          <a:custGeom>
            <a:avLst/>
            <a:gdLst>
              <a:gd name="connsiteX0" fmla="*/ 1488 w 2191162"/>
              <a:gd name="connsiteY0" fmla="*/ 1722 h 622284"/>
              <a:gd name="connsiteX1" fmla="*/ 2192651 w 2191162"/>
              <a:gd name="connsiteY1" fmla="*/ 1722 h 622284"/>
              <a:gd name="connsiteX2" fmla="*/ 2192651 w 2191162"/>
              <a:gd name="connsiteY2" fmla="*/ 624006 h 622284"/>
              <a:gd name="connsiteX3" fmla="*/ 1488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722"/>
                </a:moveTo>
                <a:lnTo>
                  <a:pt x="2192651" y="1722"/>
                </a:lnTo>
                <a:lnTo>
                  <a:pt x="2192651" y="624006"/>
                </a:lnTo>
                <a:lnTo>
                  <a:pt x="1488" y="624006"/>
                </a:lnTo>
                <a:close/>
              </a:path>
            </a:pathLst>
          </a:custGeom>
          <a:solidFill>
            <a:srgbClr val="ADBBD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898" name="TextBox 1897">
            <a:extLst>
              <a:ext uri="{FF2B5EF4-FFF2-40B4-BE49-F238E27FC236}">
                <a16:creationId xmlns:a16="http://schemas.microsoft.com/office/drawing/2014/main" id="{1BEBF809-B872-8DC7-4FE9-DD6A30833C2E}"/>
              </a:ext>
            </a:extLst>
          </p:cNvPr>
          <p:cNvSpPr txBox="1"/>
          <p:nvPr userDrawn="1"/>
        </p:nvSpPr>
        <p:spPr>
          <a:xfrm>
            <a:off x="1485916" y="10532644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ADBBD5</a:t>
            </a:r>
          </a:p>
        </p:txBody>
      </p:sp>
      <p:sp>
        <p:nvSpPr>
          <p:cNvPr id="2198" name="TextBox 2197">
            <a:extLst>
              <a:ext uri="{FF2B5EF4-FFF2-40B4-BE49-F238E27FC236}">
                <a16:creationId xmlns:a16="http://schemas.microsoft.com/office/drawing/2014/main" id="{0C257742-5C45-1C0A-4983-071703F19D31}"/>
              </a:ext>
            </a:extLst>
          </p:cNvPr>
          <p:cNvSpPr txBox="1"/>
          <p:nvPr userDrawn="1"/>
        </p:nvSpPr>
        <p:spPr>
          <a:xfrm>
            <a:off x="4172180" y="6905734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</a:rPr>
              <a:t>#</a:t>
            </a:r>
            <a:r>
              <a:rPr lang="en-US" sz="1400" dirty="0">
                <a:solidFill>
                  <a:schemeClr val="bg1"/>
                </a:solidFill>
              </a:rPr>
              <a:t>6A00EC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</a:endParaRPr>
          </a:p>
        </p:txBody>
      </p:sp>
      <p:grpSp>
        <p:nvGrpSpPr>
          <p:cNvPr id="2204" name="Группа 2203">
            <a:extLst>
              <a:ext uri="{FF2B5EF4-FFF2-40B4-BE49-F238E27FC236}">
                <a16:creationId xmlns:a16="http://schemas.microsoft.com/office/drawing/2014/main" id="{8DB133B5-696C-F7F1-74CD-E62013303970}"/>
              </a:ext>
            </a:extLst>
          </p:cNvPr>
          <p:cNvGrpSpPr/>
          <p:nvPr userDrawn="1"/>
        </p:nvGrpSpPr>
        <p:grpSpPr>
          <a:xfrm>
            <a:off x="8831970" y="7619044"/>
            <a:ext cx="312638" cy="312638"/>
            <a:chOff x="2816046" y="7085282"/>
            <a:chExt cx="346932" cy="346932"/>
          </a:xfrm>
        </p:grpSpPr>
        <p:sp>
          <p:nvSpPr>
            <p:cNvPr id="2205" name="Рисунок 1184">
              <a:extLst>
                <a:ext uri="{FF2B5EF4-FFF2-40B4-BE49-F238E27FC236}">
                  <a16:creationId xmlns:a16="http://schemas.microsoft.com/office/drawing/2014/main" id="{B6E89DE4-92FC-089E-3D42-E77C4730EF7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06" name="Прямоугольник 2205">
              <a:extLst>
                <a:ext uri="{FF2B5EF4-FFF2-40B4-BE49-F238E27FC236}">
                  <a16:creationId xmlns:a16="http://schemas.microsoft.com/office/drawing/2014/main" id="{EA249259-6066-DE5E-3679-076245FB45D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07" name="Рисунок 1184">
              <a:extLst>
                <a:ext uri="{FF2B5EF4-FFF2-40B4-BE49-F238E27FC236}">
                  <a16:creationId xmlns:a16="http://schemas.microsoft.com/office/drawing/2014/main" id="{05A35307-E840-48AF-C88C-5F0D3BC447CE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16" name="Группа 2215">
            <a:extLst>
              <a:ext uri="{FF2B5EF4-FFF2-40B4-BE49-F238E27FC236}">
                <a16:creationId xmlns:a16="http://schemas.microsoft.com/office/drawing/2014/main" id="{2038F663-C46A-4BBC-035E-FB08F5472454}"/>
              </a:ext>
            </a:extLst>
          </p:cNvPr>
          <p:cNvGrpSpPr/>
          <p:nvPr userDrawn="1"/>
        </p:nvGrpSpPr>
        <p:grpSpPr>
          <a:xfrm>
            <a:off x="3494874" y="3994414"/>
            <a:ext cx="312638" cy="312638"/>
            <a:chOff x="2816046" y="7085282"/>
            <a:chExt cx="346932" cy="346932"/>
          </a:xfrm>
        </p:grpSpPr>
        <p:sp>
          <p:nvSpPr>
            <p:cNvPr id="2217" name="Рисунок 1184">
              <a:extLst>
                <a:ext uri="{FF2B5EF4-FFF2-40B4-BE49-F238E27FC236}">
                  <a16:creationId xmlns:a16="http://schemas.microsoft.com/office/drawing/2014/main" id="{C465162D-3F2B-E9FD-22D3-F26DF2BE8D7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18" name="Прямоугольник 2217">
              <a:extLst>
                <a:ext uri="{FF2B5EF4-FFF2-40B4-BE49-F238E27FC236}">
                  <a16:creationId xmlns:a16="http://schemas.microsoft.com/office/drawing/2014/main" id="{C17579C1-6F29-0034-5DB2-F5779AF8F69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19" name="Рисунок 1184">
              <a:extLst>
                <a:ext uri="{FF2B5EF4-FFF2-40B4-BE49-F238E27FC236}">
                  <a16:creationId xmlns:a16="http://schemas.microsoft.com/office/drawing/2014/main" id="{DC2B2B47-B1EE-A80B-5CE7-45B4B18AE113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20" name="Группа 2219">
            <a:extLst>
              <a:ext uri="{FF2B5EF4-FFF2-40B4-BE49-F238E27FC236}">
                <a16:creationId xmlns:a16="http://schemas.microsoft.com/office/drawing/2014/main" id="{FBEF28EC-6A57-EA74-BEA6-B494FA9588F4}"/>
              </a:ext>
            </a:extLst>
          </p:cNvPr>
          <p:cNvGrpSpPr/>
          <p:nvPr userDrawn="1"/>
        </p:nvGrpSpPr>
        <p:grpSpPr>
          <a:xfrm>
            <a:off x="3494874" y="9804225"/>
            <a:ext cx="312638" cy="312638"/>
            <a:chOff x="2816046" y="7085282"/>
            <a:chExt cx="346932" cy="346932"/>
          </a:xfrm>
        </p:grpSpPr>
        <p:sp>
          <p:nvSpPr>
            <p:cNvPr id="2221" name="Рисунок 1184">
              <a:extLst>
                <a:ext uri="{FF2B5EF4-FFF2-40B4-BE49-F238E27FC236}">
                  <a16:creationId xmlns:a16="http://schemas.microsoft.com/office/drawing/2014/main" id="{D701E7F3-28BB-8002-4342-455ACE17FE7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22" name="Прямоугольник 2221">
              <a:extLst>
                <a:ext uri="{FF2B5EF4-FFF2-40B4-BE49-F238E27FC236}">
                  <a16:creationId xmlns:a16="http://schemas.microsoft.com/office/drawing/2014/main" id="{C007C8DC-AEB8-8BE3-D47E-DF66E7A0BD5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23" name="Рисунок 1184">
              <a:extLst>
                <a:ext uri="{FF2B5EF4-FFF2-40B4-BE49-F238E27FC236}">
                  <a16:creationId xmlns:a16="http://schemas.microsoft.com/office/drawing/2014/main" id="{EDFD9038-059A-F491-D190-A7D87D3BC3A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D27A418E-A1EA-43C2-6476-6D803B3F5257}"/>
              </a:ext>
            </a:extLst>
          </p:cNvPr>
          <p:cNvGrpSpPr/>
          <p:nvPr userDrawn="1"/>
        </p:nvGrpSpPr>
        <p:grpSpPr>
          <a:xfrm>
            <a:off x="3494874" y="5443651"/>
            <a:ext cx="312638" cy="312638"/>
            <a:chOff x="2816046" y="7085282"/>
            <a:chExt cx="346932" cy="346932"/>
          </a:xfrm>
        </p:grpSpPr>
        <p:sp>
          <p:nvSpPr>
            <p:cNvPr id="46" name="Рисунок 1184">
              <a:extLst>
                <a:ext uri="{FF2B5EF4-FFF2-40B4-BE49-F238E27FC236}">
                  <a16:creationId xmlns:a16="http://schemas.microsoft.com/office/drawing/2014/main" id="{35D52C2D-85A7-EE5E-2C45-D6F9036B27C2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A2AFFE1C-7153-E986-DA48-DE3E0260AE06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Рисунок 1184">
              <a:extLst>
                <a:ext uri="{FF2B5EF4-FFF2-40B4-BE49-F238E27FC236}">
                  <a16:creationId xmlns:a16="http://schemas.microsoft.com/office/drawing/2014/main" id="{ED4C7005-0CAD-7D52-78AF-6B016F6A691E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69" name="Группа 1868">
            <a:extLst>
              <a:ext uri="{FF2B5EF4-FFF2-40B4-BE49-F238E27FC236}">
                <a16:creationId xmlns:a16="http://schemas.microsoft.com/office/drawing/2014/main" id="{30191661-0222-A8CF-8929-A397F71C65D8}"/>
              </a:ext>
            </a:extLst>
          </p:cNvPr>
          <p:cNvGrpSpPr/>
          <p:nvPr userDrawn="1"/>
        </p:nvGrpSpPr>
        <p:grpSpPr>
          <a:xfrm>
            <a:off x="6130477" y="5445188"/>
            <a:ext cx="312638" cy="312638"/>
            <a:chOff x="2816046" y="7085282"/>
            <a:chExt cx="346932" cy="346932"/>
          </a:xfrm>
        </p:grpSpPr>
        <p:sp>
          <p:nvSpPr>
            <p:cNvPr id="1870" name="Рисунок 1184">
              <a:extLst>
                <a:ext uri="{FF2B5EF4-FFF2-40B4-BE49-F238E27FC236}">
                  <a16:creationId xmlns:a16="http://schemas.microsoft.com/office/drawing/2014/main" id="{447C694F-C543-8A8A-36CD-1EEFB5610F09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71" name="Прямоугольник 1870">
              <a:extLst>
                <a:ext uri="{FF2B5EF4-FFF2-40B4-BE49-F238E27FC236}">
                  <a16:creationId xmlns:a16="http://schemas.microsoft.com/office/drawing/2014/main" id="{0FF47C63-BCF8-7AE6-200C-4E68DABC890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72" name="Рисунок 1184">
              <a:extLst>
                <a:ext uri="{FF2B5EF4-FFF2-40B4-BE49-F238E27FC236}">
                  <a16:creationId xmlns:a16="http://schemas.microsoft.com/office/drawing/2014/main" id="{F3FB1D5B-5E84-B1F8-9021-956BAA102A8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81" name="Группа 1880">
            <a:extLst>
              <a:ext uri="{FF2B5EF4-FFF2-40B4-BE49-F238E27FC236}">
                <a16:creationId xmlns:a16="http://schemas.microsoft.com/office/drawing/2014/main" id="{1A3AC308-5228-DEF6-8226-E559B58587EE}"/>
              </a:ext>
            </a:extLst>
          </p:cNvPr>
          <p:cNvGrpSpPr/>
          <p:nvPr userDrawn="1"/>
        </p:nvGrpSpPr>
        <p:grpSpPr>
          <a:xfrm>
            <a:off x="8831970" y="6894426"/>
            <a:ext cx="312638" cy="312638"/>
            <a:chOff x="2816046" y="7085282"/>
            <a:chExt cx="346932" cy="346932"/>
          </a:xfrm>
        </p:grpSpPr>
        <p:sp>
          <p:nvSpPr>
            <p:cNvPr id="1882" name="Рисунок 1184">
              <a:extLst>
                <a:ext uri="{FF2B5EF4-FFF2-40B4-BE49-F238E27FC236}">
                  <a16:creationId xmlns:a16="http://schemas.microsoft.com/office/drawing/2014/main" id="{B8A5D25C-978C-EDC5-32C3-2948138175D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83" name="Прямоугольник 1882">
              <a:extLst>
                <a:ext uri="{FF2B5EF4-FFF2-40B4-BE49-F238E27FC236}">
                  <a16:creationId xmlns:a16="http://schemas.microsoft.com/office/drawing/2014/main" id="{0CC0101E-83A7-A24A-ECF2-5C79F8C175E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84" name="Рисунок 1184">
              <a:extLst>
                <a:ext uri="{FF2B5EF4-FFF2-40B4-BE49-F238E27FC236}">
                  <a16:creationId xmlns:a16="http://schemas.microsoft.com/office/drawing/2014/main" id="{61AD3802-74BE-2A59-D23E-68855B14DB26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91" name="Группа 1890">
            <a:extLst>
              <a:ext uri="{FF2B5EF4-FFF2-40B4-BE49-F238E27FC236}">
                <a16:creationId xmlns:a16="http://schemas.microsoft.com/office/drawing/2014/main" id="{88973B1F-77A7-57BD-2A1B-DCD02B791955}"/>
              </a:ext>
            </a:extLst>
          </p:cNvPr>
          <p:cNvGrpSpPr/>
          <p:nvPr userDrawn="1"/>
        </p:nvGrpSpPr>
        <p:grpSpPr>
          <a:xfrm>
            <a:off x="8831970" y="5450636"/>
            <a:ext cx="312638" cy="312638"/>
            <a:chOff x="2816046" y="7085282"/>
            <a:chExt cx="346932" cy="346932"/>
          </a:xfrm>
        </p:grpSpPr>
        <p:sp>
          <p:nvSpPr>
            <p:cNvPr id="1892" name="Рисунок 1184">
              <a:extLst>
                <a:ext uri="{FF2B5EF4-FFF2-40B4-BE49-F238E27FC236}">
                  <a16:creationId xmlns:a16="http://schemas.microsoft.com/office/drawing/2014/main" id="{50728BD7-1ADE-7758-B578-EEAFE7BEB13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93" name="Прямоугольник 1892">
              <a:extLst>
                <a:ext uri="{FF2B5EF4-FFF2-40B4-BE49-F238E27FC236}">
                  <a16:creationId xmlns:a16="http://schemas.microsoft.com/office/drawing/2014/main" id="{EA889C38-D6B6-AB97-EE3F-8AC239BBFE91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94" name="Рисунок 1184">
              <a:extLst>
                <a:ext uri="{FF2B5EF4-FFF2-40B4-BE49-F238E27FC236}">
                  <a16:creationId xmlns:a16="http://schemas.microsoft.com/office/drawing/2014/main" id="{D3A46811-88F9-879A-D4BC-D2D6FB37482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1" name="Группа 1900">
            <a:extLst>
              <a:ext uri="{FF2B5EF4-FFF2-40B4-BE49-F238E27FC236}">
                <a16:creationId xmlns:a16="http://schemas.microsoft.com/office/drawing/2014/main" id="{095E3701-0CD1-FEAF-CA4D-D7212B83E065}"/>
              </a:ext>
            </a:extLst>
          </p:cNvPr>
          <p:cNvGrpSpPr/>
          <p:nvPr userDrawn="1"/>
        </p:nvGrpSpPr>
        <p:grpSpPr>
          <a:xfrm>
            <a:off x="6130477" y="7619044"/>
            <a:ext cx="312638" cy="312638"/>
            <a:chOff x="2816046" y="7085282"/>
            <a:chExt cx="346932" cy="346932"/>
          </a:xfrm>
        </p:grpSpPr>
        <p:sp>
          <p:nvSpPr>
            <p:cNvPr id="1902" name="Рисунок 1184">
              <a:extLst>
                <a:ext uri="{FF2B5EF4-FFF2-40B4-BE49-F238E27FC236}">
                  <a16:creationId xmlns:a16="http://schemas.microsoft.com/office/drawing/2014/main" id="{E2A65771-8D61-D558-E4E6-905D52E5C15E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03" name="Прямоугольник 1902">
              <a:extLst>
                <a:ext uri="{FF2B5EF4-FFF2-40B4-BE49-F238E27FC236}">
                  <a16:creationId xmlns:a16="http://schemas.microsoft.com/office/drawing/2014/main" id="{0F5F1934-68D8-0681-010F-EDAA3810FB2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04" name="Рисунок 1184">
              <a:extLst>
                <a:ext uri="{FF2B5EF4-FFF2-40B4-BE49-F238E27FC236}">
                  <a16:creationId xmlns:a16="http://schemas.microsoft.com/office/drawing/2014/main" id="{35064663-4555-A0B2-ED48-040FB305E4C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5" name="Группа 1904">
            <a:extLst>
              <a:ext uri="{FF2B5EF4-FFF2-40B4-BE49-F238E27FC236}">
                <a16:creationId xmlns:a16="http://schemas.microsoft.com/office/drawing/2014/main" id="{8C40DD2D-4AFA-ECB7-777A-4076CDE72565}"/>
              </a:ext>
            </a:extLst>
          </p:cNvPr>
          <p:cNvGrpSpPr/>
          <p:nvPr userDrawn="1"/>
        </p:nvGrpSpPr>
        <p:grpSpPr>
          <a:xfrm>
            <a:off x="6130477" y="6894426"/>
            <a:ext cx="312638" cy="312638"/>
            <a:chOff x="2816046" y="7085282"/>
            <a:chExt cx="346932" cy="346932"/>
          </a:xfrm>
        </p:grpSpPr>
        <p:sp>
          <p:nvSpPr>
            <p:cNvPr id="1906" name="Рисунок 1184">
              <a:extLst>
                <a:ext uri="{FF2B5EF4-FFF2-40B4-BE49-F238E27FC236}">
                  <a16:creationId xmlns:a16="http://schemas.microsoft.com/office/drawing/2014/main" id="{AD17DA04-E156-3DA6-93EB-5CCCA80F06C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07" name="Прямоугольник 1906">
              <a:extLst>
                <a:ext uri="{FF2B5EF4-FFF2-40B4-BE49-F238E27FC236}">
                  <a16:creationId xmlns:a16="http://schemas.microsoft.com/office/drawing/2014/main" id="{D0323C47-C2D9-22BF-FB42-84D6738FBC9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08" name="Рисунок 1184">
              <a:extLst>
                <a:ext uri="{FF2B5EF4-FFF2-40B4-BE49-F238E27FC236}">
                  <a16:creationId xmlns:a16="http://schemas.microsoft.com/office/drawing/2014/main" id="{6BD61788-3D6A-335F-C9CC-8DADC7BDE63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9" name="Группа 1908">
            <a:extLst>
              <a:ext uri="{FF2B5EF4-FFF2-40B4-BE49-F238E27FC236}">
                <a16:creationId xmlns:a16="http://schemas.microsoft.com/office/drawing/2014/main" id="{2F468B2F-61C8-04F7-2643-40949A2F4509}"/>
              </a:ext>
            </a:extLst>
          </p:cNvPr>
          <p:cNvGrpSpPr/>
          <p:nvPr userDrawn="1"/>
        </p:nvGrpSpPr>
        <p:grpSpPr>
          <a:xfrm>
            <a:off x="6130477" y="6172531"/>
            <a:ext cx="312638" cy="312638"/>
            <a:chOff x="2816046" y="7085282"/>
            <a:chExt cx="346932" cy="346932"/>
          </a:xfrm>
        </p:grpSpPr>
        <p:sp>
          <p:nvSpPr>
            <p:cNvPr id="1910" name="Рисунок 1184">
              <a:extLst>
                <a:ext uri="{FF2B5EF4-FFF2-40B4-BE49-F238E27FC236}">
                  <a16:creationId xmlns:a16="http://schemas.microsoft.com/office/drawing/2014/main" id="{E4F146F5-A761-2447-8DD0-48D5C2C68B3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1" name="Прямоугольник 1910">
              <a:extLst>
                <a:ext uri="{FF2B5EF4-FFF2-40B4-BE49-F238E27FC236}">
                  <a16:creationId xmlns:a16="http://schemas.microsoft.com/office/drawing/2014/main" id="{8D96A5CC-0F43-5BBE-0F31-E68CAE053A4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12" name="Рисунок 1184">
              <a:extLst>
                <a:ext uri="{FF2B5EF4-FFF2-40B4-BE49-F238E27FC236}">
                  <a16:creationId xmlns:a16="http://schemas.microsoft.com/office/drawing/2014/main" id="{B3B9D24C-C449-F1CF-0F84-05E65D7448F4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13" name="Группа 1912">
            <a:extLst>
              <a:ext uri="{FF2B5EF4-FFF2-40B4-BE49-F238E27FC236}">
                <a16:creationId xmlns:a16="http://schemas.microsoft.com/office/drawing/2014/main" id="{5089510D-998A-F7BF-2C80-0840AD3B2B97}"/>
              </a:ext>
            </a:extLst>
          </p:cNvPr>
          <p:cNvGrpSpPr/>
          <p:nvPr userDrawn="1"/>
        </p:nvGrpSpPr>
        <p:grpSpPr>
          <a:xfrm>
            <a:off x="6130477" y="4728741"/>
            <a:ext cx="312638" cy="312638"/>
            <a:chOff x="2816046" y="7085282"/>
            <a:chExt cx="346932" cy="346932"/>
          </a:xfrm>
        </p:grpSpPr>
        <p:sp>
          <p:nvSpPr>
            <p:cNvPr id="1914" name="Рисунок 1184">
              <a:extLst>
                <a:ext uri="{FF2B5EF4-FFF2-40B4-BE49-F238E27FC236}">
                  <a16:creationId xmlns:a16="http://schemas.microsoft.com/office/drawing/2014/main" id="{2CED6186-C7FD-F26C-4A39-6E2C0AF830D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5" name="Прямоугольник 1914">
              <a:extLst>
                <a:ext uri="{FF2B5EF4-FFF2-40B4-BE49-F238E27FC236}">
                  <a16:creationId xmlns:a16="http://schemas.microsoft.com/office/drawing/2014/main" id="{89033EA2-0CDD-4DD0-3D63-0D443DCE596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16" name="Рисунок 1184">
              <a:extLst>
                <a:ext uri="{FF2B5EF4-FFF2-40B4-BE49-F238E27FC236}">
                  <a16:creationId xmlns:a16="http://schemas.microsoft.com/office/drawing/2014/main" id="{B0C897C5-1C0B-C188-BBFB-A14645A95886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17" name="Группа 1916">
            <a:extLst>
              <a:ext uri="{FF2B5EF4-FFF2-40B4-BE49-F238E27FC236}">
                <a16:creationId xmlns:a16="http://schemas.microsoft.com/office/drawing/2014/main" id="{829AB3BE-9DAC-EA7F-52CE-B77C8EA6901D}"/>
              </a:ext>
            </a:extLst>
          </p:cNvPr>
          <p:cNvGrpSpPr/>
          <p:nvPr userDrawn="1"/>
        </p:nvGrpSpPr>
        <p:grpSpPr>
          <a:xfrm>
            <a:off x="3494874" y="7619044"/>
            <a:ext cx="312638" cy="312638"/>
            <a:chOff x="2816046" y="7085282"/>
            <a:chExt cx="346932" cy="346932"/>
          </a:xfrm>
        </p:grpSpPr>
        <p:sp>
          <p:nvSpPr>
            <p:cNvPr id="1918" name="Рисунок 1184">
              <a:extLst>
                <a:ext uri="{FF2B5EF4-FFF2-40B4-BE49-F238E27FC236}">
                  <a16:creationId xmlns:a16="http://schemas.microsoft.com/office/drawing/2014/main" id="{6F04067C-E2C7-B355-E416-CA4981378CD9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9" name="Прямоугольник 1918">
              <a:extLst>
                <a:ext uri="{FF2B5EF4-FFF2-40B4-BE49-F238E27FC236}">
                  <a16:creationId xmlns:a16="http://schemas.microsoft.com/office/drawing/2014/main" id="{6EC4735E-FCAC-DD79-A138-F8A84DF96A68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64" name="Рисунок 1184">
              <a:extLst>
                <a:ext uri="{FF2B5EF4-FFF2-40B4-BE49-F238E27FC236}">
                  <a16:creationId xmlns:a16="http://schemas.microsoft.com/office/drawing/2014/main" id="{F606A38C-C08A-F11C-F9A9-DD29A43D6FB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B6F05BFD-21A8-0EA5-20C6-421C3991DCD4}"/>
              </a:ext>
            </a:extLst>
          </p:cNvPr>
          <p:cNvGrpSpPr/>
          <p:nvPr userDrawn="1"/>
        </p:nvGrpSpPr>
        <p:grpSpPr>
          <a:xfrm>
            <a:off x="3494874" y="6894426"/>
            <a:ext cx="312638" cy="312638"/>
            <a:chOff x="2816046" y="7085282"/>
            <a:chExt cx="346932" cy="346932"/>
          </a:xfrm>
        </p:grpSpPr>
        <p:sp>
          <p:nvSpPr>
            <p:cNvPr id="66" name="Рисунок 1184">
              <a:extLst>
                <a:ext uri="{FF2B5EF4-FFF2-40B4-BE49-F238E27FC236}">
                  <a16:creationId xmlns:a16="http://schemas.microsoft.com/office/drawing/2014/main" id="{721CF116-5CD2-3137-5B61-D104813A69C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C461C061-B62C-42B2-6659-E9DBD8FF7B1F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68" name="Рисунок 1184">
              <a:extLst>
                <a:ext uri="{FF2B5EF4-FFF2-40B4-BE49-F238E27FC236}">
                  <a16:creationId xmlns:a16="http://schemas.microsoft.com/office/drawing/2014/main" id="{08B16AE9-B0F3-0A1F-C4DE-C2B3E666B89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63D4A178-07D0-0A8E-7B9B-2D8AEE06841D}"/>
              </a:ext>
            </a:extLst>
          </p:cNvPr>
          <p:cNvGrpSpPr/>
          <p:nvPr userDrawn="1"/>
        </p:nvGrpSpPr>
        <p:grpSpPr>
          <a:xfrm>
            <a:off x="3494874" y="6172531"/>
            <a:ext cx="312638" cy="312638"/>
            <a:chOff x="2816046" y="7085282"/>
            <a:chExt cx="346932" cy="346932"/>
          </a:xfrm>
        </p:grpSpPr>
        <p:sp>
          <p:nvSpPr>
            <p:cNvPr id="70" name="Рисунок 1184">
              <a:extLst>
                <a:ext uri="{FF2B5EF4-FFF2-40B4-BE49-F238E27FC236}">
                  <a16:creationId xmlns:a16="http://schemas.microsoft.com/office/drawing/2014/main" id="{8992FAA6-4FB1-0721-D0CE-6F8DA670F7D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id="{0D5A1EAC-E0E6-B96E-94AA-57E5C16F0E59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72" name="Рисунок 1184">
              <a:extLst>
                <a:ext uri="{FF2B5EF4-FFF2-40B4-BE49-F238E27FC236}">
                  <a16:creationId xmlns:a16="http://schemas.microsoft.com/office/drawing/2014/main" id="{1880C40F-741E-9913-237B-91AE4807480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B86F3DFE-E1EC-BB6D-87B8-0CFFFAE0EEF5}"/>
              </a:ext>
            </a:extLst>
          </p:cNvPr>
          <p:cNvGrpSpPr/>
          <p:nvPr userDrawn="1"/>
        </p:nvGrpSpPr>
        <p:grpSpPr>
          <a:xfrm>
            <a:off x="11508756" y="7619044"/>
            <a:ext cx="312638" cy="312638"/>
            <a:chOff x="2816046" y="7085282"/>
            <a:chExt cx="346932" cy="346932"/>
          </a:xfrm>
        </p:grpSpPr>
        <p:sp>
          <p:nvSpPr>
            <p:cNvPr id="94" name="Рисунок 1184">
              <a:extLst>
                <a:ext uri="{FF2B5EF4-FFF2-40B4-BE49-F238E27FC236}">
                  <a16:creationId xmlns:a16="http://schemas.microsoft.com/office/drawing/2014/main" id="{DE3A3AF6-9CDD-79F4-D142-0A649FF6D65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Прямоугольник 94">
              <a:extLst>
                <a:ext uri="{FF2B5EF4-FFF2-40B4-BE49-F238E27FC236}">
                  <a16:creationId xmlns:a16="http://schemas.microsoft.com/office/drawing/2014/main" id="{550B69BB-569E-83F3-4860-8C51DEBDF7A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96" name="Рисунок 1184">
              <a:extLst>
                <a:ext uri="{FF2B5EF4-FFF2-40B4-BE49-F238E27FC236}">
                  <a16:creationId xmlns:a16="http://schemas.microsoft.com/office/drawing/2014/main" id="{1C7A63C1-687B-55FD-7472-306466EB26F2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EEC3B036-8A28-B18B-CD36-A59DF6BEDA58}"/>
              </a:ext>
            </a:extLst>
          </p:cNvPr>
          <p:cNvGrpSpPr/>
          <p:nvPr userDrawn="1"/>
        </p:nvGrpSpPr>
        <p:grpSpPr>
          <a:xfrm>
            <a:off x="13246605" y="6899322"/>
            <a:ext cx="312638" cy="312638"/>
            <a:chOff x="2816046" y="7085282"/>
            <a:chExt cx="346932" cy="346932"/>
          </a:xfrm>
        </p:grpSpPr>
        <p:sp>
          <p:nvSpPr>
            <p:cNvPr id="98" name="Рисунок 1184">
              <a:extLst>
                <a:ext uri="{FF2B5EF4-FFF2-40B4-BE49-F238E27FC236}">
                  <a16:creationId xmlns:a16="http://schemas.microsoft.com/office/drawing/2014/main" id="{81F8EA0F-A2A6-33A1-3B73-62ADD237D0E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Прямоугольник 98">
              <a:extLst>
                <a:ext uri="{FF2B5EF4-FFF2-40B4-BE49-F238E27FC236}">
                  <a16:creationId xmlns:a16="http://schemas.microsoft.com/office/drawing/2014/main" id="{8B5886B0-4150-2F52-D9B6-9D66CFE17F43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1" name="Рисунок 1184">
              <a:extLst>
                <a:ext uri="{FF2B5EF4-FFF2-40B4-BE49-F238E27FC236}">
                  <a16:creationId xmlns:a16="http://schemas.microsoft.com/office/drawing/2014/main" id="{3A5B671B-8BCF-2846-983C-70D05D8BFE90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C367E978-B339-3E34-FEED-1D99FDFE0034}"/>
              </a:ext>
            </a:extLst>
          </p:cNvPr>
          <p:cNvGrpSpPr/>
          <p:nvPr userDrawn="1"/>
        </p:nvGrpSpPr>
        <p:grpSpPr>
          <a:xfrm>
            <a:off x="17875382" y="7467629"/>
            <a:ext cx="312638" cy="312638"/>
            <a:chOff x="2816046" y="7085282"/>
            <a:chExt cx="346932" cy="346932"/>
          </a:xfrm>
        </p:grpSpPr>
        <p:sp>
          <p:nvSpPr>
            <p:cNvPr id="103" name="Рисунок 1184">
              <a:extLst>
                <a:ext uri="{FF2B5EF4-FFF2-40B4-BE49-F238E27FC236}">
                  <a16:creationId xmlns:a16="http://schemas.microsoft.com/office/drawing/2014/main" id="{113B3131-3A27-3468-BF3E-BA7293AB37D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Прямоугольник 103">
              <a:extLst>
                <a:ext uri="{FF2B5EF4-FFF2-40B4-BE49-F238E27FC236}">
                  <a16:creationId xmlns:a16="http://schemas.microsoft.com/office/drawing/2014/main" id="{EBE9FED1-FBAF-DFAA-4D71-33E3AE4AD36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5" name="Рисунок 1184">
              <a:extLst>
                <a:ext uri="{FF2B5EF4-FFF2-40B4-BE49-F238E27FC236}">
                  <a16:creationId xmlns:a16="http://schemas.microsoft.com/office/drawing/2014/main" id="{575B0D37-E646-A2F5-80A8-DE019A63A91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075CD916-C8EC-BEDC-7DD3-0FEC417D80F0}"/>
              </a:ext>
            </a:extLst>
          </p:cNvPr>
          <p:cNvGrpSpPr/>
          <p:nvPr userDrawn="1"/>
        </p:nvGrpSpPr>
        <p:grpSpPr>
          <a:xfrm>
            <a:off x="19399090" y="6899322"/>
            <a:ext cx="312638" cy="312638"/>
            <a:chOff x="2816046" y="7085282"/>
            <a:chExt cx="346932" cy="346932"/>
          </a:xfrm>
        </p:grpSpPr>
        <p:sp>
          <p:nvSpPr>
            <p:cNvPr id="107" name="Рисунок 1184">
              <a:extLst>
                <a:ext uri="{FF2B5EF4-FFF2-40B4-BE49-F238E27FC236}">
                  <a16:creationId xmlns:a16="http://schemas.microsoft.com/office/drawing/2014/main" id="{E90B795D-5D16-AA29-BE7C-966A75D64FC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Прямоугольник 107">
              <a:extLst>
                <a:ext uri="{FF2B5EF4-FFF2-40B4-BE49-F238E27FC236}">
                  <a16:creationId xmlns:a16="http://schemas.microsoft.com/office/drawing/2014/main" id="{9AE3E0C7-A58C-9FE5-776F-957049FABDEA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9" name="Рисунок 1184">
              <a:extLst>
                <a:ext uri="{FF2B5EF4-FFF2-40B4-BE49-F238E27FC236}">
                  <a16:creationId xmlns:a16="http://schemas.microsoft.com/office/drawing/2014/main" id="{7AB6455B-36F3-0807-8C42-6DA993C326C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43B30BEA-CBE7-FCE0-0EDE-69234DB3D6BF}"/>
              </a:ext>
            </a:extLst>
          </p:cNvPr>
          <p:cNvGrpSpPr/>
          <p:nvPr userDrawn="1"/>
        </p:nvGrpSpPr>
        <p:grpSpPr>
          <a:xfrm>
            <a:off x="17875382" y="7780607"/>
            <a:ext cx="312638" cy="312638"/>
            <a:chOff x="2816046" y="7085282"/>
            <a:chExt cx="346932" cy="346932"/>
          </a:xfrm>
        </p:grpSpPr>
        <p:sp>
          <p:nvSpPr>
            <p:cNvPr id="111" name="Рисунок 1184">
              <a:extLst>
                <a:ext uri="{FF2B5EF4-FFF2-40B4-BE49-F238E27FC236}">
                  <a16:creationId xmlns:a16="http://schemas.microsoft.com/office/drawing/2014/main" id="{4F9C2904-323E-6FD9-9627-D7251AD2D644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Прямоугольник 111">
              <a:extLst>
                <a:ext uri="{FF2B5EF4-FFF2-40B4-BE49-F238E27FC236}">
                  <a16:creationId xmlns:a16="http://schemas.microsoft.com/office/drawing/2014/main" id="{85B29B3A-376C-0953-E801-A1A64CD5532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3" name="Рисунок 1184">
              <a:extLst>
                <a:ext uri="{FF2B5EF4-FFF2-40B4-BE49-F238E27FC236}">
                  <a16:creationId xmlns:a16="http://schemas.microsoft.com/office/drawing/2014/main" id="{0AC16F1A-DF60-6979-6DF1-D5BD1E0E59A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63DF9EE6-518A-34F5-8412-7263BBD8F032}"/>
              </a:ext>
            </a:extLst>
          </p:cNvPr>
          <p:cNvGrpSpPr/>
          <p:nvPr userDrawn="1"/>
        </p:nvGrpSpPr>
        <p:grpSpPr>
          <a:xfrm>
            <a:off x="22504163" y="6158061"/>
            <a:ext cx="312638" cy="312638"/>
            <a:chOff x="2816046" y="7085282"/>
            <a:chExt cx="346932" cy="346932"/>
          </a:xfrm>
        </p:grpSpPr>
        <p:sp>
          <p:nvSpPr>
            <p:cNvPr id="115" name="Рисунок 1184">
              <a:extLst>
                <a:ext uri="{FF2B5EF4-FFF2-40B4-BE49-F238E27FC236}">
                  <a16:creationId xmlns:a16="http://schemas.microsoft.com/office/drawing/2014/main" id="{8090DD1E-BEA5-3822-1F37-B9D8C669595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Прямоугольник 115">
              <a:extLst>
                <a:ext uri="{FF2B5EF4-FFF2-40B4-BE49-F238E27FC236}">
                  <a16:creationId xmlns:a16="http://schemas.microsoft.com/office/drawing/2014/main" id="{D5311B5E-5626-E150-C345-0D4B0195C378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7" name="Рисунок 1184">
              <a:extLst>
                <a:ext uri="{FF2B5EF4-FFF2-40B4-BE49-F238E27FC236}">
                  <a16:creationId xmlns:a16="http://schemas.microsoft.com/office/drawing/2014/main" id="{32B8187E-82CD-B595-2FF3-EF9F38A1D03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410EFFB1-EF2E-8306-5551-8FC5B284B7EE}"/>
              </a:ext>
            </a:extLst>
          </p:cNvPr>
          <p:cNvGrpSpPr/>
          <p:nvPr userDrawn="1"/>
        </p:nvGrpSpPr>
        <p:grpSpPr>
          <a:xfrm>
            <a:off x="20952215" y="7467629"/>
            <a:ext cx="312638" cy="312638"/>
            <a:chOff x="2816046" y="7085282"/>
            <a:chExt cx="346932" cy="346932"/>
          </a:xfrm>
        </p:grpSpPr>
        <p:sp>
          <p:nvSpPr>
            <p:cNvPr id="119" name="Рисунок 1184">
              <a:extLst>
                <a:ext uri="{FF2B5EF4-FFF2-40B4-BE49-F238E27FC236}">
                  <a16:creationId xmlns:a16="http://schemas.microsoft.com/office/drawing/2014/main" id="{C2446648-499A-49DB-7C11-5521A8D03AE5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Прямоугольник 119">
              <a:extLst>
                <a:ext uri="{FF2B5EF4-FFF2-40B4-BE49-F238E27FC236}">
                  <a16:creationId xmlns:a16="http://schemas.microsoft.com/office/drawing/2014/main" id="{731733EE-D1EF-8318-750B-E7428AEFF38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1" name="Рисунок 1184">
              <a:extLst>
                <a:ext uri="{FF2B5EF4-FFF2-40B4-BE49-F238E27FC236}">
                  <a16:creationId xmlns:a16="http://schemas.microsoft.com/office/drawing/2014/main" id="{47652CEB-7719-2928-E104-C5854E5E6BC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2" name="Группа 121">
            <a:extLst>
              <a:ext uri="{FF2B5EF4-FFF2-40B4-BE49-F238E27FC236}">
                <a16:creationId xmlns:a16="http://schemas.microsoft.com/office/drawing/2014/main" id="{E02EAA5D-16ED-CE5F-A440-EA4009D39E1F}"/>
              </a:ext>
            </a:extLst>
          </p:cNvPr>
          <p:cNvGrpSpPr/>
          <p:nvPr userDrawn="1"/>
        </p:nvGrpSpPr>
        <p:grpSpPr>
          <a:xfrm>
            <a:off x="20952215" y="7780607"/>
            <a:ext cx="312638" cy="312638"/>
            <a:chOff x="2816046" y="7085282"/>
            <a:chExt cx="346932" cy="346932"/>
          </a:xfrm>
        </p:grpSpPr>
        <p:sp>
          <p:nvSpPr>
            <p:cNvPr id="123" name="Рисунок 1184">
              <a:extLst>
                <a:ext uri="{FF2B5EF4-FFF2-40B4-BE49-F238E27FC236}">
                  <a16:creationId xmlns:a16="http://schemas.microsoft.com/office/drawing/2014/main" id="{3D78D809-FCDF-3BE3-257B-91AB6264646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id="{031200A6-9379-40A7-3838-73DEBABC8B74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5" name="Рисунок 1184">
              <a:extLst>
                <a:ext uri="{FF2B5EF4-FFF2-40B4-BE49-F238E27FC236}">
                  <a16:creationId xmlns:a16="http://schemas.microsoft.com/office/drawing/2014/main" id="{5A302ADE-36AE-0DC0-F49B-313FED930EB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81C22C2D-F678-327C-19F2-B55C9570BD79}"/>
              </a:ext>
            </a:extLst>
          </p:cNvPr>
          <p:cNvGrpSpPr/>
          <p:nvPr userDrawn="1"/>
        </p:nvGrpSpPr>
        <p:grpSpPr>
          <a:xfrm>
            <a:off x="16302258" y="7619044"/>
            <a:ext cx="312638" cy="312638"/>
            <a:chOff x="2816046" y="7085282"/>
            <a:chExt cx="346932" cy="346932"/>
          </a:xfrm>
        </p:grpSpPr>
        <p:sp>
          <p:nvSpPr>
            <p:cNvPr id="127" name="Рисунок 1184">
              <a:extLst>
                <a:ext uri="{FF2B5EF4-FFF2-40B4-BE49-F238E27FC236}">
                  <a16:creationId xmlns:a16="http://schemas.microsoft.com/office/drawing/2014/main" id="{CE2DD49D-0547-7C3B-9FF7-D98F63F03B7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76" name="Прямоугольник 2175">
              <a:extLst>
                <a:ext uri="{FF2B5EF4-FFF2-40B4-BE49-F238E27FC236}">
                  <a16:creationId xmlns:a16="http://schemas.microsoft.com/office/drawing/2014/main" id="{53BBB9B3-065F-4D47-F68F-069503BD544A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77" name="Рисунок 1184">
              <a:extLst>
                <a:ext uri="{FF2B5EF4-FFF2-40B4-BE49-F238E27FC236}">
                  <a16:creationId xmlns:a16="http://schemas.microsoft.com/office/drawing/2014/main" id="{BF03020D-1D27-562C-DD9D-6E258E9BE3F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78" name="Группа 2177">
            <a:extLst>
              <a:ext uri="{FF2B5EF4-FFF2-40B4-BE49-F238E27FC236}">
                <a16:creationId xmlns:a16="http://schemas.microsoft.com/office/drawing/2014/main" id="{C9631195-99B8-8060-0DE0-B47399F875F0}"/>
              </a:ext>
            </a:extLst>
          </p:cNvPr>
          <p:cNvGrpSpPr/>
          <p:nvPr userDrawn="1"/>
        </p:nvGrpSpPr>
        <p:grpSpPr>
          <a:xfrm>
            <a:off x="8831970" y="6181713"/>
            <a:ext cx="312638" cy="312638"/>
            <a:chOff x="2816046" y="7085282"/>
            <a:chExt cx="346932" cy="346932"/>
          </a:xfrm>
        </p:grpSpPr>
        <p:sp>
          <p:nvSpPr>
            <p:cNvPr id="2179" name="Рисунок 1184">
              <a:extLst>
                <a:ext uri="{FF2B5EF4-FFF2-40B4-BE49-F238E27FC236}">
                  <a16:creationId xmlns:a16="http://schemas.microsoft.com/office/drawing/2014/main" id="{83F5F9DA-5BF8-A87C-E2FD-84924B3AD13E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0" name="Прямоугольник 2179">
              <a:extLst>
                <a:ext uri="{FF2B5EF4-FFF2-40B4-BE49-F238E27FC236}">
                  <a16:creationId xmlns:a16="http://schemas.microsoft.com/office/drawing/2014/main" id="{84C4B8A4-E29F-7773-E5CA-5DA5CA78CE57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81" name="Рисунок 1184">
              <a:extLst>
                <a:ext uri="{FF2B5EF4-FFF2-40B4-BE49-F238E27FC236}">
                  <a16:creationId xmlns:a16="http://schemas.microsoft.com/office/drawing/2014/main" id="{FBCA041A-2248-28C9-15FD-709FBB060A07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82" name="Группа 2181">
            <a:extLst>
              <a:ext uri="{FF2B5EF4-FFF2-40B4-BE49-F238E27FC236}">
                <a16:creationId xmlns:a16="http://schemas.microsoft.com/office/drawing/2014/main" id="{C1710D80-AAA8-E2DE-2075-EB45AFE5BA06}"/>
              </a:ext>
            </a:extLst>
          </p:cNvPr>
          <p:cNvGrpSpPr/>
          <p:nvPr userDrawn="1"/>
        </p:nvGrpSpPr>
        <p:grpSpPr>
          <a:xfrm>
            <a:off x="8831970" y="4724388"/>
            <a:ext cx="312638" cy="312638"/>
            <a:chOff x="2816046" y="7085282"/>
            <a:chExt cx="346932" cy="346932"/>
          </a:xfrm>
        </p:grpSpPr>
        <p:sp>
          <p:nvSpPr>
            <p:cNvPr id="2183" name="Рисунок 1184">
              <a:extLst>
                <a:ext uri="{FF2B5EF4-FFF2-40B4-BE49-F238E27FC236}">
                  <a16:creationId xmlns:a16="http://schemas.microsoft.com/office/drawing/2014/main" id="{37F03B42-0C83-DB34-AAAD-CAE85A5C627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4" name="Прямоугольник 2183">
              <a:extLst>
                <a:ext uri="{FF2B5EF4-FFF2-40B4-BE49-F238E27FC236}">
                  <a16:creationId xmlns:a16="http://schemas.microsoft.com/office/drawing/2014/main" id="{6245B76A-0E0D-02CA-F3BB-2581F2A2A16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85" name="Рисунок 1184">
              <a:extLst>
                <a:ext uri="{FF2B5EF4-FFF2-40B4-BE49-F238E27FC236}">
                  <a16:creationId xmlns:a16="http://schemas.microsoft.com/office/drawing/2014/main" id="{6B29BC73-CD32-5B45-330B-1022327136C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86" name="Группа 2185">
            <a:extLst>
              <a:ext uri="{FF2B5EF4-FFF2-40B4-BE49-F238E27FC236}">
                <a16:creationId xmlns:a16="http://schemas.microsoft.com/office/drawing/2014/main" id="{5ABEC6C7-0944-6753-D454-98C25AD8CB62}"/>
              </a:ext>
            </a:extLst>
          </p:cNvPr>
          <p:cNvGrpSpPr/>
          <p:nvPr userDrawn="1"/>
        </p:nvGrpSpPr>
        <p:grpSpPr>
          <a:xfrm>
            <a:off x="6130477" y="8340668"/>
            <a:ext cx="312638" cy="312638"/>
            <a:chOff x="2816046" y="7085282"/>
            <a:chExt cx="346932" cy="346932"/>
          </a:xfrm>
        </p:grpSpPr>
        <p:sp>
          <p:nvSpPr>
            <p:cNvPr id="2187" name="Рисунок 1184">
              <a:extLst>
                <a:ext uri="{FF2B5EF4-FFF2-40B4-BE49-F238E27FC236}">
                  <a16:creationId xmlns:a16="http://schemas.microsoft.com/office/drawing/2014/main" id="{ADDC9BCC-2C62-CB0E-EEA8-B75D67CD260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8" name="Прямоугольник 2187">
              <a:extLst>
                <a:ext uri="{FF2B5EF4-FFF2-40B4-BE49-F238E27FC236}">
                  <a16:creationId xmlns:a16="http://schemas.microsoft.com/office/drawing/2014/main" id="{E2560DBA-5F20-ED63-7734-468697BA9D6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97" name="Рисунок 1184">
              <a:extLst>
                <a:ext uri="{FF2B5EF4-FFF2-40B4-BE49-F238E27FC236}">
                  <a16:creationId xmlns:a16="http://schemas.microsoft.com/office/drawing/2014/main" id="{A99D585D-F532-078A-15E0-9B34E01616C3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99" name="Группа 2198">
            <a:extLst>
              <a:ext uri="{FF2B5EF4-FFF2-40B4-BE49-F238E27FC236}">
                <a16:creationId xmlns:a16="http://schemas.microsoft.com/office/drawing/2014/main" id="{FF3C0799-BD8E-D1F6-CA44-00BA1F62E51C}"/>
              </a:ext>
            </a:extLst>
          </p:cNvPr>
          <p:cNvGrpSpPr/>
          <p:nvPr userDrawn="1"/>
        </p:nvGrpSpPr>
        <p:grpSpPr>
          <a:xfrm>
            <a:off x="6130477" y="9073695"/>
            <a:ext cx="312638" cy="312638"/>
            <a:chOff x="2816046" y="7085282"/>
            <a:chExt cx="346932" cy="346932"/>
          </a:xfrm>
        </p:grpSpPr>
        <p:sp>
          <p:nvSpPr>
            <p:cNvPr id="2200" name="Рисунок 1184">
              <a:extLst>
                <a:ext uri="{FF2B5EF4-FFF2-40B4-BE49-F238E27FC236}">
                  <a16:creationId xmlns:a16="http://schemas.microsoft.com/office/drawing/2014/main" id="{101C1DB8-7640-1F7A-E442-56008C2BC7A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01" name="Прямоугольник 2200">
              <a:extLst>
                <a:ext uri="{FF2B5EF4-FFF2-40B4-BE49-F238E27FC236}">
                  <a16:creationId xmlns:a16="http://schemas.microsoft.com/office/drawing/2014/main" id="{8B63DDAC-C681-62F3-5273-B1676B72A3B7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02" name="Рисунок 1184">
              <a:extLst>
                <a:ext uri="{FF2B5EF4-FFF2-40B4-BE49-F238E27FC236}">
                  <a16:creationId xmlns:a16="http://schemas.microsoft.com/office/drawing/2014/main" id="{3FA968D8-5B68-B389-59A7-384632368AA5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03" name="Группа 2202">
            <a:extLst>
              <a:ext uri="{FF2B5EF4-FFF2-40B4-BE49-F238E27FC236}">
                <a16:creationId xmlns:a16="http://schemas.microsoft.com/office/drawing/2014/main" id="{6018F42F-BB9D-6CFE-C3DD-DE72092B4F65}"/>
              </a:ext>
            </a:extLst>
          </p:cNvPr>
          <p:cNvGrpSpPr/>
          <p:nvPr userDrawn="1"/>
        </p:nvGrpSpPr>
        <p:grpSpPr>
          <a:xfrm>
            <a:off x="3494874" y="8351083"/>
            <a:ext cx="312638" cy="312638"/>
            <a:chOff x="2816046" y="7085282"/>
            <a:chExt cx="346932" cy="346932"/>
          </a:xfrm>
        </p:grpSpPr>
        <p:sp>
          <p:nvSpPr>
            <p:cNvPr id="2224" name="Рисунок 1184">
              <a:extLst>
                <a:ext uri="{FF2B5EF4-FFF2-40B4-BE49-F238E27FC236}">
                  <a16:creationId xmlns:a16="http://schemas.microsoft.com/office/drawing/2014/main" id="{AA8E75A7-C89D-F3A4-3643-17FBC0C61AC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25" name="Прямоугольник 2224">
              <a:extLst>
                <a:ext uri="{FF2B5EF4-FFF2-40B4-BE49-F238E27FC236}">
                  <a16:creationId xmlns:a16="http://schemas.microsoft.com/office/drawing/2014/main" id="{500A7FE6-3664-C634-C9A2-114C469E227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35" name="Рисунок 1184">
              <a:extLst>
                <a:ext uri="{FF2B5EF4-FFF2-40B4-BE49-F238E27FC236}">
                  <a16:creationId xmlns:a16="http://schemas.microsoft.com/office/drawing/2014/main" id="{40910BE7-1314-ACD9-A097-C17CD52D2D0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4111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ithout title">
  <p:cSld name="1_Without title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5"/>
          <p:cNvSpPr txBox="1">
            <a:spLocks noGrp="1"/>
          </p:cNvSpPr>
          <p:nvPr>
            <p:ph type="sldNum" idx="12"/>
          </p:nvPr>
        </p:nvSpPr>
        <p:spPr>
          <a:xfrm>
            <a:off x="22592372" y="12355709"/>
            <a:ext cx="327013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lnSpc>
                <a:spcPct val="110000"/>
              </a:lnSpc>
              <a:spcBef>
                <a:spcPts val="0"/>
              </a:spcBef>
              <a:buNone/>
              <a:defRPr/>
            </a:lvl1pPr>
            <a:lvl2pPr marL="0" lvl="1" indent="0" algn="r">
              <a:lnSpc>
                <a:spcPct val="110000"/>
              </a:lnSpc>
              <a:spcBef>
                <a:spcPts val="0"/>
              </a:spcBef>
              <a:buNone/>
              <a:defRPr/>
            </a:lvl2pPr>
            <a:lvl3pPr marL="0" lvl="2" indent="0" algn="r">
              <a:lnSpc>
                <a:spcPct val="110000"/>
              </a:lnSpc>
              <a:spcBef>
                <a:spcPts val="0"/>
              </a:spcBef>
              <a:buNone/>
              <a:defRPr/>
            </a:lvl3pPr>
            <a:lvl4pPr marL="0" lvl="3" indent="0" algn="r">
              <a:lnSpc>
                <a:spcPct val="110000"/>
              </a:lnSpc>
              <a:spcBef>
                <a:spcPts val="0"/>
              </a:spcBef>
              <a:buNone/>
              <a:defRPr/>
            </a:lvl4pPr>
            <a:lvl5pPr marL="0" lvl="4" indent="0" algn="r">
              <a:lnSpc>
                <a:spcPct val="110000"/>
              </a:lnSpc>
              <a:spcBef>
                <a:spcPts val="0"/>
              </a:spcBef>
              <a:buNone/>
              <a:defRPr/>
            </a:lvl5pPr>
            <a:lvl6pPr marL="0" lvl="5" indent="0" algn="r">
              <a:lnSpc>
                <a:spcPct val="110000"/>
              </a:lnSpc>
              <a:spcBef>
                <a:spcPts val="0"/>
              </a:spcBef>
              <a:buNone/>
              <a:defRPr/>
            </a:lvl6pPr>
            <a:lvl7pPr marL="0" lvl="6" indent="0" algn="r">
              <a:lnSpc>
                <a:spcPct val="110000"/>
              </a:lnSpc>
              <a:spcBef>
                <a:spcPts val="0"/>
              </a:spcBef>
              <a:buNone/>
              <a:defRPr/>
            </a:lvl7pPr>
            <a:lvl8pPr marL="0" lvl="7" indent="0" algn="r">
              <a:lnSpc>
                <a:spcPct val="110000"/>
              </a:lnSpc>
              <a:spcBef>
                <a:spcPts val="0"/>
              </a:spcBef>
              <a:buNone/>
              <a:defRPr/>
            </a:lvl8pPr>
            <a:lvl9pPr marL="0" lvl="8" indent="0" algn="r">
              <a:lnSpc>
                <a:spcPct val="110000"/>
              </a:lnSpc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  <p:sp>
        <p:nvSpPr>
          <p:cNvPr id="62" name="Google Shape;62;p15"/>
          <p:cNvSpPr txBox="1">
            <a:spLocks noGrp="1"/>
          </p:cNvSpPr>
          <p:nvPr>
            <p:ph type="body" idx="1"/>
          </p:nvPr>
        </p:nvSpPr>
        <p:spPr>
          <a:xfrm>
            <a:off x="1440000" y="12326511"/>
            <a:ext cx="19983611" cy="3610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1219124" lvl="0" indent="-609562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46557D"/>
              </a:buClr>
              <a:buSzPts val="800"/>
              <a:buNone/>
              <a:defRPr sz="2133">
                <a:solidFill>
                  <a:srgbClr val="46557D"/>
                </a:solidFill>
              </a:defRPr>
            </a:lvl1pPr>
            <a:lvl2pPr marL="2438248" lvl="1" indent="-6942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Char char="●"/>
              <a:defRPr/>
            </a:lvl2pPr>
            <a:lvl3pPr marL="3657371" lvl="2" indent="-609562" algn="l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/>
            </a:lvl3pPr>
            <a:lvl4pPr marL="4876495" lvl="3" indent="-694223" algn="l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SzPts val="500"/>
              <a:buChar char="●"/>
              <a:defRPr/>
            </a:lvl4pPr>
            <a:lvl5pPr marL="6095619" lvl="4" indent="-609562" algn="l">
              <a:lnSpc>
                <a:spcPct val="104000"/>
              </a:lnSpc>
              <a:spcBef>
                <a:spcPts val="2400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/>
            </a:lvl5pPr>
            <a:lvl6pPr marL="7314743" lvl="5" indent="-694223" algn="l">
              <a:lnSpc>
                <a:spcPct val="104000"/>
              </a:lnSpc>
              <a:spcBef>
                <a:spcPts val="2400"/>
              </a:spcBef>
              <a:spcAft>
                <a:spcPts val="0"/>
              </a:spcAft>
              <a:buSzPts val="500"/>
              <a:buChar char="●"/>
              <a:defRPr/>
            </a:lvl6pPr>
            <a:lvl7pPr marL="8533867" lvl="6" indent="-609562" algn="l">
              <a:lnSpc>
                <a:spcPct val="104000"/>
              </a:lnSpc>
              <a:spcBef>
                <a:spcPts val="2400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/>
            </a:lvl7pPr>
            <a:lvl8pPr marL="9752990" lvl="7" indent="-694223" algn="l">
              <a:lnSpc>
                <a:spcPct val="104000"/>
              </a:lnSpc>
              <a:spcBef>
                <a:spcPts val="1867"/>
              </a:spcBef>
              <a:spcAft>
                <a:spcPts val="0"/>
              </a:spcAft>
              <a:buSzPts val="500"/>
              <a:buChar char="●"/>
              <a:defRPr/>
            </a:lvl8pPr>
            <a:lvl9pPr marL="10972114" lvl="8" indent="-728088" algn="l">
              <a:lnSpc>
                <a:spcPct val="104000"/>
              </a:lnSpc>
              <a:spcBef>
                <a:spcPts val="1867"/>
              </a:spcBef>
              <a:spcAft>
                <a:spcPts val="1867"/>
              </a:spcAft>
              <a:buClr>
                <a:schemeClr val="dk1"/>
              </a:buClr>
              <a:buSzPts val="700"/>
              <a:buChar char="—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469024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d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8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8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0E22720-58D6-7E6C-888F-7E3AD9A07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0000" y="10386597"/>
            <a:ext cx="18170402" cy="1534010"/>
          </a:xfrm>
        </p:spPr>
        <p:txBody>
          <a:bodyPr anchor="t"/>
          <a:lstStyle>
            <a:lvl1pPr marL="0" marR="0" indent="0" algn="l" defTabSz="1828709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sz="5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lnSpc>
                <a:spcPct val="89000"/>
              </a:lnSpc>
              <a:defRPr sz="5600">
                <a:latin typeface="+mn-lt"/>
              </a:defRPr>
            </a:lvl2pPr>
            <a:lvl3pPr>
              <a:lnSpc>
                <a:spcPct val="89000"/>
              </a:lnSpc>
              <a:defRPr sz="5600">
                <a:latin typeface="+mn-lt"/>
              </a:defRPr>
            </a:lvl3pPr>
            <a:lvl4pPr>
              <a:lnSpc>
                <a:spcPct val="89000"/>
              </a:lnSpc>
              <a:defRPr sz="5600">
                <a:latin typeface="+mn-lt"/>
              </a:defRPr>
            </a:lvl4pPr>
            <a:lvl5pPr>
              <a:lnSpc>
                <a:spcPct val="89000"/>
              </a:lnSpc>
              <a:defRPr sz="5600">
                <a:latin typeface="+mn-lt"/>
              </a:defRPr>
            </a:lvl5pPr>
          </a:lstStyle>
          <a:p>
            <a:pPr marL="0" marR="0" lvl="0" indent="0" algn="l" defTabSz="1828709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ример титульного слайда для коммуникаций от бренда </a:t>
            </a:r>
            <a:r>
              <a:rPr lang="en-US" dirty="0"/>
              <a:t>Yandex Ads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6C2636-F924-EB3D-C3F7-C698E9988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6259603"/>
            <a:ext cx="19678650" cy="3662734"/>
          </a:xfrm>
        </p:spPr>
        <p:txBody>
          <a:bodyPr vert="horz"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" name="Рисунок 15">
            <a:extLst>
              <a:ext uri="{FF2B5EF4-FFF2-40B4-BE49-F238E27FC236}">
                <a16:creationId xmlns:a16="http://schemas.microsoft.com/office/drawing/2014/main" id="{4FC04F12-0737-D80F-0F95-37C28D5E0E8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1961476" y="1217613"/>
            <a:ext cx="971549" cy="97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161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c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A8E08470-C268-3AC8-B0D8-F44AA3B305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016" y="303214"/>
            <a:ext cx="21117600" cy="13104000"/>
          </a:xfrm>
          <a:prstGeom prst="roundRect">
            <a:avLst>
              <a:gd name="adj" fmla="val 4059"/>
            </a:avLst>
          </a:prstGeo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8" name="line_3">
            <a:extLst>
              <a:ext uri="{FF2B5EF4-FFF2-40B4-BE49-F238E27FC236}">
                <a16:creationId xmlns:a16="http://schemas.microsoft.com/office/drawing/2014/main" id="{19EFB692-DF8C-A876-BD46-22DE208A5416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 rot="5400000" flipH="1" flipV="1">
            <a:off x="22876563" y="11530231"/>
            <a:ext cx="25200" cy="41399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9" name="line_2">
            <a:extLst>
              <a:ext uri="{FF2B5EF4-FFF2-40B4-BE49-F238E27FC236}">
                <a16:creationId xmlns:a16="http://schemas.microsoft.com/office/drawing/2014/main" id="{431B7814-F6D9-234B-BDF7-F4C1BA5B2B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2700000" flipH="1" flipV="1">
            <a:off x="22963920" y="11687673"/>
            <a:ext cx="25200" cy="313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0" name="line_1">
            <a:extLst>
              <a:ext uri="{FF2B5EF4-FFF2-40B4-BE49-F238E27FC236}">
                <a16:creationId xmlns:a16="http://schemas.microsoft.com/office/drawing/2014/main" id="{9448B89E-58B6-C613-25D2-EEFA47E302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8100000" flipH="1" flipV="1">
            <a:off x="22963920" y="11473588"/>
            <a:ext cx="25200" cy="313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1" name="rectangle_line">
            <a:extLst>
              <a:ext uri="{FF2B5EF4-FFF2-40B4-BE49-F238E27FC236}">
                <a16:creationId xmlns:a16="http://schemas.microsoft.com/office/drawing/2014/main" id="{E9B715C1-BA2D-DE63-B53C-D1341B99BC5C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2432629" y="11262868"/>
            <a:ext cx="903599" cy="903599"/>
          </a:xfrm>
          <a:prstGeom prst="roundRect">
            <a:avLst>
              <a:gd name="adj" fmla="val 23578"/>
            </a:avLst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>
              <a:defRPr lang="ru-RU" sz="3200" dirty="0">
                <a:noFill/>
              </a:defRPr>
            </a:lvl1pPr>
          </a:lstStyle>
          <a:p>
            <a:pPr lvl="0" defTabSz="457200"/>
            <a:endParaRPr lang="ru-RU" dirty="0"/>
          </a:p>
        </p:txBody>
      </p:sp>
      <p:sp>
        <p:nvSpPr>
          <p:cNvPr id="12" name="number">
            <a:extLst>
              <a:ext uri="{FF2B5EF4-FFF2-40B4-BE49-F238E27FC236}">
                <a16:creationId xmlns:a16="http://schemas.microsoft.com/office/drawing/2014/main" id="{102DCE34-44AE-BCAC-781A-191EC97C184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2618254" y="1276284"/>
            <a:ext cx="503344" cy="1477328"/>
          </a:xfrm>
        </p:spPr>
        <p:txBody>
          <a:bodyPr wrap="none">
            <a:sp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ru-RU" sz="9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1226D319-1D5B-E5AA-A7D5-6C07B8D9DAC4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440000" y="10896651"/>
            <a:ext cx="16039672" cy="143295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97000"/>
              </a:lnSpc>
              <a:spcAft>
                <a:spcPts val="2400"/>
              </a:spcAft>
              <a:defRPr lang="ru-RU" sz="4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 на случай, если из заголовка не до конца понятно о чём пойдёт речь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773053E-341A-A1AB-0766-568A2B4795E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440000" y="1309882"/>
            <a:ext cx="17855773" cy="3034420"/>
          </a:xfrm>
        </p:spPr>
        <p:txBody>
          <a:bodyPr/>
          <a:lstStyle>
            <a:lvl1pPr marL="0" algn="l" defTabSz="457200" rtl="0" eaLnBrk="1" latinLnBrk="0" hangingPunct="1">
              <a:lnSpc>
                <a:spcPct val="82000"/>
              </a:lnSpc>
              <a:spcBef>
                <a:spcPct val="0"/>
              </a:spcBef>
              <a:spcAft>
                <a:spcPts val="2400"/>
              </a:spcAft>
              <a:buNone/>
              <a:defRPr lang="ru-RU" sz="1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 две строки</a:t>
            </a:r>
          </a:p>
        </p:txBody>
      </p:sp>
    </p:spTree>
    <p:extLst>
      <p:ext uri="{BB962C8B-B14F-4D97-AF65-F5344CB8AC3E}">
        <p14:creationId xmlns:p14="http://schemas.microsoft.com/office/powerpoint/2010/main" val="2646534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9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45B36E9-0A7E-3596-D11B-13307456C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46312BB4-4BAB-362D-7C05-85064E1DF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943200"/>
            <a:ext cx="21492000" cy="1216167"/>
          </a:xfrm>
        </p:spPr>
        <p:txBody>
          <a:bodyPr/>
          <a:lstStyle>
            <a:lvl1pPr>
              <a:lnSpc>
                <a:spcPct val="82000"/>
              </a:lnSpc>
              <a:defRPr sz="9600"/>
            </a:lvl1pPr>
          </a:lstStyle>
          <a:p>
            <a:r>
              <a:rPr lang="ru-RU" dirty="0"/>
              <a:t>Заголовок </a:t>
            </a:r>
            <a:r>
              <a:rPr lang="en-US" dirty="0"/>
              <a:t>96 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1367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FA6B5C0-6F7D-3647-3E85-70472C7752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C722DB1-8DB1-3EF2-60CF-8B434F69F6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1" y="2124816"/>
            <a:ext cx="18164038" cy="61555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21492000" cy="930704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2055697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FA6B5C0-6F7D-3647-3E85-70472C7752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C722DB1-8DB1-3EF2-60CF-8B434F69F6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1" y="3049200"/>
            <a:ext cx="18164038" cy="61555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21492000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470726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0008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3" name="photo">
            <a:extLst>
              <a:ext uri="{FF2B5EF4-FFF2-40B4-BE49-F238E27FC236}">
                <a16:creationId xmlns:a16="http://schemas.microsoft.com/office/drawing/2014/main" id="{B0946782-417E-F6EF-D83A-3858953281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341225" y="303213"/>
            <a:ext cx="11734800" cy="13104812"/>
          </a:xfrm>
          <a:prstGeom prst="roundRect">
            <a:avLst>
              <a:gd name="adj" fmla="val 2609"/>
            </a:avLst>
          </a:prstGeo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2800"/>
            </a:lvl1pPr>
          </a:lstStyle>
          <a:p>
            <a:r>
              <a:rPr lang="ru-RU" dirty="0"/>
              <a:t>Место для фотографии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10006933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801547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 +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824B1C20-C49D-4AB8-6A63-B9CF2BFC5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890395B1-EA0E-6BA5-188F-731A73A75E3D}"/>
              </a:ext>
            </a:extLst>
          </p:cNvPr>
          <p:cNvSpPr/>
          <p:nvPr/>
        </p:nvSpPr>
        <p:spPr>
          <a:xfrm>
            <a:off x="301625" y="303214"/>
            <a:ext cx="9913938" cy="13104812"/>
          </a:xfrm>
          <a:prstGeom prst="roundRect">
            <a:avLst>
              <a:gd name="adj" fmla="val 30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AC47B5AB-4F26-9000-A58A-9319661CD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81684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4D8ADDA-D968-C2A1-68C0-B953DD7B2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1" y="997200"/>
            <a:ext cx="8168400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961233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98638C-F32A-4315-2B78-69DF15877B7B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133878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6" imgW="7772400" imgH="10058400" progId="TCLayout.ActiveDocument.1">
                  <p:embed/>
                </p:oleObj>
              </mc:Choice>
              <mc:Fallback>
                <p:oleObj name="Слайд think-cell" r:id="rId26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98638C-F32A-4315-2B78-69DF15877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">
            <a:extLst>
              <a:ext uri="{FF2B5EF4-FFF2-40B4-BE49-F238E27FC236}">
                <a16:creationId xmlns:a16="http://schemas.microsoft.com/office/drawing/2014/main" id="{C2CB1C4D-C38F-DB58-9D55-D236BDAB0F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41450" y="3651250"/>
            <a:ext cx="21490550" cy="69937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Текст 40/1,0</a:t>
            </a:r>
          </a:p>
          <a:p>
            <a:pPr lvl="1"/>
            <a:r>
              <a:rPr lang="ru-RU" dirty="0"/>
              <a:t>Текст 40/1,0</a:t>
            </a:r>
          </a:p>
          <a:p>
            <a:pPr lvl="2"/>
            <a:r>
              <a:rPr lang="ru-RU" dirty="0"/>
              <a:t>Текст 36/1,0</a:t>
            </a:r>
          </a:p>
          <a:p>
            <a:pPr lvl="3"/>
            <a:r>
              <a:rPr lang="ru-RU" dirty="0"/>
              <a:t>Текст 36/1,0</a:t>
            </a:r>
          </a:p>
          <a:p>
            <a:pPr lvl="4"/>
            <a:r>
              <a:rPr lang="ru-RU" dirty="0"/>
              <a:t>Текст 32/1,04</a:t>
            </a:r>
          </a:p>
          <a:p>
            <a:pPr lvl="5"/>
            <a:r>
              <a:rPr lang="ru-RU" dirty="0"/>
              <a:t>Текст 32/1,04</a:t>
            </a:r>
          </a:p>
          <a:p>
            <a:pPr lvl="6"/>
            <a:r>
              <a:rPr lang="ru-RU" dirty="0"/>
              <a:t>Текст 28/1,04</a:t>
            </a:r>
          </a:p>
          <a:p>
            <a:pPr lvl="7"/>
            <a:r>
              <a:rPr lang="ru-RU" dirty="0"/>
              <a:t>Текст 28/1,04</a:t>
            </a:r>
          </a:p>
          <a:p>
            <a:pPr lvl="8"/>
            <a:r>
              <a:rPr lang="ru-RU" dirty="0"/>
              <a:t>Текст 28/1,04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A7F038B-6BF3-1D43-81ED-1C7C497FB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959137"/>
            <a:ext cx="21492000" cy="18614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</a:t>
            </a:r>
            <a:r>
              <a:rPr lang="en-US" dirty="0"/>
              <a:t> </a:t>
            </a:r>
            <a:r>
              <a:rPr lang="ru-RU" dirty="0"/>
              <a:t>троки 72 </a:t>
            </a:r>
            <a:r>
              <a:rPr lang="en-US" dirty="0"/>
              <a:t>pt</a:t>
            </a:r>
            <a:endParaRPr lang="ru-RU" dirty="0"/>
          </a:p>
        </p:txBody>
      </p:sp>
      <p:sp>
        <p:nvSpPr>
          <p:cNvPr id="5" name="slide_number">
            <a:extLst>
              <a:ext uri="{FF2B5EF4-FFF2-40B4-BE49-F238E27FC236}">
                <a16:creationId xmlns:a16="http://schemas.microsoft.com/office/drawing/2014/main" id="{46D0EDB3-483D-C7D8-BF05-D0F766436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592360" y="12369600"/>
            <a:ext cx="327013" cy="3179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10000"/>
              </a:lnSpc>
              <a:defRPr sz="2000">
                <a:solidFill>
                  <a:srgbClr val="46557D"/>
                </a:solidFill>
              </a:defRPr>
            </a:lvl1pPr>
          </a:lstStyle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A242505-218D-4D3F-8C56-6069F5B8F57F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5345872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6" imgW="7772400" imgH="10058400" progId="TCLayout.ActiveDocument.1">
                  <p:embed/>
                </p:oleObj>
              </mc:Choice>
              <mc:Fallback>
                <p:oleObj name="Слайд think-cell" r:id="rId26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242505-218D-4D3F-8C56-6069F5B8F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538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148" r:id="rId3"/>
    <p:sldLayoutId id="2147484146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45" r:id="rId14"/>
    <p:sldLayoutId id="2147484147" r:id="rId15"/>
    <p:sldLayoutId id="2147484105" r:id="rId16"/>
    <p:sldLayoutId id="2147484149" r:id="rId17"/>
    <p:sldLayoutId id="2147484106" r:id="rId18"/>
    <p:sldLayoutId id="2147484140" r:id="rId19"/>
    <p:sldLayoutId id="2147484141" r:id="rId20"/>
    <p:sldLayoutId id="2147484144" r:id="rId21"/>
    <p:sldLayoutId id="2147484151" r:id="rId22"/>
  </p:sldLayoutIdLst>
  <p:hf hdr="0" ftr="0" dt="0"/>
  <p:txStyles>
    <p:titleStyle>
      <a:lvl1pPr algn="l" defTabSz="1828709" rtl="0" eaLnBrk="1" latinLnBrk="0" hangingPunct="1">
        <a:lnSpc>
          <a:spcPct val="84000"/>
        </a:lnSpc>
        <a:spcBef>
          <a:spcPct val="0"/>
        </a:spcBef>
        <a:buNone/>
        <a:defRPr sz="7200" b="0" i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504000" algn="l" defTabSz="1828709" rtl="0" eaLnBrk="1" fontAlgn="ctr" latinLnBrk="0" hangingPunct="1">
        <a:lnSpc>
          <a:spcPct val="100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tabLst/>
        <a:defRPr sz="4000" b="0" i="0" kern="1200">
          <a:solidFill>
            <a:schemeClr val="tx1"/>
          </a:solidFill>
          <a:latin typeface="YS Text Regular" pitchFamily="2" charset="0"/>
          <a:ea typeface="+mn-ea"/>
          <a:cs typeface="+mn-cs"/>
        </a:defRPr>
      </a:lvl2pPr>
      <a:lvl3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ClrTx/>
        <a:buSzPct val="100000"/>
        <a:buFont typeface="Системный шрифт, обычный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468000" algn="l" defTabSz="1828709" rtl="0" eaLnBrk="1" fontAlgn="ctr" latinLnBrk="0" hangingPunct="1">
        <a:lnSpc>
          <a:spcPct val="100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709" rtl="0" eaLnBrk="1" latinLnBrk="0" hangingPunct="1">
        <a:lnSpc>
          <a:spcPct val="104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432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828709" rtl="0" eaLnBrk="1" latinLnBrk="0" hangingPunct="1">
        <a:lnSpc>
          <a:spcPct val="104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96000" indent="-396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1800"/>
        </a:spcAft>
        <a:buClr>
          <a:schemeClr val="accent3"/>
        </a:buClr>
        <a:buSzPct val="75000"/>
        <a:buFont typeface="Системный шрифт, обычный"/>
        <a:buChar char="●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432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1800"/>
        </a:spcAft>
        <a:buFont typeface="Системный шрифт, обычный"/>
        <a:buChar char="—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908" userDrawn="1">
          <p15:clr>
            <a:srgbClr val="C35EA4"/>
          </p15:clr>
        </p15:guide>
        <p15:guide id="13" pos="2050" userDrawn="1">
          <p15:clr>
            <a:srgbClr val="C35EA4"/>
          </p15:clr>
        </p15:guide>
        <p15:guide id="14" pos="2432" userDrawn="1">
          <p15:clr>
            <a:srgbClr val="3B4154"/>
          </p15:clr>
        </p15:guide>
        <p15:guide id="17" pos="3005" userDrawn="1">
          <p15:clr>
            <a:srgbClr val="C35EA4"/>
          </p15:clr>
        </p15:guide>
        <p15:guide id="19" pos="3196" userDrawn="1">
          <p15:clr>
            <a:srgbClr val="C35EA4"/>
          </p15:clr>
        </p15:guide>
        <p15:guide id="20" pos="3388" userDrawn="1">
          <p15:clr>
            <a:srgbClr val="3B4154"/>
          </p15:clr>
        </p15:guide>
        <p15:guide id="25" pos="4340" userDrawn="1">
          <p15:clr>
            <a:srgbClr val="C35EA4"/>
          </p15:clr>
        </p15:guide>
        <p15:guide id="26" pos="4530" userDrawn="1">
          <p15:clr>
            <a:srgbClr val="3B4154"/>
          </p15:clr>
        </p15:guide>
        <p15:guide id="27" pos="4720" userDrawn="1">
          <p15:clr>
            <a:srgbClr val="3B4154"/>
          </p15:clr>
        </p15:guide>
        <p15:guide id="28" pos="4910" userDrawn="1">
          <p15:clr>
            <a:srgbClr val="3B4154"/>
          </p15:clr>
        </p15:guide>
        <p15:guide id="29" pos="5290" userDrawn="1">
          <p15:clr>
            <a:srgbClr val="C35EA4"/>
          </p15:clr>
        </p15:guide>
        <p15:guide id="31" pos="5481" userDrawn="1">
          <p15:clr>
            <a:srgbClr val="C35EA4"/>
          </p15:clr>
        </p15:guide>
        <p15:guide id="32" pos="5672" userDrawn="1">
          <p15:clr>
            <a:srgbClr val="3B4154"/>
          </p15:clr>
        </p15:guide>
        <p15:guide id="33" pos="5863" userDrawn="1">
          <p15:clr>
            <a:srgbClr val="3B4154"/>
          </p15:clr>
        </p15:guide>
        <p15:guide id="35" pos="6435" userDrawn="1">
          <p15:clr>
            <a:srgbClr val="C35EA4"/>
          </p15:clr>
        </p15:guide>
        <p15:guide id="37" pos="6626" userDrawn="1">
          <p15:clr>
            <a:srgbClr val="C35EA4"/>
          </p15:clr>
        </p15:guide>
        <p15:guide id="38" pos="6817" userDrawn="1">
          <p15:clr>
            <a:srgbClr val="3B4154"/>
          </p15:clr>
        </p15:guide>
        <p15:guide id="39" pos="7010" userDrawn="1">
          <p15:clr>
            <a:srgbClr val="3B4154"/>
          </p15:clr>
        </p15:guide>
        <p15:guide id="40" pos="7202" userDrawn="1">
          <p15:clr>
            <a:srgbClr val="3B4154"/>
          </p15:clr>
        </p15:guide>
        <p15:guide id="41" pos="7582" userDrawn="1">
          <p15:clr>
            <a:srgbClr val="C35EA4"/>
          </p15:clr>
        </p15:guide>
        <p15:guide id="43" pos="7774" userDrawn="1">
          <p15:clr>
            <a:srgbClr val="C35EA4"/>
          </p15:clr>
        </p15:guide>
        <p15:guide id="44" pos="7964" userDrawn="1">
          <p15:clr>
            <a:srgbClr val="3B4154"/>
          </p15:clr>
        </p15:guide>
        <p15:guide id="45" pos="8344" userDrawn="1">
          <p15:clr>
            <a:srgbClr val="3B4154"/>
          </p15:clr>
        </p15:guide>
        <p15:guide id="46" pos="8534" userDrawn="1">
          <p15:clr>
            <a:srgbClr val="3B4154"/>
          </p15:clr>
        </p15:guide>
        <p15:guide id="47" pos="8723" userDrawn="1">
          <p15:clr>
            <a:srgbClr val="C35EA4"/>
          </p15:clr>
        </p15:guide>
        <p15:guide id="49" pos="8916" userDrawn="1">
          <p15:clr>
            <a:srgbClr val="C35EA4"/>
          </p15:clr>
        </p15:guide>
        <p15:guide id="50" pos="9106" userDrawn="1">
          <p15:clr>
            <a:srgbClr val="3B4154"/>
          </p15:clr>
        </p15:guide>
        <p15:guide id="51" pos="9296" userDrawn="1">
          <p15:clr>
            <a:srgbClr val="3B4154"/>
          </p15:clr>
        </p15:guide>
        <p15:guide id="52" pos="9486" userDrawn="1">
          <p15:clr>
            <a:srgbClr val="3B4154"/>
          </p15:clr>
        </p15:guide>
        <p15:guide id="53" pos="9867" userDrawn="1">
          <p15:clr>
            <a:srgbClr val="C35EA4"/>
          </p15:clr>
        </p15:guide>
        <p15:guide id="55" pos="10059" userDrawn="1">
          <p15:clr>
            <a:srgbClr val="C35EA4"/>
          </p15:clr>
        </p15:guide>
        <p15:guide id="56" pos="10252" userDrawn="1">
          <p15:clr>
            <a:srgbClr val="3B4154"/>
          </p15:clr>
        </p15:guide>
        <p15:guide id="57" pos="10441" userDrawn="1">
          <p15:clr>
            <a:srgbClr val="3B4154"/>
          </p15:clr>
        </p15:guide>
        <p15:guide id="58" pos="10632" userDrawn="1">
          <p15:clr>
            <a:srgbClr val="3B4154"/>
          </p15:clr>
        </p15:guide>
        <p15:guide id="59" pos="11016" userDrawn="1">
          <p15:clr>
            <a:srgbClr val="C35EA4"/>
          </p15:clr>
        </p15:guide>
        <p15:guide id="61" pos="11205" userDrawn="1">
          <p15:clr>
            <a:srgbClr val="C35EA4"/>
          </p15:clr>
        </p15:guide>
        <p15:guide id="62" pos="11398" userDrawn="1">
          <p15:clr>
            <a:srgbClr val="3B4154"/>
          </p15:clr>
        </p15:guide>
        <p15:guide id="63" pos="11587" userDrawn="1">
          <p15:clr>
            <a:srgbClr val="3B4154"/>
          </p15:clr>
        </p15:guide>
        <p15:guide id="64" pos="11778" userDrawn="1">
          <p15:clr>
            <a:srgbClr val="3B4154"/>
          </p15:clr>
        </p15:guide>
        <p15:guide id="65" pos="12160" userDrawn="1">
          <p15:clr>
            <a:srgbClr val="C35EA4"/>
          </p15:clr>
        </p15:guide>
        <p15:guide id="67" pos="12349" userDrawn="1">
          <p15:clr>
            <a:srgbClr val="C35EA4"/>
          </p15:clr>
        </p15:guide>
        <p15:guide id="68" pos="12542" userDrawn="1">
          <p15:clr>
            <a:srgbClr val="3B4154"/>
          </p15:clr>
        </p15:guide>
        <p15:guide id="69" pos="12731" userDrawn="1">
          <p15:clr>
            <a:srgbClr val="3B4154"/>
          </p15:clr>
        </p15:guide>
        <p15:guide id="70" pos="12922" userDrawn="1">
          <p15:clr>
            <a:srgbClr val="3B4154"/>
          </p15:clr>
        </p15:guide>
        <p15:guide id="71" pos="13304" userDrawn="1">
          <p15:clr>
            <a:srgbClr val="C35EA4"/>
          </p15:clr>
        </p15:guide>
        <p15:guide id="73" pos="13495" userDrawn="1">
          <p15:clr>
            <a:srgbClr val="C35EA4"/>
          </p15:clr>
        </p15:guide>
        <p15:guide id="74" pos="13690" userDrawn="1">
          <p15:clr>
            <a:srgbClr val="3B4154"/>
          </p15:clr>
        </p15:guide>
        <p15:guide id="75" pos="13876" userDrawn="1">
          <p15:clr>
            <a:srgbClr val="3B4154"/>
          </p15:clr>
        </p15:guide>
        <p15:guide id="76" pos="14066" userDrawn="1">
          <p15:clr>
            <a:srgbClr val="3B4154"/>
          </p15:clr>
        </p15:guide>
        <p15:guide id="77" pos="14446" userDrawn="1">
          <p15:clr>
            <a:srgbClr val="C35EA4"/>
          </p15:clr>
        </p15:guide>
        <p15:guide id="80" pos="15166" userDrawn="1">
          <p15:clr>
            <a:srgbClr val="3B4154"/>
          </p15:clr>
        </p15:guide>
        <p15:guide id="84" orient="horz" pos="191" userDrawn="1">
          <p15:clr>
            <a:srgbClr val="3B4154"/>
          </p15:clr>
        </p15:guide>
        <p15:guide id="89" orient="horz" pos="1149" userDrawn="1">
          <p15:clr>
            <a:srgbClr val="3B4154"/>
          </p15:clr>
        </p15:guide>
        <p15:guide id="90" orient="horz" pos="1342" userDrawn="1">
          <p15:clr>
            <a:srgbClr val="3B4154"/>
          </p15:clr>
        </p15:guide>
        <p15:guide id="91" orient="horz" pos="1533" userDrawn="1">
          <p15:clr>
            <a:srgbClr val="3B4154"/>
          </p15:clr>
        </p15:guide>
        <p15:guide id="92" orient="horz" pos="1726" userDrawn="1">
          <p15:clr>
            <a:srgbClr val="3B4154"/>
          </p15:clr>
        </p15:guide>
        <p15:guide id="93" orient="horz" pos="1916" userDrawn="1">
          <p15:clr>
            <a:srgbClr val="3B4154"/>
          </p15:clr>
        </p15:guide>
        <p15:guide id="94" orient="horz" pos="2109" userDrawn="1">
          <p15:clr>
            <a:srgbClr val="3B4154"/>
          </p15:clr>
        </p15:guide>
        <p15:guide id="95" orient="horz" pos="2301" userDrawn="1">
          <p15:clr>
            <a:srgbClr val="3B4154"/>
          </p15:clr>
        </p15:guide>
        <p15:guide id="96" orient="horz" pos="2492" userDrawn="1">
          <p15:clr>
            <a:srgbClr val="3B4154"/>
          </p15:clr>
        </p15:guide>
        <p15:guide id="97" orient="horz" pos="2685" userDrawn="1">
          <p15:clr>
            <a:srgbClr val="3B4154"/>
          </p15:clr>
        </p15:guide>
        <p15:guide id="98" orient="horz" pos="2876" userDrawn="1">
          <p15:clr>
            <a:srgbClr val="3B4154"/>
          </p15:clr>
        </p15:guide>
        <p15:guide id="99" orient="horz" pos="3068" userDrawn="1">
          <p15:clr>
            <a:srgbClr val="3B4154"/>
          </p15:clr>
        </p15:guide>
        <p15:guide id="100" orient="horz" pos="3261" userDrawn="1">
          <p15:clr>
            <a:srgbClr val="3B4154"/>
          </p15:clr>
        </p15:guide>
        <p15:guide id="101" orient="horz" pos="3452" userDrawn="1">
          <p15:clr>
            <a:srgbClr val="3B4154"/>
          </p15:clr>
        </p15:guide>
        <p15:guide id="102" orient="horz" pos="3644" userDrawn="1">
          <p15:clr>
            <a:srgbClr val="3B4154"/>
          </p15:clr>
        </p15:guide>
        <p15:guide id="103" orient="horz" pos="3837" userDrawn="1">
          <p15:clr>
            <a:srgbClr val="3B4154"/>
          </p15:clr>
        </p15:guide>
        <p15:guide id="104" orient="horz" pos="4029" userDrawn="1">
          <p15:clr>
            <a:srgbClr val="3B4154"/>
          </p15:clr>
        </p15:guide>
        <p15:guide id="105" orient="horz" pos="4221" userDrawn="1">
          <p15:clr>
            <a:srgbClr val="3B4154"/>
          </p15:clr>
        </p15:guide>
        <p15:guide id="106" orient="horz" pos="4414" userDrawn="1">
          <p15:clr>
            <a:srgbClr val="3B4154"/>
          </p15:clr>
        </p15:guide>
        <p15:guide id="108" orient="horz" pos="4798" userDrawn="1">
          <p15:clr>
            <a:srgbClr val="3B4154"/>
          </p15:clr>
        </p15:guide>
        <p15:guide id="109" orient="horz" pos="4989" userDrawn="1">
          <p15:clr>
            <a:srgbClr val="3B4154"/>
          </p15:clr>
        </p15:guide>
        <p15:guide id="110" orient="horz" pos="5181" userDrawn="1">
          <p15:clr>
            <a:srgbClr val="3B4154"/>
          </p15:clr>
        </p15:guide>
        <p15:guide id="111" orient="horz" pos="5374" userDrawn="1">
          <p15:clr>
            <a:srgbClr val="3B4154"/>
          </p15:clr>
        </p15:guide>
        <p15:guide id="112" orient="horz" pos="5567" userDrawn="1">
          <p15:clr>
            <a:srgbClr val="3B4154"/>
          </p15:clr>
        </p15:guide>
        <p15:guide id="113" orient="horz" pos="5760" userDrawn="1">
          <p15:clr>
            <a:srgbClr val="3B4154"/>
          </p15:clr>
        </p15:guide>
        <p15:guide id="114" orient="horz" pos="5951" userDrawn="1">
          <p15:clr>
            <a:srgbClr val="3B4154"/>
          </p15:clr>
        </p15:guide>
        <p15:guide id="115" orient="horz" pos="6141" userDrawn="1">
          <p15:clr>
            <a:srgbClr val="3B4154"/>
          </p15:clr>
        </p15:guide>
        <p15:guide id="116" orient="horz" pos="6332" userDrawn="1">
          <p15:clr>
            <a:srgbClr val="3B4154"/>
          </p15:clr>
        </p15:guide>
        <p15:guide id="117" orient="horz" pos="6526" userDrawn="1">
          <p15:clr>
            <a:srgbClr val="3B4154"/>
          </p15:clr>
        </p15:guide>
        <p15:guide id="118" orient="horz" pos="6717" userDrawn="1">
          <p15:clr>
            <a:srgbClr val="3B4154"/>
          </p15:clr>
        </p15:guide>
        <p15:guide id="119" orient="horz" pos="6908" userDrawn="1">
          <p15:clr>
            <a:srgbClr val="3B4154"/>
          </p15:clr>
        </p15:guide>
        <p15:guide id="120" orient="horz" pos="7100" userDrawn="1">
          <p15:clr>
            <a:srgbClr val="3B4154"/>
          </p15:clr>
        </p15:guide>
        <p15:guide id="121" orient="horz" pos="7292" userDrawn="1">
          <p15:clr>
            <a:srgbClr val="3B4154"/>
          </p15:clr>
        </p15:guide>
        <p15:guide id="122" orient="horz" pos="7484" userDrawn="1">
          <p15:clr>
            <a:srgbClr val="3B4154"/>
          </p15:clr>
        </p15:guide>
        <p15:guide id="123" orient="horz" pos="7676" userDrawn="1">
          <p15:clr>
            <a:srgbClr val="3B4154"/>
          </p15:clr>
        </p15:guide>
        <p15:guide id="124" orient="horz" pos="7868" userDrawn="1">
          <p15:clr>
            <a:srgbClr val="C35EA4"/>
          </p15:clr>
        </p15:guide>
        <p15:guide id="127" orient="horz" pos="8446" userDrawn="1">
          <p15:clr>
            <a:srgbClr val="3B4154"/>
          </p15:clr>
        </p15:guide>
        <p15:guide id="128" orient="horz" pos="959" userDrawn="1">
          <p15:clr>
            <a:srgbClr val="3B4154"/>
          </p15:clr>
        </p15:guide>
        <p15:guide id="129" pos="190" userDrawn="1">
          <p15:clr>
            <a:srgbClr val="3B4154"/>
          </p15:clr>
        </p15:guide>
        <p15:guide id="130" pos="1290" userDrawn="1">
          <p15:clr>
            <a:srgbClr val="3B4154"/>
          </p15:clr>
        </p15:guide>
        <p15:guide id="131" pos="1482" userDrawn="1">
          <p15:clr>
            <a:srgbClr val="3B4154"/>
          </p15:clr>
        </p15:guide>
        <p15:guide id="132" pos="1672" userDrawn="1">
          <p15:clr>
            <a:srgbClr val="3B4154"/>
          </p15:clr>
        </p15:guide>
        <p15:guide id="133" pos="1862" userDrawn="1">
          <p15:clr>
            <a:srgbClr val="C35EA4"/>
          </p15:clr>
        </p15:guide>
        <p15:guide id="134" pos="1100" userDrawn="1">
          <p15:clr>
            <a:srgbClr val="3B4154"/>
          </p15:clr>
        </p15:guide>
        <p15:guide id="137" pos="2624" userDrawn="1">
          <p15:clr>
            <a:srgbClr val="3B4154"/>
          </p15:clr>
        </p15:guide>
        <p15:guide id="138" pos="2814" userDrawn="1">
          <p15:clr>
            <a:srgbClr val="3B4154"/>
          </p15:clr>
        </p15:guide>
        <p15:guide id="139" pos="2240" userDrawn="1">
          <p15:clr>
            <a:srgbClr val="3B4154"/>
          </p15:clr>
        </p15:guide>
        <p15:guide id="140" pos="3580" userDrawn="1">
          <p15:clr>
            <a:srgbClr val="3B4154"/>
          </p15:clr>
        </p15:guide>
        <p15:guide id="141" pos="3768" userDrawn="1">
          <p15:clr>
            <a:srgbClr val="3B4154"/>
          </p15:clr>
        </p15:guide>
        <p15:guide id="143" pos="4150" userDrawn="1">
          <p15:clr>
            <a:srgbClr val="C35EA4"/>
          </p15:clr>
        </p15:guide>
        <p15:guide id="144" pos="3960" userDrawn="1">
          <p15:clr>
            <a:srgbClr val="3B4154"/>
          </p15:clr>
        </p15:guide>
        <p15:guide id="145" pos="5100" userDrawn="1">
          <p15:clr>
            <a:srgbClr val="3B4154"/>
          </p15:clr>
        </p15:guide>
        <p15:guide id="146" pos="6244" userDrawn="1">
          <p15:clr>
            <a:srgbClr val="3B4154"/>
          </p15:clr>
        </p15:guide>
        <p15:guide id="147" pos="7391" userDrawn="1">
          <p15:clr>
            <a:srgbClr val="3B4154"/>
          </p15:clr>
        </p15:guide>
        <p15:guide id="148" pos="8154" userDrawn="1">
          <p15:clr>
            <a:srgbClr val="3B4154"/>
          </p15:clr>
        </p15:guide>
        <p15:guide id="149" pos="9675" userDrawn="1">
          <p15:clr>
            <a:srgbClr val="3B4154"/>
          </p15:clr>
        </p15:guide>
        <p15:guide id="150" pos="10823" userDrawn="1">
          <p15:clr>
            <a:srgbClr val="3B4154"/>
          </p15:clr>
        </p15:guide>
        <p15:guide id="151" pos="11967" userDrawn="1">
          <p15:clr>
            <a:srgbClr val="3B4154"/>
          </p15:clr>
        </p15:guide>
        <p15:guide id="152" pos="13113" userDrawn="1">
          <p15:clr>
            <a:srgbClr val="3B4154"/>
          </p15:clr>
        </p15:guide>
        <p15:guide id="153" pos="14256" userDrawn="1">
          <p15:clr>
            <a:srgbClr val="3B4154"/>
          </p15:clr>
        </p15:guide>
        <p15:guide id="155" orient="horz" pos="767" userDrawn="1">
          <p15:clr>
            <a:srgbClr val="C35EA4"/>
          </p15:clr>
        </p15:guide>
        <p15:guide id="156" pos="380" userDrawn="1">
          <p15:clr>
            <a:srgbClr val="3B4154"/>
          </p15:clr>
        </p15:guide>
        <p15:guide id="160" pos="570" userDrawn="1">
          <p15:clr>
            <a:srgbClr val="3B4154"/>
          </p15:clr>
        </p15:guide>
        <p15:guide id="161" orient="horz" pos="4608" userDrawn="1">
          <p15:clr>
            <a:srgbClr val="3B4154"/>
          </p15:clr>
        </p15:guide>
        <p15:guide id="162" pos="6053" userDrawn="1">
          <p15:clr>
            <a:srgbClr val="3B415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sv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44_E138AE73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www.sostav.ru/publication/bolshe-60-predstavitelej-biznesa-ispolzuyut-nejroseti-81852.html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6.png"/><Relationship Id="rId4" Type="http://schemas.openxmlformats.org/officeDocument/2006/relationships/image" Target="../media/image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413FA-77F5-8119-099F-FD028C992E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AE8A95D-5AA1-1F05-5C17-D6E24D4FA2F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" r="4"/>
          <a:stretch/>
        </p:blipFill>
        <p:spPr>
          <a:xfrm>
            <a:off x="0" y="0"/>
            <a:ext cx="24382412" cy="13716000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1F62DB8-704E-AEC7-819B-4DEAE531A8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91B90E-65D0-CD55-D2C1-CF2E69DA5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>
            <a:extLst>
              <a:ext uri="{FF2B5EF4-FFF2-40B4-BE49-F238E27FC236}">
                <a16:creationId xmlns:a16="http://schemas.microsoft.com/office/drawing/2014/main" id="{7B75AC1D-689E-BF68-84CB-CD26DB0D93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40001" y="11414534"/>
            <a:ext cx="9381988" cy="1231106"/>
          </a:xfrm>
        </p:spPr>
        <p:txBody>
          <a:bodyPr/>
          <a:lstStyle/>
          <a:p>
            <a:r>
              <a:rPr lang="ru-RU" dirty="0"/>
              <a:t>Директор по работе с агентствами </a:t>
            </a:r>
            <a:br>
              <a:rPr lang="ru-RU" dirty="0"/>
            </a:br>
            <a:r>
              <a:rPr lang="ru-RU" dirty="0"/>
              <a:t>и партнёрами Рекламой сети Яндекса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A3EB1414-6CB2-5B13-B32E-3557751A8A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39863" y="10780713"/>
            <a:ext cx="14204950" cy="615950"/>
          </a:xfrm>
        </p:spPr>
        <p:txBody>
          <a:bodyPr/>
          <a:lstStyle/>
          <a:p>
            <a:r>
              <a:rPr lang="ru-RU" dirty="0"/>
              <a:t>Виктория </a:t>
            </a:r>
            <a:r>
              <a:rPr lang="ru-RU" dirty="0" err="1"/>
              <a:t>Кинаш</a:t>
            </a:r>
            <a:endParaRPr lang="ru-RU" dirty="0"/>
          </a:p>
        </p:txBody>
      </p:sp>
      <p:sp>
        <p:nvSpPr>
          <p:cNvPr id="14" name="Заголовок 13">
            <a:extLst>
              <a:ext uri="{FF2B5EF4-FFF2-40B4-BE49-F238E27FC236}">
                <a16:creationId xmlns:a16="http://schemas.microsoft.com/office/drawing/2014/main" id="{8FDE93D2-6691-B9E8-28B5-C98934889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1144194"/>
            <a:ext cx="15133638" cy="5484771"/>
          </a:xfrm>
        </p:spPr>
        <p:txBody>
          <a:bodyPr/>
          <a:lstStyle/>
          <a:p>
            <a:r>
              <a:rPr lang="ru" dirty="0"/>
              <a:t>ИИ как новая </a:t>
            </a:r>
            <a:br>
              <a:rPr lang="ru" dirty="0"/>
            </a:br>
            <a:r>
              <a:rPr lang="ru" dirty="0"/>
              <a:t>инфраструктура рынка</a:t>
            </a:r>
            <a:endParaRPr lang="ru-RU" dirty="0"/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53A41956-6335-42AA-950A-3F3628C4304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708481" y="1032328"/>
            <a:ext cx="3240000" cy="727182"/>
          </a:xfrm>
          <a:prstGeom prst="rect">
            <a:avLst/>
          </a:prstGeom>
        </p:spPr>
      </p:pic>
      <p:pic>
        <p:nvPicPr>
          <p:cNvPr id="4" name="Google Shape;19;p1" title="logo 1.png">
            <a:extLst>
              <a:ext uri="{FF2B5EF4-FFF2-40B4-BE49-F238E27FC236}">
                <a16:creationId xmlns:a16="http://schemas.microsoft.com/office/drawing/2014/main" id="{C83ACFDB-E789-C9CF-6F54-7352899E709A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9708481" y="2433637"/>
            <a:ext cx="3240000" cy="347774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36246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CC018450-C4D7-0394-5BAB-06A7E666E2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369600"/>
            <a:ext cx="19983600" cy="317972"/>
          </a:xfrm>
        </p:spPr>
        <p:txBody>
          <a:bodyPr vert="horz" wrap="square" lIns="0" tIns="0" rIns="0" bIns="0" rtlCol="0" anchor="b">
            <a:spAutoFit/>
          </a:bodyPr>
          <a:lstStyle/>
          <a:p>
            <a:r>
              <a:rPr lang="ru-RU" dirty="0">
                <a:sym typeface="Arial"/>
              </a:rPr>
              <a:t>Данные Яндекс Директа, Россия. 2026 год</a:t>
            </a:r>
            <a:endParaRPr lang="ru-RU" dirty="0"/>
          </a:p>
        </p:txBody>
      </p:sp>
      <p:sp>
        <p:nvSpPr>
          <p:cNvPr id="4" name="Скругленный прямоугольник 4">
            <a:extLst>
              <a:ext uri="{FF2B5EF4-FFF2-40B4-BE49-F238E27FC236}">
                <a16:creationId xmlns:a16="http://schemas.microsoft.com/office/drawing/2014/main" id="{321D9FDA-C121-ADBE-6FC0-B35C7DCC5446}"/>
              </a:ext>
            </a:extLst>
          </p:cNvPr>
          <p:cNvSpPr/>
          <p:nvPr/>
        </p:nvSpPr>
        <p:spPr bwMode="auto">
          <a:xfrm>
            <a:off x="1449388" y="2443665"/>
            <a:ext cx="6948487" cy="8827585"/>
          </a:xfrm>
          <a:prstGeom prst="roundRect">
            <a:avLst>
              <a:gd name="adj" fmla="val 4194"/>
            </a:avLst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39FC9C-2842-E740-7E38-79CBA0C5C0E2}"/>
              </a:ext>
            </a:extLst>
          </p:cNvPr>
          <p:cNvSpPr txBox="1"/>
          <p:nvPr/>
        </p:nvSpPr>
        <p:spPr>
          <a:xfrm>
            <a:off x="2152610" y="4847005"/>
            <a:ext cx="5721529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marL="0" lvl="2">
              <a:buClr>
                <a:srgbClr val="B6B1FF"/>
              </a:buClr>
              <a:buSzPts val="1500"/>
            </a:pPr>
            <a: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  <a:ea typeface="Arial"/>
                <a:cs typeface="Arial"/>
                <a:sym typeface="Arial"/>
              </a:rPr>
              <a:t>рекламных бюджетов </a:t>
            </a:r>
            <a:b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  <a:ea typeface="Arial"/>
                <a:cs typeface="Arial"/>
                <a:sym typeface="Arial"/>
              </a:rPr>
            </a:br>
            <a:r>
              <a:rPr lang="ru-RU" sz="3600" dirty="0">
                <a:solidFill>
                  <a:schemeClr val="accent1">
                    <a:lumMod val="40000"/>
                    <a:lumOff val="60000"/>
                  </a:schemeClr>
                </a:solidFill>
                <a:ea typeface="Arial"/>
                <a:cs typeface="Arial"/>
                <a:sym typeface="Arial"/>
              </a:rPr>
              <a:t>в Яндексе полностью управляются ИИ</a:t>
            </a:r>
            <a:endParaRPr lang="ru-RU" sz="36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6" name="Объект 4">
            <a:extLst>
              <a:ext uri="{FF2B5EF4-FFF2-40B4-BE49-F238E27FC236}">
                <a16:creationId xmlns:a16="http://schemas.microsoft.com/office/drawing/2014/main" id="{F01DB0C9-03A5-7EEF-06F2-9BE86D9CF7E2}"/>
              </a:ext>
            </a:extLst>
          </p:cNvPr>
          <p:cNvSpPr txBox="1">
            <a:spLocks/>
          </p:cNvSpPr>
          <p:nvPr/>
        </p:nvSpPr>
        <p:spPr>
          <a:xfrm>
            <a:off x="2152610" y="3157514"/>
            <a:ext cx="5721529" cy="17804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13000" u="none" baseline="0" dirty="0">
                <a:solidFill>
                  <a:schemeClr val="bg1"/>
                </a:solidFill>
                <a:latin typeface="+mj-lt"/>
                <a:cs typeface="YS Display Regular" pitchFamily="2" charset="0"/>
              </a:rPr>
              <a:t>85%</a:t>
            </a:r>
          </a:p>
        </p:txBody>
      </p:sp>
      <p:sp>
        <p:nvSpPr>
          <p:cNvPr id="7" name="Скругленный прямоугольник 4">
            <a:extLst>
              <a:ext uri="{FF2B5EF4-FFF2-40B4-BE49-F238E27FC236}">
                <a16:creationId xmlns:a16="http://schemas.microsoft.com/office/drawing/2014/main" id="{9F334609-CD1F-5EFD-2A90-B909B1A7B944}"/>
              </a:ext>
            </a:extLst>
          </p:cNvPr>
          <p:cNvSpPr/>
          <p:nvPr/>
        </p:nvSpPr>
        <p:spPr bwMode="auto">
          <a:xfrm>
            <a:off x="8719765" y="2443665"/>
            <a:ext cx="6948487" cy="8827585"/>
          </a:xfrm>
          <a:prstGeom prst="roundRect">
            <a:avLst>
              <a:gd name="adj" fmla="val 4194"/>
            </a:avLst>
          </a:prstGeom>
          <a:noFill/>
          <a:ln w="25400">
            <a:solidFill>
              <a:srgbClr val="ADB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581008-FD91-2189-01D6-680D67187F50}"/>
              </a:ext>
            </a:extLst>
          </p:cNvPr>
          <p:cNvSpPr txBox="1"/>
          <p:nvPr/>
        </p:nvSpPr>
        <p:spPr>
          <a:xfrm>
            <a:off x="9407695" y="4847005"/>
            <a:ext cx="5721529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marL="0" lvl="2">
              <a:buClr>
                <a:srgbClr val="B6B1FF"/>
              </a:buClr>
              <a:buSzPts val="1500"/>
            </a:pPr>
            <a:r>
              <a:rPr lang="ru-RU" sz="3600" dirty="0">
                <a:ea typeface="Arial"/>
                <a:cs typeface="Arial"/>
                <a:sym typeface="Arial"/>
              </a:rPr>
              <a:t>рекламодателей используют ИИ </a:t>
            </a:r>
            <a:br>
              <a:rPr lang="ru-RU" sz="3600" dirty="0">
                <a:ea typeface="Arial"/>
                <a:cs typeface="Arial"/>
                <a:sym typeface="Arial"/>
              </a:rPr>
            </a:br>
            <a:r>
              <a:rPr lang="ru-RU" sz="3600" dirty="0">
                <a:ea typeface="Arial"/>
                <a:cs typeface="Arial"/>
                <a:sym typeface="Arial"/>
              </a:rPr>
              <a:t>для оптимизации текстов</a:t>
            </a:r>
            <a:endParaRPr lang="ru-RU" sz="3600" dirty="0"/>
          </a:p>
        </p:txBody>
      </p:sp>
      <p:sp>
        <p:nvSpPr>
          <p:cNvPr id="9" name="Объект 4">
            <a:extLst>
              <a:ext uri="{FF2B5EF4-FFF2-40B4-BE49-F238E27FC236}">
                <a16:creationId xmlns:a16="http://schemas.microsoft.com/office/drawing/2014/main" id="{B242F0D0-0B23-F463-3D8F-B89FE14F305C}"/>
              </a:ext>
            </a:extLst>
          </p:cNvPr>
          <p:cNvSpPr txBox="1">
            <a:spLocks/>
          </p:cNvSpPr>
          <p:nvPr/>
        </p:nvSpPr>
        <p:spPr>
          <a:xfrm>
            <a:off x="9407695" y="3157514"/>
            <a:ext cx="5721529" cy="17804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13000" u="none" baseline="0" dirty="0">
                <a:solidFill>
                  <a:schemeClr val="bg1"/>
                </a:solidFill>
                <a:latin typeface="+mj-lt"/>
                <a:ea typeface="YS Text Bold" pitchFamily="2" charset="-52"/>
                <a:cs typeface="YS Text Bold" pitchFamily="2" charset="-52"/>
              </a:rPr>
              <a:t>65%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9BCA497A-D893-1922-1BF2-88E5825F6A94}"/>
              </a:ext>
            </a:extLst>
          </p:cNvPr>
          <p:cNvSpPr/>
          <p:nvPr/>
        </p:nvSpPr>
        <p:spPr bwMode="auto">
          <a:xfrm>
            <a:off x="15990141" y="2443665"/>
            <a:ext cx="6948487" cy="8827585"/>
          </a:xfrm>
          <a:prstGeom prst="roundRect">
            <a:avLst>
              <a:gd name="adj" fmla="val 4194"/>
            </a:avLst>
          </a:prstGeom>
          <a:noFill/>
          <a:ln w="25400">
            <a:solidFill>
              <a:srgbClr val="ADB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6C07B5-9051-2680-D560-1327D04424D7}"/>
              </a:ext>
            </a:extLst>
          </p:cNvPr>
          <p:cNvSpPr txBox="1"/>
          <p:nvPr/>
        </p:nvSpPr>
        <p:spPr>
          <a:xfrm>
            <a:off x="16687033" y="4847005"/>
            <a:ext cx="5721529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marL="0" lvl="2">
              <a:buClr>
                <a:srgbClr val="B6B1FF"/>
              </a:buClr>
              <a:buSzPts val="1500"/>
            </a:pPr>
            <a:r>
              <a:rPr lang="ru-RU" sz="3600" dirty="0">
                <a:ea typeface="Arial"/>
                <a:cs typeface="Arial"/>
                <a:sym typeface="Arial"/>
              </a:rPr>
              <a:t>баннеров создаётся нейросетью</a:t>
            </a:r>
            <a:endParaRPr lang="ru-RU" sz="3600" dirty="0"/>
          </a:p>
        </p:txBody>
      </p:sp>
      <p:sp>
        <p:nvSpPr>
          <p:cNvPr id="12" name="Объект 4">
            <a:extLst>
              <a:ext uri="{FF2B5EF4-FFF2-40B4-BE49-F238E27FC236}">
                <a16:creationId xmlns:a16="http://schemas.microsoft.com/office/drawing/2014/main" id="{23402F7E-0D9C-AEAE-BA97-D25EB62E5658}"/>
              </a:ext>
            </a:extLst>
          </p:cNvPr>
          <p:cNvSpPr txBox="1">
            <a:spLocks/>
          </p:cNvSpPr>
          <p:nvPr/>
        </p:nvSpPr>
        <p:spPr>
          <a:xfrm>
            <a:off x="16687033" y="3157514"/>
            <a:ext cx="5721529" cy="16468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>
              <a:lnSpc>
                <a:spcPct val="82000"/>
              </a:lnSpc>
              <a:buClr>
                <a:schemeClr val="lt1"/>
              </a:buClr>
              <a:buSzPts val="4500"/>
            </a:pPr>
            <a:r>
              <a:rPr lang="ru" sz="13000" b="1" dirty="0">
                <a:solidFill>
                  <a:schemeClr val="lt1"/>
                </a:solidFill>
                <a:latin typeface="+mj-lt"/>
                <a:ea typeface="Play"/>
                <a:cs typeface="Play"/>
                <a:sym typeface="Play"/>
              </a:rPr>
              <a:t>1/3</a:t>
            </a:r>
          </a:p>
        </p:txBody>
      </p:sp>
      <p:sp>
        <p:nvSpPr>
          <p:cNvPr id="14" name="Полилиния: фигура 401">
            <a:extLst>
              <a:ext uri="{FF2B5EF4-FFF2-40B4-BE49-F238E27FC236}">
                <a16:creationId xmlns:a16="http://schemas.microsoft.com/office/drawing/2014/main" id="{9B2406C2-4152-70D4-B77C-FE37819BE1CA}"/>
              </a:ext>
            </a:extLst>
          </p:cNvPr>
          <p:cNvSpPr/>
          <p:nvPr/>
        </p:nvSpPr>
        <p:spPr>
          <a:xfrm>
            <a:off x="21851172" y="10033380"/>
            <a:ext cx="601681" cy="752095"/>
          </a:xfrm>
          <a:custGeom>
            <a:avLst/>
            <a:gdLst>
              <a:gd name="connsiteX0" fmla="*/ 93969 w 152400"/>
              <a:gd name="connsiteY0" fmla="*/ 1182 h 190498"/>
              <a:gd name="connsiteX1" fmla="*/ 96666 w 152400"/>
              <a:gd name="connsiteY1" fmla="*/ 2427 h 190498"/>
              <a:gd name="connsiteX2" fmla="*/ 104734 w 152400"/>
              <a:gd name="connsiteY2" fmla="*/ 9484 h 190498"/>
              <a:gd name="connsiteX3" fmla="*/ 142914 w 152400"/>
              <a:gd name="connsiteY3" fmla="*/ 47663 h 190498"/>
              <a:gd name="connsiteX4" fmla="*/ 149970 w 152400"/>
              <a:gd name="connsiteY4" fmla="*/ 55731 h 190498"/>
              <a:gd name="connsiteX5" fmla="*/ 150715 w 152400"/>
              <a:gd name="connsiteY5" fmla="*/ 57207 h 190498"/>
              <a:gd name="connsiteX6" fmla="*/ 143179 w 152400"/>
              <a:gd name="connsiteY6" fmla="*/ 57148 h 190498"/>
              <a:gd name="connsiteX7" fmla="*/ 131444 w 152400"/>
              <a:gd name="connsiteY7" fmla="*/ 57148 h 190498"/>
              <a:gd name="connsiteX8" fmla="*/ 113451 w 152400"/>
              <a:gd name="connsiteY8" fmla="*/ 56791 h 190498"/>
              <a:gd name="connsiteX9" fmla="*/ 105650 w 152400"/>
              <a:gd name="connsiteY9" fmla="*/ 55072 h 190498"/>
              <a:gd name="connsiteX10" fmla="*/ 97326 w 152400"/>
              <a:gd name="connsiteY10" fmla="*/ 46747 h 190498"/>
              <a:gd name="connsiteX11" fmla="*/ 95607 w 152400"/>
              <a:gd name="connsiteY11" fmla="*/ 38946 h 190498"/>
              <a:gd name="connsiteX12" fmla="*/ 95249 w 152400"/>
              <a:gd name="connsiteY12" fmla="*/ 20953 h 190498"/>
              <a:gd name="connsiteX13" fmla="*/ 95249 w 152400"/>
              <a:gd name="connsiteY13" fmla="*/ 18744 h 190498"/>
              <a:gd name="connsiteX14" fmla="*/ 95045 w 152400"/>
              <a:gd name="connsiteY14" fmla="*/ 7977 h 190498"/>
              <a:gd name="connsiteX15" fmla="*/ 93969 w 152400"/>
              <a:gd name="connsiteY15" fmla="*/ 1182 h 190498"/>
              <a:gd name="connsiteX16" fmla="*/ 59756 w 152400"/>
              <a:gd name="connsiteY16" fmla="*/ 0 h 190498"/>
              <a:gd name="connsiteX17" fmla="*/ 66925 w 152400"/>
              <a:gd name="connsiteY17" fmla="*/ 157 h 190498"/>
              <a:gd name="connsiteX18" fmla="*/ 70320 w 152400"/>
              <a:gd name="connsiteY18" fmla="*/ 723 h 190498"/>
              <a:gd name="connsiteX19" fmla="*/ 75475 w 152400"/>
              <a:gd name="connsiteY19" fmla="*/ 5878 h 190498"/>
              <a:gd name="connsiteX20" fmla="*/ 76041 w 152400"/>
              <a:gd name="connsiteY20" fmla="*/ 9273 h 190498"/>
              <a:gd name="connsiteX21" fmla="*/ 76200 w 152400"/>
              <a:gd name="connsiteY21" fmla="*/ 19048 h 190498"/>
              <a:gd name="connsiteX22" fmla="*/ 76200 w 152400"/>
              <a:gd name="connsiteY22" fmla="*/ 21347 h 190498"/>
              <a:gd name="connsiteX23" fmla="*/ 76621 w 152400"/>
              <a:gd name="connsiteY23" fmla="*/ 40497 h 190498"/>
              <a:gd name="connsiteX24" fmla="*/ 80353 w 152400"/>
              <a:gd name="connsiteY24" fmla="*/ 55395 h 190498"/>
              <a:gd name="connsiteX25" fmla="*/ 97003 w 152400"/>
              <a:gd name="connsiteY25" fmla="*/ 72045 h 190498"/>
              <a:gd name="connsiteX26" fmla="*/ 111902 w 152400"/>
              <a:gd name="connsiteY26" fmla="*/ 75777 h 190498"/>
              <a:gd name="connsiteX27" fmla="*/ 131052 w 152400"/>
              <a:gd name="connsiteY27" fmla="*/ 76198 h 190498"/>
              <a:gd name="connsiteX28" fmla="*/ 142875 w 152400"/>
              <a:gd name="connsiteY28" fmla="*/ 76198 h 190498"/>
              <a:gd name="connsiteX29" fmla="*/ 152400 w 152400"/>
              <a:gd name="connsiteY29" fmla="*/ 76341 h 190498"/>
              <a:gd name="connsiteX30" fmla="*/ 152400 w 152400"/>
              <a:gd name="connsiteY30" fmla="*/ 125728 h 190498"/>
              <a:gd name="connsiteX31" fmla="*/ 146786 w 152400"/>
              <a:gd name="connsiteY31" fmla="*/ 172305 h 190498"/>
              <a:gd name="connsiteX32" fmla="*/ 134207 w 152400"/>
              <a:gd name="connsiteY32" fmla="*/ 184884 h 190498"/>
              <a:gd name="connsiteX33" fmla="*/ 87630 w 152400"/>
              <a:gd name="connsiteY33" fmla="*/ 190498 h 190498"/>
              <a:gd name="connsiteX34" fmla="*/ 64770 w 152400"/>
              <a:gd name="connsiteY34" fmla="*/ 190498 h 190498"/>
              <a:gd name="connsiteX35" fmla="*/ 18193 w 152400"/>
              <a:gd name="connsiteY35" fmla="*/ 184884 h 190498"/>
              <a:gd name="connsiteX36" fmla="*/ 5614 w 152400"/>
              <a:gd name="connsiteY36" fmla="*/ 172305 h 190498"/>
              <a:gd name="connsiteX37" fmla="*/ 0 w 152400"/>
              <a:gd name="connsiteY37" fmla="*/ 125728 h 190498"/>
              <a:gd name="connsiteX38" fmla="*/ 0 w 152400"/>
              <a:gd name="connsiteY38" fmla="*/ 64768 h 190498"/>
              <a:gd name="connsiteX39" fmla="*/ 5614 w 152400"/>
              <a:gd name="connsiteY39" fmla="*/ 18191 h 190498"/>
              <a:gd name="connsiteX40" fmla="*/ 18193 w 152400"/>
              <a:gd name="connsiteY40" fmla="*/ 5613 h 190498"/>
              <a:gd name="connsiteX41" fmla="*/ 59756 w 152400"/>
              <a:gd name="connsiteY41" fmla="*/ 0 h 19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52400" h="190498">
                <a:moveTo>
                  <a:pt x="93969" y="1182"/>
                </a:moveTo>
                <a:cubicBezTo>
                  <a:pt x="94899" y="1526"/>
                  <a:pt x="95801" y="1942"/>
                  <a:pt x="96666" y="2427"/>
                </a:cubicBezTo>
                <a:cubicBezTo>
                  <a:pt x="98966" y="3715"/>
                  <a:pt x="100889" y="5638"/>
                  <a:pt x="104734" y="9484"/>
                </a:cubicBezTo>
                <a:lnTo>
                  <a:pt x="142914" y="47663"/>
                </a:lnTo>
                <a:cubicBezTo>
                  <a:pt x="146759" y="51509"/>
                  <a:pt x="148683" y="53432"/>
                  <a:pt x="149970" y="55731"/>
                </a:cubicBezTo>
                <a:cubicBezTo>
                  <a:pt x="150240" y="56212"/>
                  <a:pt x="150488" y="56705"/>
                  <a:pt x="150715" y="57207"/>
                </a:cubicBezTo>
                <a:cubicBezTo>
                  <a:pt x="148463" y="57148"/>
                  <a:pt x="145947" y="57148"/>
                  <a:pt x="143179" y="57148"/>
                </a:cubicBezTo>
                <a:lnTo>
                  <a:pt x="131444" y="57148"/>
                </a:lnTo>
                <a:cubicBezTo>
                  <a:pt x="123285" y="57148"/>
                  <a:pt x="117739" y="57141"/>
                  <a:pt x="113451" y="56791"/>
                </a:cubicBezTo>
                <a:cubicBezTo>
                  <a:pt x="109276" y="56449"/>
                  <a:pt x="107140" y="55831"/>
                  <a:pt x="105650" y="55072"/>
                </a:cubicBezTo>
                <a:cubicBezTo>
                  <a:pt x="102066" y="53246"/>
                  <a:pt x="99152" y="50331"/>
                  <a:pt x="97326" y="46747"/>
                </a:cubicBezTo>
                <a:cubicBezTo>
                  <a:pt x="96566" y="45257"/>
                  <a:pt x="95948" y="43122"/>
                  <a:pt x="95607" y="38946"/>
                </a:cubicBezTo>
                <a:cubicBezTo>
                  <a:pt x="95257" y="34659"/>
                  <a:pt x="95249" y="29112"/>
                  <a:pt x="95249" y="20953"/>
                </a:cubicBezTo>
                <a:lnTo>
                  <a:pt x="95249" y="18744"/>
                </a:lnTo>
                <a:cubicBezTo>
                  <a:pt x="95249" y="14565"/>
                  <a:pt x="95249" y="10960"/>
                  <a:pt x="95045" y="7977"/>
                </a:cubicBezTo>
                <a:cubicBezTo>
                  <a:pt x="94891" y="5707"/>
                  <a:pt x="94602" y="3438"/>
                  <a:pt x="93969" y="1182"/>
                </a:cubicBezTo>
                <a:close/>
                <a:moveTo>
                  <a:pt x="59756" y="0"/>
                </a:moveTo>
                <a:cubicBezTo>
                  <a:pt x="62895" y="6"/>
                  <a:pt x="65129" y="35"/>
                  <a:pt x="66925" y="157"/>
                </a:cubicBezTo>
                <a:cubicBezTo>
                  <a:pt x="69096" y="305"/>
                  <a:pt x="69924" y="559"/>
                  <a:pt x="70320" y="723"/>
                </a:cubicBezTo>
                <a:cubicBezTo>
                  <a:pt x="72654" y="1690"/>
                  <a:pt x="74508" y="3544"/>
                  <a:pt x="75475" y="5878"/>
                </a:cubicBezTo>
                <a:cubicBezTo>
                  <a:pt x="75639" y="6274"/>
                  <a:pt x="75892" y="7101"/>
                  <a:pt x="76041" y="9273"/>
                </a:cubicBezTo>
                <a:cubicBezTo>
                  <a:pt x="76195" y="11530"/>
                  <a:pt x="76200" y="14480"/>
                  <a:pt x="76200" y="19048"/>
                </a:cubicBezTo>
                <a:lnTo>
                  <a:pt x="76200" y="21347"/>
                </a:lnTo>
                <a:cubicBezTo>
                  <a:pt x="76200" y="29014"/>
                  <a:pt x="76200" y="35342"/>
                  <a:pt x="76621" y="40497"/>
                </a:cubicBezTo>
                <a:cubicBezTo>
                  <a:pt x="77058" y="45851"/>
                  <a:pt x="77997" y="50772"/>
                  <a:pt x="80353" y="55395"/>
                </a:cubicBezTo>
                <a:cubicBezTo>
                  <a:pt x="84006" y="62564"/>
                  <a:pt x="89834" y="68393"/>
                  <a:pt x="97003" y="72045"/>
                </a:cubicBezTo>
                <a:cubicBezTo>
                  <a:pt x="101626" y="74401"/>
                  <a:pt x="106548" y="75340"/>
                  <a:pt x="111902" y="75777"/>
                </a:cubicBezTo>
                <a:cubicBezTo>
                  <a:pt x="117057" y="76198"/>
                  <a:pt x="123384" y="76198"/>
                  <a:pt x="131052" y="76198"/>
                </a:cubicBezTo>
                <a:lnTo>
                  <a:pt x="142875" y="76198"/>
                </a:lnTo>
                <a:cubicBezTo>
                  <a:pt x="147277" y="76198"/>
                  <a:pt x="150175" y="76203"/>
                  <a:pt x="152400" y="76341"/>
                </a:cubicBezTo>
                <a:lnTo>
                  <a:pt x="152400" y="125728"/>
                </a:lnTo>
                <a:cubicBezTo>
                  <a:pt x="152400" y="150671"/>
                  <a:pt x="152400" y="163143"/>
                  <a:pt x="146786" y="172305"/>
                </a:cubicBezTo>
                <a:cubicBezTo>
                  <a:pt x="143644" y="177432"/>
                  <a:pt x="139334" y="181742"/>
                  <a:pt x="134207" y="184884"/>
                </a:cubicBezTo>
                <a:cubicBezTo>
                  <a:pt x="125045" y="190498"/>
                  <a:pt x="112573" y="190498"/>
                  <a:pt x="87630" y="190498"/>
                </a:cubicBezTo>
                <a:lnTo>
                  <a:pt x="64770" y="190498"/>
                </a:lnTo>
                <a:cubicBezTo>
                  <a:pt x="39827" y="190498"/>
                  <a:pt x="27355" y="190498"/>
                  <a:pt x="18193" y="184884"/>
                </a:cubicBezTo>
                <a:cubicBezTo>
                  <a:pt x="13066" y="181742"/>
                  <a:pt x="8756" y="177432"/>
                  <a:pt x="5614" y="172305"/>
                </a:cubicBezTo>
                <a:cubicBezTo>
                  <a:pt x="0" y="163143"/>
                  <a:pt x="0" y="150671"/>
                  <a:pt x="0" y="125728"/>
                </a:cubicBezTo>
                <a:lnTo>
                  <a:pt x="0" y="64768"/>
                </a:lnTo>
                <a:cubicBezTo>
                  <a:pt x="0" y="39825"/>
                  <a:pt x="0" y="27353"/>
                  <a:pt x="5614" y="18191"/>
                </a:cubicBezTo>
                <a:cubicBezTo>
                  <a:pt x="8756" y="13064"/>
                  <a:pt x="13066" y="8754"/>
                  <a:pt x="18193" y="5613"/>
                </a:cubicBezTo>
                <a:cubicBezTo>
                  <a:pt x="26719" y="388"/>
                  <a:pt x="38112" y="25"/>
                  <a:pt x="59756" y="0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Рисунок 1033">
            <a:extLst>
              <a:ext uri="{FF2B5EF4-FFF2-40B4-BE49-F238E27FC236}">
                <a16:creationId xmlns:a16="http://schemas.microsoft.com/office/drawing/2014/main" id="{1A76447A-1251-6D70-BF1A-AC600C60CECD}"/>
              </a:ext>
            </a:extLst>
          </p:cNvPr>
          <p:cNvSpPr/>
          <p:nvPr/>
        </p:nvSpPr>
        <p:spPr>
          <a:xfrm>
            <a:off x="14430376" y="10070978"/>
            <a:ext cx="752102" cy="714498"/>
          </a:xfrm>
          <a:custGeom>
            <a:avLst/>
            <a:gdLst>
              <a:gd name="connsiteX0" fmla="*/ 0 w 190500"/>
              <a:gd name="connsiteY0" fmla="*/ 76200 h 180975"/>
              <a:gd name="connsiteX1" fmla="*/ 95250 w 190500"/>
              <a:gd name="connsiteY1" fmla="*/ 0 h 180975"/>
              <a:gd name="connsiteX2" fmla="*/ 190500 w 190500"/>
              <a:gd name="connsiteY2" fmla="*/ 76200 h 180975"/>
              <a:gd name="connsiteX3" fmla="*/ 95250 w 190500"/>
              <a:gd name="connsiteY3" fmla="*/ 152400 h 180975"/>
              <a:gd name="connsiteX4" fmla="*/ 88246 w 190500"/>
              <a:gd name="connsiteY4" fmla="*/ 152248 h 180975"/>
              <a:gd name="connsiteX5" fmla="*/ 61913 w 190500"/>
              <a:gd name="connsiteY5" fmla="*/ 180975 h 180975"/>
              <a:gd name="connsiteX6" fmla="*/ 47625 w 190500"/>
              <a:gd name="connsiteY6" fmla="*/ 180975 h 180975"/>
              <a:gd name="connsiteX7" fmla="*/ 47625 w 190500"/>
              <a:gd name="connsiteY7" fmla="*/ 144119 h 180975"/>
              <a:gd name="connsiteX8" fmla="*/ 0 w 190500"/>
              <a:gd name="connsiteY8" fmla="*/ 76200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500" h="180975">
                <a:moveTo>
                  <a:pt x="0" y="76200"/>
                </a:moveTo>
                <a:cubicBezTo>
                  <a:pt x="0" y="25400"/>
                  <a:pt x="42603" y="0"/>
                  <a:pt x="95250" y="0"/>
                </a:cubicBezTo>
                <a:cubicBezTo>
                  <a:pt x="147898" y="0"/>
                  <a:pt x="190500" y="25400"/>
                  <a:pt x="190500" y="76200"/>
                </a:cubicBezTo>
                <a:cubicBezTo>
                  <a:pt x="190500" y="127000"/>
                  <a:pt x="147898" y="152400"/>
                  <a:pt x="95250" y="152400"/>
                </a:cubicBezTo>
                <a:cubicBezTo>
                  <a:pt x="92894" y="152400"/>
                  <a:pt x="90559" y="152350"/>
                  <a:pt x="88246" y="152248"/>
                </a:cubicBezTo>
                <a:lnTo>
                  <a:pt x="61913" y="180975"/>
                </a:lnTo>
                <a:lnTo>
                  <a:pt x="47625" y="180975"/>
                </a:lnTo>
                <a:lnTo>
                  <a:pt x="47625" y="144119"/>
                </a:lnTo>
                <a:cubicBezTo>
                  <a:pt x="19144" y="132894"/>
                  <a:pt x="0" y="110254"/>
                  <a:pt x="0" y="76200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" name="Рисунок 17">
            <a:extLst>
              <a:ext uri="{FF2B5EF4-FFF2-40B4-BE49-F238E27FC236}">
                <a16:creationId xmlns:a16="http://schemas.microsoft.com/office/drawing/2014/main" id="{B10A8152-B430-B0C5-0B44-8E4C88DE8F6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84" t="15854" r="15458" b="15854"/>
          <a:stretch/>
        </p:blipFill>
        <p:spPr>
          <a:xfrm flipH="1">
            <a:off x="2961970" y="7550743"/>
            <a:ext cx="3866962" cy="3565926"/>
          </a:xfrm>
          <a:prstGeom prst="rect">
            <a:avLst/>
          </a:prstGeom>
        </p:spPr>
      </p:pic>
      <p:pic>
        <p:nvPicPr>
          <p:cNvPr id="13" name="Рисунок 18">
            <a:extLst>
              <a:ext uri="{FF2B5EF4-FFF2-40B4-BE49-F238E27FC236}">
                <a16:creationId xmlns:a16="http://schemas.microsoft.com/office/drawing/2014/main" id="{116D588D-968B-C712-FC6D-F4831DA920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894832" y="6610844"/>
            <a:ext cx="3013077" cy="199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6737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77F884-4CD8-A1F9-334C-E0C3D9343A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Скругленный прямоугольник 4">
            <a:extLst>
              <a:ext uri="{FF2B5EF4-FFF2-40B4-BE49-F238E27FC236}">
                <a16:creationId xmlns:a16="http://schemas.microsoft.com/office/drawing/2014/main" id="{77322B87-5CAC-4542-3F01-654698404FEF}"/>
              </a:ext>
            </a:extLst>
          </p:cNvPr>
          <p:cNvSpPr/>
          <p:nvPr/>
        </p:nvSpPr>
        <p:spPr>
          <a:xfrm>
            <a:off x="326073" y="10332691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29" name="Title 18">
            <a:extLst>
              <a:ext uri="{FF2B5EF4-FFF2-40B4-BE49-F238E27FC236}">
                <a16:creationId xmlns:a16="http://schemas.microsoft.com/office/drawing/2014/main" id="{D00EB01E-B394-B992-50E6-3817103C2340}"/>
              </a:ext>
            </a:extLst>
          </p:cNvPr>
          <p:cNvSpPr txBox="1">
            <a:spLocks/>
          </p:cNvSpPr>
          <p:nvPr/>
        </p:nvSpPr>
        <p:spPr>
          <a:xfrm>
            <a:off x="1441450" y="11229353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агент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34" name="Скругленный прямоугольник 4">
            <a:extLst>
              <a:ext uri="{FF2B5EF4-FFF2-40B4-BE49-F238E27FC236}">
                <a16:creationId xmlns:a16="http://schemas.microsoft.com/office/drawing/2014/main" id="{1DE0CD49-DECC-E737-1CA1-AC85CEF26E16}"/>
              </a:ext>
            </a:extLst>
          </p:cNvPr>
          <p:cNvSpPr/>
          <p:nvPr/>
        </p:nvSpPr>
        <p:spPr>
          <a:xfrm>
            <a:off x="326073" y="347844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35" name="Title 18">
            <a:extLst>
              <a:ext uri="{FF2B5EF4-FFF2-40B4-BE49-F238E27FC236}">
                <a16:creationId xmlns:a16="http://schemas.microsoft.com/office/drawing/2014/main" id="{0B5D746A-0B1E-94A6-B18B-A67E278CCA14}"/>
              </a:ext>
            </a:extLst>
          </p:cNvPr>
          <p:cNvSpPr txBox="1">
            <a:spLocks/>
          </p:cNvSpPr>
          <p:nvPr/>
        </p:nvSpPr>
        <p:spPr>
          <a:xfrm>
            <a:off x="1441450" y="1244506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технология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37" name="Скругленный прямоугольник 4">
            <a:extLst>
              <a:ext uri="{FF2B5EF4-FFF2-40B4-BE49-F238E27FC236}">
                <a16:creationId xmlns:a16="http://schemas.microsoft.com/office/drawing/2014/main" id="{79D4C514-07C8-4378-0B22-81F83C78A706}"/>
              </a:ext>
            </a:extLst>
          </p:cNvPr>
          <p:cNvSpPr/>
          <p:nvPr/>
        </p:nvSpPr>
        <p:spPr>
          <a:xfrm>
            <a:off x="326073" y="3676126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38" name="Title 18">
            <a:extLst>
              <a:ext uri="{FF2B5EF4-FFF2-40B4-BE49-F238E27FC236}">
                <a16:creationId xmlns:a16="http://schemas.microsoft.com/office/drawing/2014/main" id="{B5A4FDDB-6B4C-462B-5767-D5EDFE560530}"/>
              </a:ext>
            </a:extLst>
          </p:cNvPr>
          <p:cNvSpPr txBox="1">
            <a:spLocks/>
          </p:cNvSpPr>
          <p:nvPr/>
        </p:nvSpPr>
        <p:spPr>
          <a:xfrm>
            <a:off x="1441450" y="4572788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2000"/>
              </a:lnSpc>
              <a:spcBef>
                <a:spcPct val="0"/>
              </a:spcBef>
              <a:buNone/>
              <a:defRPr sz="9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инструмент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40" name="Скругленный прямоугольник 4">
            <a:extLst>
              <a:ext uri="{FF2B5EF4-FFF2-40B4-BE49-F238E27FC236}">
                <a16:creationId xmlns:a16="http://schemas.microsoft.com/office/drawing/2014/main" id="{25627C75-261D-19A0-2951-5DCCA6E386A8}"/>
              </a:ext>
            </a:extLst>
          </p:cNvPr>
          <p:cNvSpPr/>
          <p:nvPr/>
        </p:nvSpPr>
        <p:spPr>
          <a:xfrm>
            <a:off x="326073" y="7004408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41" name="Title 18">
            <a:extLst>
              <a:ext uri="{FF2B5EF4-FFF2-40B4-BE49-F238E27FC236}">
                <a16:creationId xmlns:a16="http://schemas.microsoft.com/office/drawing/2014/main" id="{38C45EE2-F0B2-E051-1CFD-D5A03D0A80B9}"/>
              </a:ext>
            </a:extLst>
          </p:cNvPr>
          <p:cNvSpPr txBox="1">
            <a:spLocks/>
          </p:cNvSpPr>
          <p:nvPr/>
        </p:nvSpPr>
        <p:spPr>
          <a:xfrm>
            <a:off x="1441450" y="7901070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ИИ как поверхность</a:t>
            </a:r>
            <a:endParaRPr lang="en-001" dirty="0"/>
          </a:p>
        </p:txBody>
      </p:sp>
      <p:sp>
        <p:nvSpPr>
          <p:cNvPr id="46" name="Объект 4">
            <a:extLst>
              <a:ext uri="{FF2B5EF4-FFF2-40B4-BE49-F238E27FC236}">
                <a16:creationId xmlns:a16="http://schemas.microsoft.com/office/drawing/2014/main" id="{A9050B0F-5CED-8077-44BC-534725100E6C}"/>
              </a:ext>
            </a:extLst>
          </p:cNvPr>
          <p:cNvSpPr txBox="1">
            <a:spLocks/>
          </p:cNvSpPr>
          <p:nvPr/>
        </p:nvSpPr>
        <p:spPr>
          <a:xfrm>
            <a:off x="18963802" y="1147851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0" lvl="2" indent="0" algn="ctr">
              <a:lnSpc>
                <a:spcPct val="89000"/>
              </a:lnSpc>
              <a:spcBef>
                <a:spcPct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23000">
                <a:ln w="25400">
                  <a:solidFill>
                    <a:srgbClr val="324164"/>
                  </a:solidFill>
                </a:ln>
                <a:noFill/>
                <a:latin typeface="+mj-lt"/>
              </a:defRPr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lvl="2"/>
            <a:r>
              <a:rPr lang="ru-RU" dirty="0"/>
              <a:t>01</a:t>
            </a:r>
          </a:p>
        </p:txBody>
      </p:sp>
      <p:sp>
        <p:nvSpPr>
          <p:cNvPr id="48" name="Объект 4">
            <a:extLst>
              <a:ext uri="{FF2B5EF4-FFF2-40B4-BE49-F238E27FC236}">
                <a16:creationId xmlns:a16="http://schemas.microsoft.com/office/drawing/2014/main" id="{30B500B0-DC02-1268-E791-1CFD23C2EC9B}"/>
              </a:ext>
            </a:extLst>
          </p:cNvPr>
          <p:cNvSpPr txBox="1">
            <a:spLocks/>
          </p:cNvSpPr>
          <p:nvPr/>
        </p:nvSpPr>
        <p:spPr>
          <a:xfrm>
            <a:off x="18963802" y="4476133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0" lvl="2" indent="0" algn="ctr">
              <a:lnSpc>
                <a:spcPct val="89000"/>
              </a:lnSpc>
              <a:spcBef>
                <a:spcPct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23000">
                <a:ln w="25400">
                  <a:solidFill>
                    <a:srgbClr val="324164"/>
                  </a:solidFill>
                </a:ln>
                <a:noFill/>
                <a:latin typeface="+mj-lt"/>
              </a:defRPr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lvl="2"/>
            <a:r>
              <a:rPr lang="ru-RU" dirty="0"/>
              <a:t>02</a:t>
            </a:r>
          </a:p>
        </p:txBody>
      </p:sp>
      <p:sp>
        <p:nvSpPr>
          <p:cNvPr id="50" name="Объект 4">
            <a:extLst>
              <a:ext uri="{FF2B5EF4-FFF2-40B4-BE49-F238E27FC236}">
                <a16:creationId xmlns:a16="http://schemas.microsoft.com/office/drawing/2014/main" id="{7807C097-D934-DD83-B84F-226F8966E3DB}"/>
              </a:ext>
            </a:extLst>
          </p:cNvPr>
          <p:cNvSpPr txBox="1">
            <a:spLocks/>
          </p:cNvSpPr>
          <p:nvPr/>
        </p:nvSpPr>
        <p:spPr>
          <a:xfrm>
            <a:off x="18963802" y="7804415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0" lvl="2" indent="0" algn="ctr">
              <a:lnSpc>
                <a:spcPct val="89000"/>
              </a:lnSpc>
              <a:spcBef>
                <a:spcPct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23000">
                <a:ln w="25400">
                  <a:solidFill>
                    <a:schemeClr val="accent3"/>
                  </a:solidFill>
                </a:ln>
                <a:noFill/>
                <a:latin typeface="+mj-lt"/>
              </a:defRPr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lvl="2"/>
            <a:r>
              <a:rPr lang="ru-RU" dirty="0"/>
              <a:t>03</a:t>
            </a:r>
          </a:p>
        </p:txBody>
      </p:sp>
      <p:sp>
        <p:nvSpPr>
          <p:cNvPr id="52" name="Объект 4">
            <a:extLst>
              <a:ext uri="{FF2B5EF4-FFF2-40B4-BE49-F238E27FC236}">
                <a16:creationId xmlns:a16="http://schemas.microsoft.com/office/drawing/2014/main" id="{BDC69948-DB5C-7ED8-2524-C58A621B7F5E}"/>
              </a:ext>
            </a:extLst>
          </p:cNvPr>
          <p:cNvSpPr txBox="1">
            <a:spLocks/>
          </p:cNvSpPr>
          <p:nvPr/>
        </p:nvSpPr>
        <p:spPr>
          <a:xfrm>
            <a:off x="18963802" y="11132698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algn="ctr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23000" dirty="0">
                <a:ln w="25400">
                  <a:solidFill>
                    <a:srgbClr val="324164"/>
                  </a:solidFill>
                </a:ln>
                <a:noFill/>
                <a:latin typeface="+mj-lt"/>
              </a:rPr>
              <a:t>04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8AAC3026-4932-8307-670C-146454848313}"/>
              </a:ext>
            </a:extLst>
          </p:cNvPr>
          <p:cNvSpPr/>
          <p:nvPr/>
        </p:nvSpPr>
        <p:spPr>
          <a:xfrm>
            <a:off x="20306913" y="3397206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A5103093-0A9C-0B12-0D5B-6ADAB020C9DE}"/>
              </a:ext>
            </a:extLst>
          </p:cNvPr>
          <p:cNvSpPr/>
          <p:nvPr/>
        </p:nvSpPr>
        <p:spPr>
          <a:xfrm>
            <a:off x="20306913" y="6725488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FB5DFBA0-BE33-AF99-FFF4-A585C52AC084}"/>
              </a:ext>
            </a:extLst>
          </p:cNvPr>
          <p:cNvSpPr/>
          <p:nvPr/>
        </p:nvSpPr>
        <p:spPr>
          <a:xfrm>
            <a:off x="20306913" y="10059762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CC61F07C-6FEE-3A78-3064-0DDE65F1917A}"/>
              </a:ext>
            </a:extLst>
          </p:cNvPr>
          <p:cNvSpPr/>
          <p:nvPr/>
        </p:nvSpPr>
        <p:spPr>
          <a:xfrm>
            <a:off x="20306913" y="13388335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928118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83">
          <a:extLst>
            <a:ext uri="{FF2B5EF4-FFF2-40B4-BE49-F238E27FC236}">
              <a16:creationId xmlns:a16="http://schemas.microsoft.com/office/drawing/2014/main" id="{E49DFD4F-5962-950F-BAAB-1DD3825693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4A6F8B4-5B80-D4CF-893B-4E9FCEB333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9999" y="997200"/>
            <a:ext cx="12107725" cy="1861407"/>
          </a:xfrm>
        </p:spPr>
        <p:txBody>
          <a:bodyPr/>
          <a:lstStyle/>
          <a:p>
            <a:pPr>
              <a:buClr>
                <a:schemeClr val="lt1"/>
              </a:buClr>
              <a:buSzPts val="2700"/>
            </a:pPr>
            <a:r>
              <a:rPr lang="ru-RU" dirty="0">
                <a:sym typeface="Play"/>
              </a:rPr>
              <a:t>Продвижение в Алисе </a:t>
            </a:r>
            <a:r>
              <a:rPr lang="en-US" dirty="0">
                <a:sym typeface="Play"/>
              </a:rPr>
              <a:t>AI</a:t>
            </a:r>
            <a:endParaRPr lang="ru-RU" dirty="0">
              <a:sym typeface="Play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3695C9C-E492-3202-651C-21814076F3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369600"/>
            <a:ext cx="19983600" cy="317972"/>
          </a:xfrm>
        </p:spPr>
        <p:txBody>
          <a:bodyPr/>
          <a:lstStyle/>
          <a:p>
            <a:r>
              <a:rPr lang="ru-RU" dirty="0"/>
              <a:t>Данные Яндекса</a:t>
            </a: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6439707C-4B61-BCED-5D32-942B81864101}"/>
              </a:ext>
            </a:extLst>
          </p:cNvPr>
          <p:cNvSpPr/>
          <p:nvPr/>
        </p:nvSpPr>
        <p:spPr>
          <a:xfrm>
            <a:off x="1440000" y="3590289"/>
            <a:ext cx="10596425" cy="3963989"/>
          </a:xfrm>
          <a:prstGeom prst="roundRect">
            <a:avLst>
              <a:gd name="adj" fmla="val 795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4525031-7B2B-41EE-31B2-D21EDE34E5F1}"/>
              </a:ext>
            </a:extLst>
          </p:cNvPr>
          <p:cNvSpPr txBox="1">
            <a:spLocks/>
          </p:cNvSpPr>
          <p:nvPr/>
        </p:nvSpPr>
        <p:spPr>
          <a:xfrm>
            <a:off x="2116209" y="3885571"/>
            <a:ext cx="3964227" cy="184665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0" dirty="0">
                <a:solidFill>
                  <a:schemeClr val="bg1"/>
                </a:solidFill>
                <a:latin typeface="YS Display Bold"/>
              </a:rPr>
              <a:t>100</a:t>
            </a:r>
            <a:r>
              <a:rPr kumimoji="0" lang="ru-RU" sz="1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%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CBA2B3B3-4CD0-201D-08B5-001906506A33}"/>
              </a:ext>
            </a:extLst>
          </p:cNvPr>
          <p:cNvSpPr txBox="1">
            <a:spLocks/>
          </p:cNvSpPr>
          <p:nvPr/>
        </p:nvSpPr>
        <p:spPr>
          <a:xfrm>
            <a:off x="2133886" y="5606985"/>
            <a:ext cx="8477087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709">
              <a:buClr>
                <a:srgbClr val="000000"/>
              </a:buClr>
            </a:pPr>
            <a:r>
              <a:rPr lang="ru-RU" sz="3200" kern="0" dirty="0">
                <a:solidFill>
                  <a:schemeClr val="accent1">
                    <a:lumMod val="40000"/>
                    <a:lumOff val="60000"/>
                  </a:schemeClr>
                </a:solidFill>
                <a:cs typeface="Arial"/>
                <a:sym typeface="Arial"/>
              </a:rPr>
              <a:t>пользователей охватили форматы продвижения в Алисе </a:t>
            </a:r>
            <a:r>
              <a:rPr lang="en" sz="3200" kern="0" dirty="0">
                <a:solidFill>
                  <a:schemeClr val="accent1">
                    <a:lumMod val="40000"/>
                    <a:lumOff val="60000"/>
                  </a:schemeClr>
                </a:solidFill>
                <a:cs typeface="Arial"/>
                <a:sym typeface="Arial"/>
              </a:rPr>
              <a:t>AI </a:t>
            </a:r>
            <a:r>
              <a:rPr lang="ru-RU" sz="3200" kern="0" dirty="0">
                <a:solidFill>
                  <a:schemeClr val="accent1">
                    <a:lumMod val="40000"/>
                    <a:lumOff val="60000"/>
                  </a:schemeClr>
                </a:solidFill>
                <a:cs typeface="Arial"/>
                <a:sym typeface="Arial"/>
              </a:rPr>
              <a:t>к концу 2025 года</a:t>
            </a: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01BA4530-EFAD-E572-B5EE-14B98EB3F086}"/>
              </a:ext>
            </a:extLst>
          </p:cNvPr>
          <p:cNvSpPr/>
          <p:nvPr/>
        </p:nvSpPr>
        <p:spPr>
          <a:xfrm>
            <a:off x="1440000" y="7927328"/>
            <a:ext cx="10596425" cy="3963989"/>
          </a:xfrm>
          <a:prstGeom prst="roundRect">
            <a:avLst>
              <a:gd name="adj" fmla="val 7956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rgbClr val="46557D"/>
              </a:solidFill>
              <a:latin typeface="YS Text Regular"/>
              <a:sym typeface="Arial"/>
            </a:endParaRPr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BD771B24-338A-FB1B-53D9-47FF99C73F57}"/>
              </a:ext>
            </a:extLst>
          </p:cNvPr>
          <p:cNvSpPr txBox="1">
            <a:spLocks/>
          </p:cNvSpPr>
          <p:nvPr/>
        </p:nvSpPr>
        <p:spPr>
          <a:xfrm>
            <a:off x="2116209" y="8222610"/>
            <a:ext cx="4528484" cy="184665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&gt;24 </a:t>
            </a:r>
            <a:r>
              <a:rPr kumimoji="0" lang="ru-RU" sz="7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млн</a:t>
            </a: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4DF06A2A-A35D-1E62-F4BF-7F52D8B31F2A}"/>
              </a:ext>
            </a:extLst>
          </p:cNvPr>
          <p:cNvSpPr txBox="1">
            <a:spLocks/>
          </p:cNvSpPr>
          <p:nvPr/>
        </p:nvSpPr>
        <p:spPr>
          <a:xfrm>
            <a:off x="2133887" y="9944024"/>
            <a:ext cx="6335863" cy="998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>
              <a:buClr>
                <a:srgbClr val="B6B1FF"/>
              </a:buClr>
              <a:buSzPts val="1500"/>
            </a:pPr>
            <a:r>
              <a:rPr lang="ru-RU" sz="3200" kern="0" dirty="0">
                <a:cs typeface="Arial"/>
                <a:sym typeface="Arial"/>
              </a:rPr>
              <a:t>человек ежедневно пользуются Алисой </a:t>
            </a:r>
            <a:r>
              <a:rPr lang="en" sz="3200" kern="0" dirty="0">
                <a:cs typeface="Arial"/>
                <a:sym typeface="Arial"/>
              </a:rPr>
              <a:t>AI</a:t>
            </a:r>
            <a:endParaRPr lang="en" sz="3200" kern="0" dirty="0">
              <a:cs typeface="Arial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D80C0E68-E28F-CB4F-163B-E927590D2094}"/>
              </a:ext>
            </a:extLst>
          </p:cNvPr>
          <p:cNvSpPr/>
          <p:nvPr/>
        </p:nvSpPr>
        <p:spPr>
          <a:xfrm>
            <a:off x="12345989" y="3590289"/>
            <a:ext cx="10596425" cy="3963989"/>
          </a:xfrm>
          <a:prstGeom prst="roundRect">
            <a:avLst>
              <a:gd name="adj" fmla="val 7956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C58661E7-B5F2-C39A-F5CB-CEB6C6FE2802}"/>
              </a:ext>
            </a:extLst>
          </p:cNvPr>
          <p:cNvSpPr txBox="1">
            <a:spLocks/>
          </p:cNvSpPr>
          <p:nvPr/>
        </p:nvSpPr>
        <p:spPr>
          <a:xfrm>
            <a:off x="13022198" y="3885571"/>
            <a:ext cx="6181179" cy="184665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&gt;2 </a:t>
            </a:r>
            <a:r>
              <a:rPr kumimoji="0" lang="ru-RU" sz="7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млрд руб.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37D5503C-BB10-DBEA-8C57-1044935175F8}"/>
              </a:ext>
            </a:extLst>
          </p:cNvPr>
          <p:cNvSpPr txBox="1">
            <a:spLocks/>
          </p:cNvSpPr>
          <p:nvPr/>
        </p:nvSpPr>
        <p:spPr>
          <a:xfrm>
            <a:off x="13039875" y="5606985"/>
            <a:ext cx="9332663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709">
              <a:buClr>
                <a:srgbClr val="000000"/>
              </a:buClr>
            </a:pPr>
            <a:r>
              <a:rPr lang="ru-RU" sz="3200" kern="0" dirty="0">
                <a:cs typeface="Arial"/>
                <a:sym typeface="Arial"/>
              </a:rPr>
              <a:t>выручка от экспериментов с монетизацией ИИ в 2025 году: реклама, подписки, транзакции</a:t>
            </a:r>
          </a:p>
        </p:txBody>
      </p:sp>
      <p:sp>
        <p:nvSpPr>
          <p:cNvPr id="26" name="Скругленный прямоугольник 25">
            <a:extLst>
              <a:ext uri="{FF2B5EF4-FFF2-40B4-BE49-F238E27FC236}">
                <a16:creationId xmlns:a16="http://schemas.microsoft.com/office/drawing/2014/main" id="{00C3D265-0740-8392-0C51-3ADE28EAED88}"/>
              </a:ext>
            </a:extLst>
          </p:cNvPr>
          <p:cNvSpPr/>
          <p:nvPr/>
        </p:nvSpPr>
        <p:spPr>
          <a:xfrm>
            <a:off x="12345989" y="7927328"/>
            <a:ext cx="10596425" cy="3963989"/>
          </a:xfrm>
          <a:prstGeom prst="roundRect">
            <a:avLst>
              <a:gd name="adj" fmla="val 7956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rgbClr val="46557D"/>
              </a:solidFill>
              <a:latin typeface="YS Text Regular"/>
              <a:sym typeface="Arial"/>
            </a:endParaRPr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6C3B327E-FAE4-E5FA-0F91-D29B94650B72}"/>
              </a:ext>
            </a:extLst>
          </p:cNvPr>
          <p:cNvSpPr txBox="1">
            <a:spLocks/>
          </p:cNvSpPr>
          <p:nvPr/>
        </p:nvSpPr>
        <p:spPr>
          <a:xfrm>
            <a:off x="13022198" y="8222610"/>
            <a:ext cx="2946319" cy="184665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0" dirty="0">
                <a:solidFill>
                  <a:schemeClr val="bg1"/>
                </a:solidFill>
                <a:latin typeface="YS Display Bold"/>
              </a:rPr>
              <a:t>10</a:t>
            </a:r>
            <a:r>
              <a:rPr kumimoji="0" lang="ru-RU" sz="1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%</a:t>
            </a:r>
          </a:p>
        </p:txBody>
      </p:sp>
      <p:sp>
        <p:nvSpPr>
          <p:cNvPr id="28" name="Текст 2">
            <a:extLst>
              <a:ext uri="{FF2B5EF4-FFF2-40B4-BE49-F238E27FC236}">
                <a16:creationId xmlns:a16="http://schemas.microsoft.com/office/drawing/2014/main" id="{D9770FFA-F8B8-298F-DDBC-A0A102DEE8EB}"/>
              </a:ext>
            </a:extLst>
          </p:cNvPr>
          <p:cNvSpPr txBox="1">
            <a:spLocks/>
          </p:cNvSpPr>
          <p:nvPr/>
        </p:nvSpPr>
        <p:spPr>
          <a:xfrm>
            <a:off x="13039876" y="9944024"/>
            <a:ext cx="7644596" cy="998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>
              <a:buClr>
                <a:srgbClr val="B6B1FF"/>
              </a:buClr>
              <a:buSzPts val="1500"/>
            </a:pPr>
            <a:r>
              <a:rPr lang="ru-RU" sz="3200" kern="0" dirty="0">
                <a:cs typeface="Arial"/>
                <a:sym typeface="Arial"/>
              </a:rPr>
              <a:t>ответов в нейросети </a:t>
            </a:r>
            <a:r>
              <a:rPr lang="ru-RU" sz="3200" kern="0" dirty="0">
                <a:cs typeface="Arial"/>
              </a:rPr>
              <a:t>содержат объявления рекламодателей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03A3C65-B424-E121-34A3-25441BCAE5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832" b="35167"/>
          <a:stretch/>
        </p:blipFill>
        <p:spPr>
          <a:xfrm>
            <a:off x="19573552" y="9134590"/>
            <a:ext cx="3368862" cy="2756727"/>
          </a:xfrm>
          <a:prstGeom prst="roundRect">
            <a:avLst>
              <a:gd name="adj" fmla="val 10524"/>
            </a:avLst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2726AE5-0595-0818-32E7-B683BF458D9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140" y="8912261"/>
            <a:ext cx="1559527" cy="155730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1A55B88-E19A-1930-AD7B-03CE85B1AD9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792" b="16729"/>
          <a:stretch>
            <a:fillRect/>
          </a:stretch>
        </p:blipFill>
        <p:spPr>
          <a:xfrm>
            <a:off x="9311134" y="9517271"/>
            <a:ext cx="2518318" cy="2374046"/>
          </a:xfrm>
          <a:custGeom>
            <a:avLst/>
            <a:gdLst>
              <a:gd name="csX0" fmla="*/ 385029 w 2518318"/>
              <a:gd name="csY0" fmla="*/ 0 h 2374046"/>
              <a:gd name="csX1" fmla="*/ 2511226 w 2518318"/>
              <a:gd name="csY1" fmla="*/ 0 h 2374046"/>
              <a:gd name="csX2" fmla="*/ 2518318 w 2518318"/>
              <a:gd name="csY2" fmla="*/ 30455 h 2374046"/>
              <a:gd name="csX3" fmla="*/ 2518318 w 2518318"/>
              <a:gd name="csY3" fmla="*/ 2123112 h 2374046"/>
              <a:gd name="csX4" fmla="*/ 2506544 w 2518318"/>
              <a:gd name="csY4" fmla="*/ 2181429 h 2374046"/>
              <a:gd name="csX5" fmla="*/ 2215953 w 2518318"/>
              <a:gd name="csY5" fmla="*/ 2374046 h 2374046"/>
              <a:gd name="csX6" fmla="*/ 0 w 2518318"/>
              <a:gd name="csY6" fmla="*/ 2374046 h 2374046"/>
              <a:gd name="csX7" fmla="*/ 0 w 2518318"/>
              <a:gd name="csY7" fmla="*/ 333821 h 2374046"/>
              <a:gd name="csX8" fmla="*/ 385029 w 2518318"/>
              <a:gd name="csY8" fmla="*/ 0 h 237404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518318" h="2374046">
                <a:moveTo>
                  <a:pt x="385029" y="0"/>
                </a:moveTo>
                <a:lnTo>
                  <a:pt x="2511226" y="0"/>
                </a:lnTo>
                <a:lnTo>
                  <a:pt x="2518318" y="30455"/>
                </a:lnTo>
                <a:lnTo>
                  <a:pt x="2518318" y="2123112"/>
                </a:lnTo>
                <a:lnTo>
                  <a:pt x="2506544" y="2181429"/>
                </a:lnTo>
                <a:cubicBezTo>
                  <a:pt x="2458668" y="2294622"/>
                  <a:pt x="2346586" y="2374046"/>
                  <a:pt x="2215953" y="2374046"/>
                </a:cubicBezTo>
                <a:lnTo>
                  <a:pt x="0" y="2374046"/>
                </a:lnTo>
                <a:lnTo>
                  <a:pt x="0" y="333821"/>
                </a:lnTo>
                <a:cubicBezTo>
                  <a:pt x="0" y="149457"/>
                  <a:pt x="172384" y="0"/>
                  <a:pt x="385029" y="0"/>
                </a:cubicBezTo>
                <a:close/>
              </a:path>
            </a:pathLst>
          </a:cu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FD6695A-F8BD-E3EC-8280-1F9C4D994E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017007">
            <a:off x="8510102" y="2394451"/>
            <a:ext cx="3093892" cy="3155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2310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826209-C00D-895A-EDA1-21275A931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Скругленный прямоугольник 4">
            <a:extLst>
              <a:ext uri="{FF2B5EF4-FFF2-40B4-BE49-F238E27FC236}">
                <a16:creationId xmlns:a16="http://schemas.microsoft.com/office/drawing/2014/main" id="{EFDEBBE3-9EB3-070A-29D3-AE8D01634411}"/>
              </a:ext>
            </a:extLst>
          </p:cNvPr>
          <p:cNvSpPr/>
          <p:nvPr/>
        </p:nvSpPr>
        <p:spPr>
          <a:xfrm>
            <a:off x="326073" y="10332691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29" name="Title 18">
            <a:extLst>
              <a:ext uri="{FF2B5EF4-FFF2-40B4-BE49-F238E27FC236}">
                <a16:creationId xmlns:a16="http://schemas.microsoft.com/office/drawing/2014/main" id="{BE13D832-726A-5B63-5161-13E8BD724ECE}"/>
              </a:ext>
            </a:extLst>
          </p:cNvPr>
          <p:cNvSpPr txBox="1">
            <a:spLocks/>
          </p:cNvSpPr>
          <p:nvPr/>
        </p:nvSpPr>
        <p:spPr>
          <a:xfrm>
            <a:off x="1441450" y="11229353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ИИ как агент</a:t>
            </a:r>
            <a:endParaRPr lang="en-001" dirty="0"/>
          </a:p>
        </p:txBody>
      </p:sp>
      <p:sp>
        <p:nvSpPr>
          <p:cNvPr id="34" name="Скругленный прямоугольник 4">
            <a:extLst>
              <a:ext uri="{FF2B5EF4-FFF2-40B4-BE49-F238E27FC236}">
                <a16:creationId xmlns:a16="http://schemas.microsoft.com/office/drawing/2014/main" id="{04748D87-8797-AEA7-E813-8A61DA368ADD}"/>
              </a:ext>
            </a:extLst>
          </p:cNvPr>
          <p:cNvSpPr/>
          <p:nvPr/>
        </p:nvSpPr>
        <p:spPr>
          <a:xfrm>
            <a:off x="326073" y="347844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35" name="Title 18">
            <a:extLst>
              <a:ext uri="{FF2B5EF4-FFF2-40B4-BE49-F238E27FC236}">
                <a16:creationId xmlns:a16="http://schemas.microsoft.com/office/drawing/2014/main" id="{622DB4B5-8C42-1617-142D-28FE48EAAB58}"/>
              </a:ext>
            </a:extLst>
          </p:cNvPr>
          <p:cNvSpPr txBox="1">
            <a:spLocks/>
          </p:cNvSpPr>
          <p:nvPr/>
        </p:nvSpPr>
        <p:spPr>
          <a:xfrm>
            <a:off x="1441450" y="1244506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технология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37" name="Скругленный прямоугольник 4">
            <a:extLst>
              <a:ext uri="{FF2B5EF4-FFF2-40B4-BE49-F238E27FC236}">
                <a16:creationId xmlns:a16="http://schemas.microsoft.com/office/drawing/2014/main" id="{9BEF9C56-B5C6-0DA0-6B16-5D7337D3BC18}"/>
              </a:ext>
            </a:extLst>
          </p:cNvPr>
          <p:cNvSpPr/>
          <p:nvPr/>
        </p:nvSpPr>
        <p:spPr>
          <a:xfrm>
            <a:off x="326073" y="3676126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38" name="Title 18">
            <a:extLst>
              <a:ext uri="{FF2B5EF4-FFF2-40B4-BE49-F238E27FC236}">
                <a16:creationId xmlns:a16="http://schemas.microsoft.com/office/drawing/2014/main" id="{5D2C088D-7A5E-E297-B06D-5B3B17164178}"/>
              </a:ext>
            </a:extLst>
          </p:cNvPr>
          <p:cNvSpPr txBox="1">
            <a:spLocks/>
          </p:cNvSpPr>
          <p:nvPr/>
        </p:nvSpPr>
        <p:spPr>
          <a:xfrm>
            <a:off x="1441450" y="4572788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2000"/>
              </a:lnSpc>
              <a:spcBef>
                <a:spcPct val="0"/>
              </a:spcBef>
              <a:buNone/>
              <a:defRPr sz="9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инструмент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40" name="Скругленный прямоугольник 4">
            <a:extLst>
              <a:ext uri="{FF2B5EF4-FFF2-40B4-BE49-F238E27FC236}">
                <a16:creationId xmlns:a16="http://schemas.microsoft.com/office/drawing/2014/main" id="{7A507B22-70D1-22B6-D02C-7D0D15957A16}"/>
              </a:ext>
            </a:extLst>
          </p:cNvPr>
          <p:cNvSpPr/>
          <p:nvPr/>
        </p:nvSpPr>
        <p:spPr>
          <a:xfrm>
            <a:off x="326073" y="7004408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41" name="Title 18">
            <a:extLst>
              <a:ext uri="{FF2B5EF4-FFF2-40B4-BE49-F238E27FC236}">
                <a16:creationId xmlns:a16="http://schemas.microsoft.com/office/drawing/2014/main" id="{EE5C82E1-EB57-A65F-B255-E61C778E70D1}"/>
              </a:ext>
            </a:extLst>
          </p:cNvPr>
          <p:cNvSpPr txBox="1">
            <a:spLocks/>
          </p:cNvSpPr>
          <p:nvPr/>
        </p:nvSpPr>
        <p:spPr>
          <a:xfrm>
            <a:off x="1441450" y="7901070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поверхность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46" name="Объект 4">
            <a:extLst>
              <a:ext uri="{FF2B5EF4-FFF2-40B4-BE49-F238E27FC236}">
                <a16:creationId xmlns:a16="http://schemas.microsoft.com/office/drawing/2014/main" id="{24808428-6C29-4FA3-DDB3-44E8997E0D7C}"/>
              </a:ext>
            </a:extLst>
          </p:cNvPr>
          <p:cNvSpPr txBox="1">
            <a:spLocks/>
          </p:cNvSpPr>
          <p:nvPr/>
        </p:nvSpPr>
        <p:spPr>
          <a:xfrm>
            <a:off x="18963802" y="1147851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0" lvl="2" indent="0" algn="ctr">
              <a:lnSpc>
                <a:spcPct val="89000"/>
              </a:lnSpc>
              <a:spcBef>
                <a:spcPct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23000">
                <a:ln w="25400">
                  <a:solidFill>
                    <a:srgbClr val="324164"/>
                  </a:solidFill>
                </a:ln>
                <a:noFill/>
                <a:latin typeface="+mj-lt"/>
              </a:defRPr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lvl="2"/>
            <a:r>
              <a:rPr lang="ru-RU" dirty="0"/>
              <a:t>01</a:t>
            </a:r>
          </a:p>
        </p:txBody>
      </p:sp>
      <p:sp>
        <p:nvSpPr>
          <p:cNvPr id="48" name="Объект 4">
            <a:extLst>
              <a:ext uri="{FF2B5EF4-FFF2-40B4-BE49-F238E27FC236}">
                <a16:creationId xmlns:a16="http://schemas.microsoft.com/office/drawing/2014/main" id="{1B603956-0ED5-6C48-3291-CCE86A91EE59}"/>
              </a:ext>
            </a:extLst>
          </p:cNvPr>
          <p:cNvSpPr txBox="1">
            <a:spLocks/>
          </p:cNvSpPr>
          <p:nvPr/>
        </p:nvSpPr>
        <p:spPr>
          <a:xfrm>
            <a:off x="18963802" y="4476133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0" lvl="2" indent="0" algn="ctr">
              <a:lnSpc>
                <a:spcPct val="89000"/>
              </a:lnSpc>
              <a:spcBef>
                <a:spcPct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23000">
                <a:ln w="25400">
                  <a:solidFill>
                    <a:srgbClr val="324164"/>
                  </a:solidFill>
                </a:ln>
                <a:noFill/>
                <a:latin typeface="+mj-lt"/>
              </a:defRPr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lvl="2"/>
            <a:r>
              <a:rPr lang="ru-RU" dirty="0"/>
              <a:t>02</a:t>
            </a:r>
          </a:p>
        </p:txBody>
      </p:sp>
      <p:sp>
        <p:nvSpPr>
          <p:cNvPr id="50" name="Объект 4">
            <a:extLst>
              <a:ext uri="{FF2B5EF4-FFF2-40B4-BE49-F238E27FC236}">
                <a16:creationId xmlns:a16="http://schemas.microsoft.com/office/drawing/2014/main" id="{7A72D23B-54A9-A2A4-7C12-94A9C92C6123}"/>
              </a:ext>
            </a:extLst>
          </p:cNvPr>
          <p:cNvSpPr txBox="1">
            <a:spLocks/>
          </p:cNvSpPr>
          <p:nvPr/>
        </p:nvSpPr>
        <p:spPr>
          <a:xfrm>
            <a:off x="18963802" y="7804415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0" lvl="2" indent="0" algn="ctr">
              <a:lnSpc>
                <a:spcPct val="89000"/>
              </a:lnSpc>
              <a:spcBef>
                <a:spcPct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23000">
                <a:ln w="25400">
                  <a:solidFill>
                    <a:srgbClr val="324164"/>
                  </a:solidFill>
                </a:ln>
                <a:noFill/>
                <a:latin typeface="+mj-lt"/>
              </a:defRPr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lvl="2"/>
            <a:r>
              <a:rPr lang="ru-RU" dirty="0"/>
              <a:t>03</a:t>
            </a:r>
          </a:p>
        </p:txBody>
      </p:sp>
      <p:sp>
        <p:nvSpPr>
          <p:cNvPr id="52" name="Объект 4">
            <a:extLst>
              <a:ext uri="{FF2B5EF4-FFF2-40B4-BE49-F238E27FC236}">
                <a16:creationId xmlns:a16="http://schemas.microsoft.com/office/drawing/2014/main" id="{8586A71F-A6F6-A072-31FD-5F7951B544DF}"/>
              </a:ext>
            </a:extLst>
          </p:cNvPr>
          <p:cNvSpPr txBox="1">
            <a:spLocks/>
          </p:cNvSpPr>
          <p:nvPr/>
        </p:nvSpPr>
        <p:spPr>
          <a:xfrm>
            <a:off x="18963802" y="11132698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0" lvl="2" indent="0" algn="ctr">
              <a:lnSpc>
                <a:spcPct val="89000"/>
              </a:lnSpc>
              <a:spcBef>
                <a:spcPct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23000">
                <a:ln w="25400">
                  <a:solidFill>
                    <a:schemeClr val="accent3"/>
                  </a:solidFill>
                </a:ln>
                <a:noFill/>
                <a:latin typeface="+mj-lt"/>
              </a:defRPr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lvl="2"/>
            <a:r>
              <a:rPr lang="ru-RU" dirty="0"/>
              <a:t>04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BFD8E37B-B55A-AB90-89E1-10348080B9B8}"/>
              </a:ext>
            </a:extLst>
          </p:cNvPr>
          <p:cNvSpPr/>
          <p:nvPr/>
        </p:nvSpPr>
        <p:spPr>
          <a:xfrm>
            <a:off x="20306913" y="3397206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4373E723-E7D2-E099-B4DD-C7B6CF6E5A9F}"/>
              </a:ext>
            </a:extLst>
          </p:cNvPr>
          <p:cNvSpPr/>
          <p:nvPr/>
        </p:nvSpPr>
        <p:spPr>
          <a:xfrm>
            <a:off x="20306913" y="6725488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7A8BEDB3-08B7-092F-5AF6-38177C3FEF1B}"/>
              </a:ext>
            </a:extLst>
          </p:cNvPr>
          <p:cNvSpPr/>
          <p:nvPr/>
        </p:nvSpPr>
        <p:spPr>
          <a:xfrm>
            <a:off x="20306913" y="10059762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49ECECE5-2693-BF84-1942-FD831A1FBA5E}"/>
              </a:ext>
            </a:extLst>
          </p:cNvPr>
          <p:cNvSpPr/>
          <p:nvPr/>
        </p:nvSpPr>
        <p:spPr>
          <a:xfrm>
            <a:off x="20306913" y="13388335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57094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753C12BC-AFFB-8574-3A29-F92948EB3B7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103" t="44238" r="1221" b="3277"/>
          <a:stretch>
            <a:fillRect/>
          </a:stretch>
        </p:blipFill>
        <p:spPr>
          <a:xfrm>
            <a:off x="301947" y="377685"/>
            <a:ext cx="11710737" cy="6323152"/>
          </a:xfrm>
          <a:custGeom>
            <a:avLst/>
            <a:gdLst>
              <a:gd name="csX0" fmla="*/ 266963 w 11710737"/>
              <a:gd name="csY0" fmla="*/ 0 h 6323152"/>
              <a:gd name="csX1" fmla="*/ 11443774 w 11710737"/>
              <a:gd name="csY1" fmla="*/ 0 h 6323152"/>
              <a:gd name="csX2" fmla="*/ 11710737 w 11710737"/>
              <a:gd name="csY2" fmla="*/ 266963 h 6323152"/>
              <a:gd name="csX3" fmla="*/ 11710737 w 11710737"/>
              <a:gd name="csY3" fmla="*/ 6056189 h 6323152"/>
              <a:gd name="csX4" fmla="*/ 11443774 w 11710737"/>
              <a:gd name="csY4" fmla="*/ 6323152 h 6323152"/>
              <a:gd name="csX5" fmla="*/ 266963 w 11710737"/>
              <a:gd name="csY5" fmla="*/ 6323152 h 6323152"/>
              <a:gd name="csX6" fmla="*/ 0 w 11710737"/>
              <a:gd name="csY6" fmla="*/ 6056189 h 6323152"/>
              <a:gd name="csX7" fmla="*/ 0 w 11710737"/>
              <a:gd name="csY7" fmla="*/ 266963 h 6323152"/>
              <a:gd name="csX8" fmla="*/ 266963 w 11710737"/>
              <a:gd name="csY8" fmla="*/ 0 h 632315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11710737" h="6323152">
                <a:moveTo>
                  <a:pt x="266963" y="0"/>
                </a:moveTo>
                <a:lnTo>
                  <a:pt x="11443774" y="0"/>
                </a:lnTo>
                <a:cubicBezTo>
                  <a:pt x="11591214" y="0"/>
                  <a:pt x="11710737" y="119523"/>
                  <a:pt x="11710737" y="266963"/>
                </a:cubicBezTo>
                <a:lnTo>
                  <a:pt x="11710737" y="6056189"/>
                </a:lnTo>
                <a:cubicBezTo>
                  <a:pt x="11710737" y="6203629"/>
                  <a:pt x="11591214" y="6323152"/>
                  <a:pt x="11443774" y="6323152"/>
                </a:cubicBezTo>
                <a:lnTo>
                  <a:pt x="266963" y="6323152"/>
                </a:lnTo>
                <a:cubicBezTo>
                  <a:pt x="119523" y="6323152"/>
                  <a:pt x="0" y="6203629"/>
                  <a:pt x="0" y="6056189"/>
                </a:cubicBezTo>
                <a:lnTo>
                  <a:pt x="0" y="266963"/>
                </a:lnTo>
                <a:cubicBezTo>
                  <a:pt x="0" y="119523"/>
                  <a:pt x="119523" y="0"/>
                  <a:pt x="266963" y="0"/>
                </a:cubicBezTo>
                <a:close/>
              </a:path>
            </a:pathLst>
          </a:custGeom>
        </p:spPr>
      </p:pic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56C3B706-263B-4C87-A70D-F1DD17C0CC33}"/>
              </a:ext>
            </a:extLst>
          </p:cNvPr>
          <p:cNvSpPr/>
          <p:nvPr/>
        </p:nvSpPr>
        <p:spPr>
          <a:xfrm>
            <a:off x="12383212" y="377686"/>
            <a:ext cx="11710737" cy="6323152"/>
          </a:xfrm>
          <a:prstGeom prst="roundRect">
            <a:avLst>
              <a:gd name="adj" fmla="val 42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E8F5E8B-7A49-2D99-1139-EC8AB6874EB7}"/>
              </a:ext>
            </a:extLst>
          </p:cNvPr>
          <p:cNvSpPr txBox="1"/>
          <p:nvPr/>
        </p:nvSpPr>
        <p:spPr>
          <a:xfrm>
            <a:off x="13498973" y="2083303"/>
            <a:ext cx="9077325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0"/>
              </a:spcAft>
              <a:defRPr/>
            </a:pPr>
            <a:r>
              <a:rPr lang="ru-RU" sz="3600" dirty="0"/>
              <a:t>Изучит источники, проанализирует данные, выполнит код для расчётов </a:t>
            </a:r>
            <a:br>
              <a:rPr lang="ru-RU" sz="3600" dirty="0"/>
            </a:br>
            <a:r>
              <a:rPr lang="ru-RU" sz="3600" dirty="0"/>
              <a:t>и даст развёрнутый ответ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50F9C28-42EA-DD06-B6DA-02DF7AED471C}"/>
              </a:ext>
            </a:extLst>
          </p:cNvPr>
          <p:cNvSpPr txBox="1"/>
          <p:nvPr/>
        </p:nvSpPr>
        <p:spPr>
          <a:xfrm>
            <a:off x="13498973" y="1118452"/>
            <a:ext cx="9349007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0"/>
              </a:spcAft>
              <a:defRPr/>
            </a:pPr>
            <a:r>
              <a:rPr lang="ru-RU" sz="4800" dirty="0">
                <a:solidFill>
                  <a:schemeClr val="bg1"/>
                </a:solidFill>
                <a:latin typeface="YS Text Medium" pitchFamily="2" charset="0"/>
              </a:rPr>
              <a:t>Проводит исследования</a:t>
            </a:r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A9F4969B-F332-CC79-78A9-B5041F0B9715}"/>
              </a:ext>
            </a:extLst>
          </p:cNvPr>
          <p:cNvSpPr/>
          <p:nvPr/>
        </p:nvSpPr>
        <p:spPr>
          <a:xfrm>
            <a:off x="13498973" y="5338581"/>
            <a:ext cx="2291154" cy="805663"/>
          </a:xfrm>
          <a:prstGeom prst="roundRect">
            <a:avLst>
              <a:gd name="adj" fmla="val 2152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ctr"/>
          <a:lstStyle/>
          <a:p>
            <a:pPr algn="ctr"/>
            <a:r>
              <a:rPr lang="ru-RU" sz="3200" dirty="0">
                <a:solidFill>
                  <a:schemeClr val="bg2"/>
                </a:solidFill>
                <a:sym typeface="Arial"/>
              </a:rPr>
              <a:t>Доступно</a:t>
            </a:r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9068588C-19BE-DC89-33BA-EAD21F8AC721}"/>
              </a:ext>
            </a:extLst>
          </p:cNvPr>
          <p:cNvSpPr/>
          <p:nvPr/>
        </p:nvSpPr>
        <p:spPr>
          <a:xfrm>
            <a:off x="270126" y="7015163"/>
            <a:ext cx="11710737" cy="6323152"/>
          </a:xfrm>
          <a:prstGeom prst="roundRect">
            <a:avLst>
              <a:gd name="adj" fmla="val 42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BAF1C2A-C1FF-0439-0DAA-19214207EFD9}"/>
              </a:ext>
            </a:extLst>
          </p:cNvPr>
          <p:cNvSpPr txBox="1"/>
          <p:nvPr/>
        </p:nvSpPr>
        <p:spPr>
          <a:xfrm>
            <a:off x="1385887" y="8720780"/>
            <a:ext cx="9077325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0"/>
              </a:spcAft>
              <a:defRPr/>
            </a:pPr>
            <a:r>
              <a:rPr lang="ru-RU" sz="3600" dirty="0"/>
              <a:t>Просмотрит за вас интернет-магазины </a:t>
            </a:r>
            <a:br>
              <a:rPr lang="ru-RU" sz="3600" dirty="0"/>
            </a:br>
            <a:r>
              <a:rPr lang="ru-RU" sz="3600" dirty="0"/>
              <a:t>и маркетплейсы, чтобы найти более выгодную цену на нужный товар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3DE3890-9893-AE0E-AC19-93CA1294F569}"/>
              </a:ext>
            </a:extLst>
          </p:cNvPr>
          <p:cNvSpPr txBox="1"/>
          <p:nvPr/>
        </p:nvSpPr>
        <p:spPr>
          <a:xfrm>
            <a:off x="1385887" y="7755929"/>
            <a:ext cx="9349007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0"/>
              </a:spcAft>
              <a:defRPr/>
            </a:pPr>
            <a:r>
              <a:rPr lang="ru-RU" sz="4800" dirty="0">
                <a:solidFill>
                  <a:schemeClr val="bg1"/>
                </a:solidFill>
                <a:latin typeface="YS Text Medium" pitchFamily="2" charset="0"/>
              </a:rPr>
              <a:t>Находит дешевле</a:t>
            </a:r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71DD9F4A-72F1-E2F2-D85F-47106EAEBE1B}"/>
              </a:ext>
            </a:extLst>
          </p:cNvPr>
          <p:cNvSpPr/>
          <p:nvPr/>
        </p:nvSpPr>
        <p:spPr>
          <a:xfrm>
            <a:off x="1385887" y="11976058"/>
            <a:ext cx="2373314" cy="805663"/>
          </a:xfrm>
          <a:prstGeom prst="roundRect">
            <a:avLst>
              <a:gd name="adj" fmla="val 2152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ctr"/>
          <a:lstStyle/>
          <a:p>
            <a:pPr algn="ctr"/>
            <a:r>
              <a:rPr lang="ru-RU" sz="3200" dirty="0">
                <a:solidFill>
                  <a:schemeClr val="bg2"/>
                </a:solidFill>
                <a:sym typeface="Arial"/>
              </a:rPr>
              <a:t>Доступно</a:t>
            </a:r>
          </a:p>
        </p:txBody>
      </p:sp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E2D93D08-B2E8-2A83-DE26-8668E7D78C8A}"/>
              </a:ext>
            </a:extLst>
          </p:cNvPr>
          <p:cNvSpPr/>
          <p:nvPr/>
        </p:nvSpPr>
        <p:spPr>
          <a:xfrm>
            <a:off x="12327650" y="7015163"/>
            <a:ext cx="11710737" cy="6323152"/>
          </a:xfrm>
          <a:prstGeom prst="roundRect">
            <a:avLst>
              <a:gd name="adj" fmla="val 42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A7566CE-B1AC-D29F-7BE5-DBA4564C5D88}"/>
              </a:ext>
            </a:extLst>
          </p:cNvPr>
          <p:cNvSpPr txBox="1"/>
          <p:nvPr/>
        </p:nvSpPr>
        <p:spPr>
          <a:xfrm>
            <a:off x="13443411" y="8720780"/>
            <a:ext cx="9897349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0"/>
              </a:spcAft>
              <a:defRPr/>
            </a:pPr>
            <a:r>
              <a:rPr lang="ru-RU" sz="3600" dirty="0"/>
              <a:t>Подберёт и забронирует столик </a:t>
            </a:r>
            <a:br>
              <a:rPr lang="ru-RU" sz="3600" dirty="0"/>
            </a:br>
            <a:r>
              <a:rPr lang="ru-RU" sz="3600" dirty="0"/>
              <a:t>в ресторане или найдёт окошко и запишет вас в салон красоты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F70FC58-F8F5-891C-DB0D-8374DA038050}"/>
              </a:ext>
            </a:extLst>
          </p:cNvPr>
          <p:cNvSpPr txBox="1"/>
          <p:nvPr/>
        </p:nvSpPr>
        <p:spPr>
          <a:xfrm>
            <a:off x="13443411" y="7755929"/>
            <a:ext cx="9349007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0"/>
              </a:spcAft>
              <a:defRPr/>
            </a:pPr>
            <a:r>
              <a:rPr lang="ru-RU" sz="4800" dirty="0">
                <a:solidFill>
                  <a:schemeClr val="bg1"/>
                </a:solidFill>
                <a:latin typeface="YS Text Medium" pitchFamily="2" charset="0"/>
              </a:rPr>
              <a:t>Бронирует и записывает</a:t>
            </a:r>
          </a:p>
        </p:txBody>
      </p:sp>
      <p:sp>
        <p:nvSpPr>
          <p:cNvPr id="55" name="Скругленный прямоугольник 54">
            <a:extLst>
              <a:ext uri="{FF2B5EF4-FFF2-40B4-BE49-F238E27FC236}">
                <a16:creationId xmlns:a16="http://schemas.microsoft.com/office/drawing/2014/main" id="{74106407-E6AD-9299-1680-C1917CE40E5D}"/>
              </a:ext>
            </a:extLst>
          </p:cNvPr>
          <p:cNvSpPr/>
          <p:nvPr/>
        </p:nvSpPr>
        <p:spPr>
          <a:xfrm>
            <a:off x="13443411" y="11976058"/>
            <a:ext cx="1430986" cy="805663"/>
          </a:xfrm>
          <a:prstGeom prst="roundRect">
            <a:avLst>
              <a:gd name="adj" fmla="val 215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sym typeface="Arial"/>
              </a:rPr>
              <a:t>Бета</a:t>
            </a:r>
          </a:p>
        </p:txBody>
      </p:sp>
      <p:sp>
        <p:nvSpPr>
          <p:cNvPr id="60" name="Заголовок 59">
            <a:extLst>
              <a:ext uri="{FF2B5EF4-FFF2-40B4-BE49-F238E27FC236}">
                <a16:creationId xmlns:a16="http://schemas.microsoft.com/office/drawing/2014/main" id="{8FE3D6B1-8AAC-E960-7625-760710FA22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997200"/>
            <a:ext cx="9023212" cy="1861407"/>
          </a:xfrm>
        </p:spPr>
        <p:txBody>
          <a:bodyPr/>
          <a:lstStyle/>
          <a:p>
            <a:r>
              <a:rPr lang="ru-RU" dirty="0"/>
              <a:t>ИИ-агенты </a:t>
            </a:r>
            <a:br>
              <a:rPr lang="ru-RU" dirty="0"/>
            </a:br>
            <a:r>
              <a:rPr lang="ru-RU" dirty="0"/>
              <a:t>Алисы AI</a:t>
            </a:r>
          </a:p>
        </p:txBody>
      </p:sp>
      <p:sp>
        <p:nvSpPr>
          <p:cNvPr id="79" name="Полилиния: фигура 279">
            <a:extLst>
              <a:ext uri="{FF2B5EF4-FFF2-40B4-BE49-F238E27FC236}">
                <a16:creationId xmlns:a16="http://schemas.microsoft.com/office/drawing/2014/main" id="{7383155A-FA7C-FC9B-44BB-8B0E8066AF66}"/>
              </a:ext>
            </a:extLst>
          </p:cNvPr>
          <p:cNvSpPr/>
          <p:nvPr/>
        </p:nvSpPr>
        <p:spPr>
          <a:xfrm>
            <a:off x="22980856" y="5699040"/>
            <a:ext cx="556499" cy="445204"/>
          </a:xfrm>
          <a:custGeom>
            <a:avLst/>
            <a:gdLst>
              <a:gd name="connsiteX0" fmla="*/ 57150 w 190500"/>
              <a:gd name="connsiteY0" fmla="*/ 76201 h 152401"/>
              <a:gd name="connsiteX1" fmla="*/ 68222 w 190500"/>
              <a:gd name="connsiteY1" fmla="*/ 76405 h 152401"/>
              <a:gd name="connsiteX2" fmla="*/ 77610 w 190500"/>
              <a:gd name="connsiteY2" fmla="*/ 78377 h 152401"/>
              <a:gd name="connsiteX3" fmla="*/ 93074 w 190500"/>
              <a:gd name="connsiteY3" fmla="*/ 93841 h 152401"/>
              <a:gd name="connsiteX4" fmla="*/ 95046 w 190500"/>
              <a:gd name="connsiteY4" fmla="*/ 103229 h 152401"/>
              <a:gd name="connsiteX5" fmla="*/ 95250 w 190500"/>
              <a:gd name="connsiteY5" fmla="*/ 113782 h 152401"/>
              <a:gd name="connsiteX6" fmla="*/ 95250 w 190500"/>
              <a:gd name="connsiteY6" fmla="*/ 104776 h 152401"/>
              <a:gd name="connsiteX7" fmla="*/ 190500 w 190500"/>
              <a:gd name="connsiteY7" fmla="*/ 104776 h 152401"/>
              <a:gd name="connsiteX8" fmla="*/ 190500 w 190500"/>
              <a:gd name="connsiteY8" fmla="*/ 123826 h 152401"/>
              <a:gd name="connsiteX9" fmla="*/ 95250 w 190500"/>
              <a:gd name="connsiteY9" fmla="*/ 123826 h 152401"/>
              <a:gd name="connsiteX10" fmla="*/ 95250 w 190500"/>
              <a:gd name="connsiteY10" fmla="*/ 114820 h 152401"/>
              <a:gd name="connsiteX11" fmla="*/ 95046 w 190500"/>
              <a:gd name="connsiteY11" fmla="*/ 125373 h 152401"/>
              <a:gd name="connsiteX12" fmla="*/ 93074 w 190500"/>
              <a:gd name="connsiteY12" fmla="*/ 134762 h 152401"/>
              <a:gd name="connsiteX13" fmla="*/ 77610 w 190500"/>
              <a:gd name="connsiteY13" fmla="*/ 150226 h 152401"/>
              <a:gd name="connsiteX14" fmla="*/ 68222 w 190500"/>
              <a:gd name="connsiteY14" fmla="*/ 152198 h 152401"/>
              <a:gd name="connsiteX15" fmla="*/ 57150 w 190500"/>
              <a:gd name="connsiteY15" fmla="*/ 152401 h 152401"/>
              <a:gd name="connsiteX16" fmla="*/ 46078 w 190500"/>
              <a:gd name="connsiteY16" fmla="*/ 152198 h 152401"/>
              <a:gd name="connsiteX17" fmla="*/ 36690 w 190500"/>
              <a:gd name="connsiteY17" fmla="*/ 150226 h 152401"/>
              <a:gd name="connsiteX18" fmla="*/ 21226 w 190500"/>
              <a:gd name="connsiteY18" fmla="*/ 134762 h 152401"/>
              <a:gd name="connsiteX19" fmla="*/ 19254 w 190500"/>
              <a:gd name="connsiteY19" fmla="*/ 125373 h 152401"/>
              <a:gd name="connsiteX20" fmla="*/ 19168 w 190500"/>
              <a:gd name="connsiteY20" fmla="*/ 123826 h 152401"/>
              <a:gd name="connsiteX21" fmla="*/ 0 w 190500"/>
              <a:gd name="connsiteY21" fmla="*/ 123826 h 152401"/>
              <a:gd name="connsiteX22" fmla="*/ 0 w 190500"/>
              <a:gd name="connsiteY22" fmla="*/ 104776 h 152401"/>
              <a:gd name="connsiteX23" fmla="*/ 19168 w 190500"/>
              <a:gd name="connsiteY23" fmla="*/ 104776 h 152401"/>
              <a:gd name="connsiteX24" fmla="*/ 19254 w 190500"/>
              <a:gd name="connsiteY24" fmla="*/ 103229 h 152401"/>
              <a:gd name="connsiteX25" fmla="*/ 21226 w 190500"/>
              <a:gd name="connsiteY25" fmla="*/ 93841 h 152401"/>
              <a:gd name="connsiteX26" fmla="*/ 36690 w 190500"/>
              <a:gd name="connsiteY26" fmla="*/ 78377 h 152401"/>
              <a:gd name="connsiteX27" fmla="*/ 46078 w 190500"/>
              <a:gd name="connsiteY27" fmla="*/ 76405 h 152401"/>
              <a:gd name="connsiteX28" fmla="*/ 57150 w 190500"/>
              <a:gd name="connsiteY28" fmla="*/ 76201 h 152401"/>
              <a:gd name="connsiteX29" fmla="*/ 133350 w 190500"/>
              <a:gd name="connsiteY29" fmla="*/ 0 h 152401"/>
              <a:gd name="connsiteX30" fmla="*/ 144422 w 190500"/>
              <a:gd name="connsiteY30" fmla="*/ 203 h 152401"/>
              <a:gd name="connsiteX31" fmla="*/ 153810 w 190500"/>
              <a:gd name="connsiteY31" fmla="*/ 2175 h 152401"/>
              <a:gd name="connsiteX32" fmla="*/ 169274 w 190500"/>
              <a:gd name="connsiteY32" fmla="*/ 17640 h 152401"/>
              <a:gd name="connsiteX33" fmla="*/ 171246 w 190500"/>
              <a:gd name="connsiteY33" fmla="*/ 27028 h 152401"/>
              <a:gd name="connsiteX34" fmla="*/ 171332 w 190500"/>
              <a:gd name="connsiteY34" fmla="*/ 28575 h 152401"/>
              <a:gd name="connsiteX35" fmla="*/ 190500 w 190500"/>
              <a:gd name="connsiteY35" fmla="*/ 28575 h 152401"/>
              <a:gd name="connsiteX36" fmla="*/ 190500 w 190500"/>
              <a:gd name="connsiteY36" fmla="*/ 47625 h 152401"/>
              <a:gd name="connsiteX37" fmla="*/ 171332 w 190500"/>
              <a:gd name="connsiteY37" fmla="*/ 47625 h 152401"/>
              <a:gd name="connsiteX38" fmla="*/ 171246 w 190500"/>
              <a:gd name="connsiteY38" fmla="*/ 49172 h 152401"/>
              <a:gd name="connsiteX39" fmla="*/ 169274 w 190500"/>
              <a:gd name="connsiteY39" fmla="*/ 58561 h 152401"/>
              <a:gd name="connsiteX40" fmla="*/ 153810 w 190500"/>
              <a:gd name="connsiteY40" fmla="*/ 74024 h 152401"/>
              <a:gd name="connsiteX41" fmla="*/ 144422 w 190500"/>
              <a:gd name="connsiteY41" fmla="*/ 75997 h 152401"/>
              <a:gd name="connsiteX42" fmla="*/ 133350 w 190500"/>
              <a:gd name="connsiteY42" fmla="*/ 76200 h 152401"/>
              <a:gd name="connsiteX43" fmla="*/ 122278 w 190500"/>
              <a:gd name="connsiteY43" fmla="*/ 75997 h 152401"/>
              <a:gd name="connsiteX44" fmla="*/ 112890 w 190500"/>
              <a:gd name="connsiteY44" fmla="*/ 74024 h 152401"/>
              <a:gd name="connsiteX45" fmla="*/ 97426 w 190500"/>
              <a:gd name="connsiteY45" fmla="*/ 58561 h 152401"/>
              <a:gd name="connsiteX46" fmla="*/ 95454 w 190500"/>
              <a:gd name="connsiteY46" fmla="*/ 49172 h 152401"/>
              <a:gd name="connsiteX47" fmla="*/ 95250 w 190500"/>
              <a:gd name="connsiteY47" fmla="*/ 38619 h 152401"/>
              <a:gd name="connsiteX48" fmla="*/ 95250 w 190500"/>
              <a:gd name="connsiteY48" fmla="*/ 47625 h 152401"/>
              <a:gd name="connsiteX49" fmla="*/ 0 w 190500"/>
              <a:gd name="connsiteY49" fmla="*/ 47625 h 152401"/>
              <a:gd name="connsiteX50" fmla="*/ 0 w 190500"/>
              <a:gd name="connsiteY50" fmla="*/ 28575 h 152401"/>
              <a:gd name="connsiteX51" fmla="*/ 95250 w 190500"/>
              <a:gd name="connsiteY51" fmla="*/ 28575 h 152401"/>
              <a:gd name="connsiteX52" fmla="*/ 95250 w 190500"/>
              <a:gd name="connsiteY52" fmla="*/ 37581 h 152401"/>
              <a:gd name="connsiteX53" fmla="*/ 95454 w 190500"/>
              <a:gd name="connsiteY53" fmla="*/ 27028 h 152401"/>
              <a:gd name="connsiteX54" fmla="*/ 97426 w 190500"/>
              <a:gd name="connsiteY54" fmla="*/ 17640 h 152401"/>
              <a:gd name="connsiteX55" fmla="*/ 112890 w 190500"/>
              <a:gd name="connsiteY55" fmla="*/ 2175 h 152401"/>
              <a:gd name="connsiteX56" fmla="*/ 122278 w 190500"/>
              <a:gd name="connsiteY56" fmla="*/ 203 h 152401"/>
              <a:gd name="connsiteX57" fmla="*/ 133350 w 190500"/>
              <a:gd name="connsiteY57" fmla="*/ 0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190500" h="152401">
                <a:moveTo>
                  <a:pt x="57150" y="76201"/>
                </a:moveTo>
                <a:cubicBezTo>
                  <a:pt x="61328" y="76201"/>
                  <a:pt x="65238" y="76201"/>
                  <a:pt x="68222" y="76405"/>
                </a:cubicBezTo>
                <a:cubicBezTo>
                  <a:pt x="71362" y="76619"/>
                  <a:pt x="74506" y="77091"/>
                  <a:pt x="77610" y="78377"/>
                </a:cubicBezTo>
                <a:cubicBezTo>
                  <a:pt x="84612" y="81276"/>
                  <a:pt x="90174" y="86839"/>
                  <a:pt x="93074" y="93841"/>
                </a:cubicBezTo>
                <a:cubicBezTo>
                  <a:pt x="94360" y="96946"/>
                  <a:pt x="94832" y="100088"/>
                  <a:pt x="95046" y="103229"/>
                </a:cubicBezTo>
                <a:cubicBezTo>
                  <a:pt x="95242" y="106090"/>
                  <a:pt x="95250" y="109799"/>
                  <a:pt x="95250" y="113782"/>
                </a:cubicBezTo>
                <a:lnTo>
                  <a:pt x="95250" y="104776"/>
                </a:lnTo>
                <a:lnTo>
                  <a:pt x="190500" y="104776"/>
                </a:lnTo>
                <a:lnTo>
                  <a:pt x="190500" y="123826"/>
                </a:lnTo>
                <a:lnTo>
                  <a:pt x="95250" y="123826"/>
                </a:lnTo>
                <a:lnTo>
                  <a:pt x="95250" y="114820"/>
                </a:lnTo>
                <a:cubicBezTo>
                  <a:pt x="95250" y="118803"/>
                  <a:pt x="95242" y="122513"/>
                  <a:pt x="95046" y="125373"/>
                </a:cubicBezTo>
                <a:cubicBezTo>
                  <a:pt x="94832" y="128514"/>
                  <a:pt x="94360" y="131657"/>
                  <a:pt x="93074" y="134762"/>
                </a:cubicBezTo>
                <a:cubicBezTo>
                  <a:pt x="90174" y="141763"/>
                  <a:pt x="84612" y="147326"/>
                  <a:pt x="77610" y="150226"/>
                </a:cubicBezTo>
                <a:cubicBezTo>
                  <a:pt x="74506" y="151511"/>
                  <a:pt x="71362" y="151983"/>
                  <a:pt x="68222" y="152198"/>
                </a:cubicBezTo>
                <a:cubicBezTo>
                  <a:pt x="65238" y="152401"/>
                  <a:pt x="61328" y="152401"/>
                  <a:pt x="57150" y="152401"/>
                </a:cubicBezTo>
                <a:cubicBezTo>
                  <a:pt x="52972" y="152401"/>
                  <a:pt x="49062" y="152401"/>
                  <a:pt x="46078" y="152198"/>
                </a:cubicBezTo>
                <a:cubicBezTo>
                  <a:pt x="42938" y="151983"/>
                  <a:pt x="39794" y="151511"/>
                  <a:pt x="36690" y="150226"/>
                </a:cubicBezTo>
                <a:cubicBezTo>
                  <a:pt x="29688" y="147326"/>
                  <a:pt x="24126" y="141763"/>
                  <a:pt x="21226" y="134762"/>
                </a:cubicBezTo>
                <a:cubicBezTo>
                  <a:pt x="19938" y="131657"/>
                  <a:pt x="19468" y="128514"/>
                  <a:pt x="19254" y="125373"/>
                </a:cubicBezTo>
                <a:cubicBezTo>
                  <a:pt x="19220" y="124881"/>
                  <a:pt x="19192" y="124365"/>
                  <a:pt x="19168" y="123826"/>
                </a:cubicBezTo>
                <a:lnTo>
                  <a:pt x="0" y="123826"/>
                </a:lnTo>
                <a:lnTo>
                  <a:pt x="0" y="104776"/>
                </a:lnTo>
                <a:lnTo>
                  <a:pt x="19168" y="104776"/>
                </a:lnTo>
                <a:cubicBezTo>
                  <a:pt x="19192" y="104237"/>
                  <a:pt x="19220" y="103721"/>
                  <a:pt x="19254" y="103229"/>
                </a:cubicBezTo>
                <a:cubicBezTo>
                  <a:pt x="19468" y="100088"/>
                  <a:pt x="19938" y="96946"/>
                  <a:pt x="21226" y="93841"/>
                </a:cubicBezTo>
                <a:cubicBezTo>
                  <a:pt x="24126" y="86839"/>
                  <a:pt x="29688" y="81276"/>
                  <a:pt x="36690" y="78377"/>
                </a:cubicBezTo>
                <a:cubicBezTo>
                  <a:pt x="39794" y="77091"/>
                  <a:pt x="42938" y="76619"/>
                  <a:pt x="46078" y="76405"/>
                </a:cubicBezTo>
                <a:cubicBezTo>
                  <a:pt x="49062" y="76201"/>
                  <a:pt x="52972" y="76201"/>
                  <a:pt x="57150" y="76201"/>
                </a:cubicBezTo>
                <a:close/>
                <a:moveTo>
                  <a:pt x="133350" y="0"/>
                </a:moveTo>
                <a:cubicBezTo>
                  <a:pt x="137530" y="0"/>
                  <a:pt x="141438" y="0"/>
                  <a:pt x="144422" y="203"/>
                </a:cubicBezTo>
                <a:cubicBezTo>
                  <a:pt x="147562" y="418"/>
                  <a:pt x="150706" y="889"/>
                  <a:pt x="153810" y="2175"/>
                </a:cubicBezTo>
                <a:cubicBezTo>
                  <a:pt x="160812" y="5075"/>
                  <a:pt x="166374" y="10638"/>
                  <a:pt x="169274" y="17640"/>
                </a:cubicBezTo>
                <a:cubicBezTo>
                  <a:pt x="170560" y="20744"/>
                  <a:pt x="171032" y="23887"/>
                  <a:pt x="171246" y="27028"/>
                </a:cubicBezTo>
                <a:cubicBezTo>
                  <a:pt x="171280" y="27520"/>
                  <a:pt x="171308" y="28036"/>
                  <a:pt x="171332" y="28575"/>
                </a:cubicBezTo>
                <a:lnTo>
                  <a:pt x="190500" y="28575"/>
                </a:lnTo>
                <a:lnTo>
                  <a:pt x="190500" y="47625"/>
                </a:lnTo>
                <a:lnTo>
                  <a:pt x="171332" y="47625"/>
                </a:lnTo>
                <a:cubicBezTo>
                  <a:pt x="171308" y="48164"/>
                  <a:pt x="171280" y="48680"/>
                  <a:pt x="171246" y="49172"/>
                </a:cubicBezTo>
                <a:cubicBezTo>
                  <a:pt x="171032" y="52313"/>
                  <a:pt x="170560" y="55456"/>
                  <a:pt x="169274" y="58561"/>
                </a:cubicBezTo>
                <a:cubicBezTo>
                  <a:pt x="166374" y="65562"/>
                  <a:pt x="160812" y="71125"/>
                  <a:pt x="153810" y="74024"/>
                </a:cubicBezTo>
                <a:cubicBezTo>
                  <a:pt x="150706" y="75310"/>
                  <a:pt x="147562" y="75782"/>
                  <a:pt x="144422" y="75997"/>
                </a:cubicBezTo>
                <a:cubicBezTo>
                  <a:pt x="141438" y="76200"/>
                  <a:pt x="137530" y="76200"/>
                  <a:pt x="133350" y="76200"/>
                </a:cubicBezTo>
                <a:cubicBezTo>
                  <a:pt x="129170" y="76200"/>
                  <a:pt x="125262" y="76200"/>
                  <a:pt x="122278" y="75997"/>
                </a:cubicBezTo>
                <a:cubicBezTo>
                  <a:pt x="119138" y="75782"/>
                  <a:pt x="115994" y="75310"/>
                  <a:pt x="112890" y="74024"/>
                </a:cubicBezTo>
                <a:cubicBezTo>
                  <a:pt x="105888" y="71125"/>
                  <a:pt x="100326" y="65562"/>
                  <a:pt x="97426" y="58561"/>
                </a:cubicBezTo>
                <a:cubicBezTo>
                  <a:pt x="96140" y="55456"/>
                  <a:pt x="95668" y="52313"/>
                  <a:pt x="95454" y="49172"/>
                </a:cubicBezTo>
                <a:cubicBezTo>
                  <a:pt x="95258" y="46312"/>
                  <a:pt x="95250" y="42601"/>
                  <a:pt x="95250" y="38619"/>
                </a:cubicBezTo>
                <a:lnTo>
                  <a:pt x="95250" y="47625"/>
                </a:lnTo>
                <a:lnTo>
                  <a:pt x="0" y="47625"/>
                </a:lnTo>
                <a:lnTo>
                  <a:pt x="0" y="28575"/>
                </a:lnTo>
                <a:lnTo>
                  <a:pt x="95250" y="28575"/>
                </a:lnTo>
                <a:lnTo>
                  <a:pt x="95250" y="37581"/>
                </a:lnTo>
                <a:cubicBezTo>
                  <a:pt x="95250" y="33599"/>
                  <a:pt x="95258" y="29888"/>
                  <a:pt x="95454" y="27028"/>
                </a:cubicBezTo>
                <a:cubicBezTo>
                  <a:pt x="95668" y="23887"/>
                  <a:pt x="96140" y="20744"/>
                  <a:pt x="97426" y="17640"/>
                </a:cubicBezTo>
                <a:cubicBezTo>
                  <a:pt x="100326" y="10638"/>
                  <a:pt x="105888" y="5075"/>
                  <a:pt x="112890" y="2175"/>
                </a:cubicBezTo>
                <a:cubicBezTo>
                  <a:pt x="115994" y="889"/>
                  <a:pt x="119138" y="418"/>
                  <a:pt x="122278" y="203"/>
                </a:cubicBezTo>
                <a:cubicBezTo>
                  <a:pt x="125262" y="0"/>
                  <a:pt x="129170" y="0"/>
                  <a:pt x="133350" y="0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0" name="Рисунок 1091">
            <a:extLst>
              <a:ext uri="{FF2B5EF4-FFF2-40B4-BE49-F238E27FC236}">
                <a16:creationId xmlns:a16="http://schemas.microsoft.com/office/drawing/2014/main" id="{7DA6E7D3-0D80-9332-3CFD-BACD83343947}"/>
              </a:ext>
            </a:extLst>
          </p:cNvPr>
          <p:cNvSpPr/>
          <p:nvPr/>
        </p:nvSpPr>
        <p:spPr>
          <a:xfrm>
            <a:off x="10867770" y="12336522"/>
            <a:ext cx="556499" cy="445199"/>
          </a:xfrm>
          <a:custGeom>
            <a:avLst/>
            <a:gdLst>
              <a:gd name="connsiteX0" fmla="*/ 57152 w 190500"/>
              <a:gd name="connsiteY0" fmla="*/ 0 h 152400"/>
              <a:gd name="connsiteX1" fmla="*/ 68301 w 190500"/>
              <a:gd name="connsiteY1" fmla="*/ 0 h 152400"/>
              <a:gd name="connsiteX2" fmla="*/ 95250 w 190500"/>
              <a:gd name="connsiteY2" fmla="*/ 19050 h 152400"/>
              <a:gd name="connsiteX3" fmla="*/ 122199 w 190500"/>
              <a:gd name="connsiteY3" fmla="*/ 0 h 152400"/>
              <a:gd name="connsiteX4" fmla="*/ 133348 w 190500"/>
              <a:gd name="connsiteY4" fmla="*/ 0 h 152400"/>
              <a:gd name="connsiteX5" fmla="*/ 166980 w 190500"/>
              <a:gd name="connsiteY5" fmla="*/ 2900 h 152400"/>
              <a:gd name="connsiteX6" fmla="*/ 187600 w 190500"/>
              <a:gd name="connsiteY6" fmla="*/ 23520 h 152400"/>
              <a:gd name="connsiteX7" fmla="*/ 190500 w 190500"/>
              <a:gd name="connsiteY7" fmla="*/ 57150 h 152400"/>
              <a:gd name="connsiteX8" fmla="*/ 190500 w 190500"/>
              <a:gd name="connsiteY8" fmla="*/ 95250 h 152400"/>
              <a:gd name="connsiteX9" fmla="*/ 187600 w 190500"/>
              <a:gd name="connsiteY9" fmla="*/ 128880 h 152400"/>
              <a:gd name="connsiteX10" fmla="*/ 166980 w 190500"/>
              <a:gd name="connsiteY10" fmla="*/ 149500 h 152400"/>
              <a:gd name="connsiteX11" fmla="*/ 133350 w 190500"/>
              <a:gd name="connsiteY11" fmla="*/ 152400 h 152400"/>
              <a:gd name="connsiteX12" fmla="*/ 57150 w 190500"/>
              <a:gd name="connsiteY12" fmla="*/ 152400 h 152400"/>
              <a:gd name="connsiteX13" fmla="*/ 23520 w 190500"/>
              <a:gd name="connsiteY13" fmla="*/ 149500 h 152400"/>
              <a:gd name="connsiteX14" fmla="*/ 2900 w 190500"/>
              <a:gd name="connsiteY14" fmla="*/ 128880 h 152400"/>
              <a:gd name="connsiteX15" fmla="*/ 0 w 190500"/>
              <a:gd name="connsiteY15" fmla="*/ 95250 h 152400"/>
              <a:gd name="connsiteX16" fmla="*/ 0 w 190500"/>
              <a:gd name="connsiteY16" fmla="*/ 57150 h 152400"/>
              <a:gd name="connsiteX17" fmla="*/ 2900 w 190500"/>
              <a:gd name="connsiteY17" fmla="*/ 23520 h 152400"/>
              <a:gd name="connsiteX18" fmla="*/ 23520 w 190500"/>
              <a:gd name="connsiteY18" fmla="*/ 2900 h 152400"/>
              <a:gd name="connsiteX19" fmla="*/ 57152 w 190500"/>
              <a:gd name="connsiteY19" fmla="*/ 0 h 152400"/>
              <a:gd name="connsiteX20" fmla="*/ 71438 w 190500"/>
              <a:gd name="connsiteY20" fmla="*/ 38100 h 152400"/>
              <a:gd name="connsiteX21" fmla="*/ 57150 w 190500"/>
              <a:gd name="connsiteY21" fmla="*/ 52388 h 152400"/>
              <a:gd name="connsiteX22" fmla="*/ 71438 w 190500"/>
              <a:gd name="connsiteY22" fmla="*/ 66675 h 152400"/>
              <a:gd name="connsiteX23" fmla="*/ 85725 w 190500"/>
              <a:gd name="connsiteY23" fmla="*/ 52388 h 152400"/>
              <a:gd name="connsiteX24" fmla="*/ 71438 w 190500"/>
              <a:gd name="connsiteY24" fmla="*/ 38100 h 152400"/>
              <a:gd name="connsiteX25" fmla="*/ 104775 w 190500"/>
              <a:gd name="connsiteY25" fmla="*/ 109538 h 152400"/>
              <a:gd name="connsiteX26" fmla="*/ 119063 w 190500"/>
              <a:gd name="connsiteY26" fmla="*/ 95250 h 152400"/>
              <a:gd name="connsiteX27" fmla="*/ 133350 w 190500"/>
              <a:gd name="connsiteY27" fmla="*/ 109538 h 152400"/>
              <a:gd name="connsiteX28" fmla="*/ 119063 w 190500"/>
              <a:gd name="connsiteY28" fmla="*/ 123825 h 152400"/>
              <a:gd name="connsiteX29" fmla="*/ 104775 w 190500"/>
              <a:gd name="connsiteY29" fmla="*/ 109538 h 152400"/>
              <a:gd name="connsiteX30" fmla="*/ 111919 w 190500"/>
              <a:gd name="connsiteY30" fmla="*/ 38100 h 152400"/>
              <a:gd name="connsiteX31" fmla="*/ 57150 w 190500"/>
              <a:gd name="connsiteY31" fmla="*/ 123825 h 152400"/>
              <a:gd name="connsiteX32" fmla="*/ 78581 w 190500"/>
              <a:gd name="connsiteY32" fmla="*/ 123825 h 152400"/>
              <a:gd name="connsiteX33" fmla="*/ 133350 w 190500"/>
              <a:gd name="connsiteY33" fmla="*/ 38100 h 152400"/>
              <a:gd name="connsiteX34" fmla="*/ 111919 w 190500"/>
              <a:gd name="connsiteY34" fmla="*/ 38100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90500" h="152400">
                <a:moveTo>
                  <a:pt x="57152" y="0"/>
                </a:moveTo>
                <a:lnTo>
                  <a:pt x="68301" y="0"/>
                </a:lnTo>
                <a:cubicBezTo>
                  <a:pt x="72224" y="11098"/>
                  <a:pt x="82808" y="19050"/>
                  <a:pt x="95250" y="19050"/>
                </a:cubicBezTo>
                <a:cubicBezTo>
                  <a:pt x="107692" y="19050"/>
                  <a:pt x="118277" y="11098"/>
                  <a:pt x="122199" y="0"/>
                </a:cubicBezTo>
                <a:lnTo>
                  <a:pt x="133348" y="0"/>
                </a:lnTo>
                <a:cubicBezTo>
                  <a:pt x="151102" y="0"/>
                  <a:pt x="159978" y="0"/>
                  <a:pt x="166980" y="2900"/>
                </a:cubicBezTo>
                <a:cubicBezTo>
                  <a:pt x="176315" y="6767"/>
                  <a:pt x="183732" y="14184"/>
                  <a:pt x="187600" y="23520"/>
                </a:cubicBezTo>
                <a:cubicBezTo>
                  <a:pt x="190500" y="30521"/>
                  <a:pt x="190500" y="39398"/>
                  <a:pt x="190500" y="57150"/>
                </a:cubicBezTo>
                <a:lnTo>
                  <a:pt x="190500" y="95250"/>
                </a:lnTo>
                <a:cubicBezTo>
                  <a:pt x="190500" y="113003"/>
                  <a:pt x="190500" y="121878"/>
                  <a:pt x="187600" y="128880"/>
                </a:cubicBezTo>
                <a:cubicBezTo>
                  <a:pt x="183732" y="138215"/>
                  <a:pt x="176315" y="145632"/>
                  <a:pt x="166980" y="149500"/>
                </a:cubicBezTo>
                <a:cubicBezTo>
                  <a:pt x="159978" y="152400"/>
                  <a:pt x="151103" y="152400"/>
                  <a:pt x="133350" y="152400"/>
                </a:cubicBezTo>
                <a:lnTo>
                  <a:pt x="57150" y="152400"/>
                </a:lnTo>
                <a:cubicBezTo>
                  <a:pt x="39398" y="152400"/>
                  <a:pt x="30521" y="152400"/>
                  <a:pt x="23520" y="149500"/>
                </a:cubicBezTo>
                <a:cubicBezTo>
                  <a:pt x="14184" y="145632"/>
                  <a:pt x="6767" y="138215"/>
                  <a:pt x="2900" y="128880"/>
                </a:cubicBezTo>
                <a:cubicBezTo>
                  <a:pt x="0" y="121878"/>
                  <a:pt x="0" y="113003"/>
                  <a:pt x="0" y="95250"/>
                </a:cubicBezTo>
                <a:lnTo>
                  <a:pt x="0" y="57150"/>
                </a:lnTo>
                <a:cubicBezTo>
                  <a:pt x="0" y="39398"/>
                  <a:pt x="0" y="30521"/>
                  <a:pt x="2900" y="23520"/>
                </a:cubicBezTo>
                <a:cubicBezTo>
                  <a:pt x="6767" y="14184"/>
                  <a:pt x="14184" y="6767"/>
                  <a:pt x="23520" y="2900"/>
                </a:cubicBezTo>
                <a:cubicBezTo>
                  <a:pt x="30521" y="0"/>
                  <a:pt x="39398" y="0"/>
                  <a:pt x="57152" y="0"/>
                </a:cubicBezTo>
                <a:close/>
                <a:moveTo>
                  <a:pt x="71438" y="38100"/>
                </a:moveTo>
                <a:cubicBezTo>
                  <a:pt x="63547" y="38100"/>
                  <a:pt x="57150" y="44497"/>
                  <a:pt x="57150" y="52388"/>
                </a:cubicBezTo>
                <a:cubicBezTo>
                  <a:pt x="57150" y="60278"/>
                  <a:pt x="63547" y="66675"/>
                  <a:pt x="71438" y="66675"/>
                </a:cubicBezTo>
                <a:cubicBezTo>
                  <a:pt x="79328" y="66675"/>
                  <a:pt x="85725" y="60278"/>
                  <a:pt x="85725" y="52388"/>
                </a:cubicBezTo>
                <a:cubicBezTo>
                  <a:pt x="85725" y="44497"/>
                  <a:pt x="79328" y="38100"/>
                  <a:pt x="71438" y="38100"/>
                </a:cubicBezTo>
                <a:close/>
                <a:moveTo>
                  <a:pt x="104775" y="109538"/>
                </a:moveTo>
                <a:cubicBezTo>
                  <a:pt x="104775" y="101647"/>
                  <a:pt x="111172" y="95250"/>
                  <a:pt x="119063" y="95250"/>
                </a:cubicBezTo>
                <a:cubicBezTo>
                  <a:pt x="126953" y="95250"/>
                  <a:pt x="133350" y="101647"/>
                  <a:pt x="133350" y="109538"/>
                </a:cubicBezTo>
                <a:cubicBezTo>
                  <a:pt x="133350" y="117428"/>
                  <a:pt x="126953" y="123825"/>
                  <a:pt x="119063" y="123825"/>
                </a:cubicBezTo>
                <a:cubicBezTo>
                  <a:pt x="111172" y="123825"/>
                  <a:pt x="104775" y="117428"/>
                  <a:pt x="104775" y="109538"/>
                </a:cubicBezTo>
                <a:close/>
                <a:moveTo>
                  <a:pt x="111919" y="38100"/>
                </a:moveTo>
                <a:lnTo>
                  <a:pt x="57150" y="123825"/>
                </a:lnTo>
                <a:lnTo>
                  <a:pt x="78581" y="123825"/>
                </a:lnTo>
                <a:lnTo>
                  <a:pt x="133350" y="38100"/>
                </a:lnTo>
                <a:lnTo>
                  <a:pt x="111919" y="3810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1" name="Рисунок 1311">
            <a:extLst>
              <a:ext uri="{FF2B5EF4-FFF2-40B4-BE49-F238E27FC236}">
                <a16:creationId xmlns:a16="http://schemas.microsoft.com/office/drawing/2014/main" id="{C3D19734-676E-DF5A-0DA3-25C02F1F267F}"/>
              </a:ext>
            </a:extLst>
          </p:cNvPr>
          <p:cNvSpPr/>
          <p:nvPr/>
        </p:nvSpPr>
        <p:spPr>
          <a:xfrm>
            <a:off x="22900308" y="12277282"/>
            <a:ext cx="581485" cy="504439"/>
          </a:xfrm>
          <a:custGeom>
            <a:avLst/>
            <a:gdLst>
              <a:gd name="connsiteX0" fmla="*/ 141345 w 199053"/>
              <a:gd name="connsiteY0" fmla="*/ 27378 h 172679"/>
              <a:gd name="connsiteX1" fmla="*/ 104775 w 199053"/>
              <a:gd name="connsiteY1" fmla="*/ 0 h 172679"/>
              <a:gd name="connsiteX2" fmla="*/ 0 w 199053"/>
              <a:gd name="connsiteY2" fmla="*/ 0 h 172679"/>
              <a:gd name="connsiteX3" fmla="*/ 0 w 199053"/>
              <a:gd name="connsiteY3" fmla="*/ 19050 h 172679"/>
              <a:gd name="connsiteX4" fmla="*/ 19050 w 199053"/>
              <a:gd name="connsiteY4" fmla="*/ 38686 h 172679"/>
              <a:gd name="connsiteX5" fmla="*/ 19050 w 199053"/>
              <a:gd name="connsiteY5" fmla="*/ 134580 h 172679"/>
              <a:gd name="connsiteX6" fmla="*/ 57150 w 199053"/>
              <a:gd name="connsiteY6" fmla="*/ 172680 h 172679"/>
              <a:gd name="connsiteX7" fmla="*/ 161925 w 199053"/>
              <a:gd name="connsiteY7" fmla="*/ 172680 h 172679"/>
              <a:gd name="connsiteX8" fmla="*/ 161925 w 199053"/>
              <a:gd name="connsiteY8" fmla="*/ 153630 h 172679"/>
              <a:gd name="connsiteX9" fmla="*/ 142875 w 199053"/>
              <a:gd name="connsiteY9" fmla="*/ 129231 h 172679"/>
              <a:gd name="connsiteX10" fmla="*/ 142875 w 199053"/>
              <a:gd name="connsiteY10" fmla="*/ 104277 h 172679"/>
              <a:gd name="connsiteX11" fmla="*/ 199053 w 199053"/>
              <a:gd name="connsiteY11" fmla="*/ 48099 h 172679"/>
              <a:gd name="connsiteX12" fmla="*/ 198852 w 199053"/>
              <a:gd name="connsiteY12" fmla="*/ 47897 h 172679"/>
              <a:gd name="connsiteX13" fmla="*/ 183797 w 199053"/>
              <a:gd name="connsiteY13" fmla="*/ 36414 h 172679"/>
              <a:gd name="connsiteX14" fmla="*/ 141345 w 199053"/>
              <a:gd name="connsiteY14" fmla="*/ 27378 h 172679"/>
              <a:gd name="connsiteX15" fmla="*/ 104589 w 199053"/>
              <a:gd name="connsiteY15" fmla="*/ 115534 h 172679"/>
              <a:gd name="connsiteX16" fmla="*/ 169632 w 199053"/>
              <a:gd name="connsiteY16" fmla="*/ 50579 h 172679"/>
              <a:gd name="connsiteX17" fmla="*/ 111191 w 199053"/>
              <a:gd name="connsiteY17" fmla="*/ 61486 h 172679"/>
              <a:gd name="connsiteX18" fmla="*/ 37914 w 199053"/>
              <a:gd name="connsiteY18" fmla="*/ 134584 h 172679"/>
              <a:gd name="connsiteX19" fmla="*/ 56964 w 199053"/>
              <a:gd name="connsiteY19" fmla="*/ 134584 h 172679"/>
              <a:gd name="connsiteX20" fmla="*/ 76014 w 199053"/>
              <a:gd name="connsiteY20" fmla="*/ 115534 h 172679"/>
              <a:gd name="connsiteX21" fmla="*/ 104589 w 199053"/>
              <a:gd name="connsiteY21" fmla="*/ 115534 h 172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99053" h="172679">
                <a:moveTo>
                  <a:pt x="141345" y="27378"/>
                </a:moveTo>
                <a:cubicBezTo>
                  <a:pt x="136714" y="11556"/>
                  <a:pt x="122094" y="0"/>
                  <a:pt x="104775" y="0"/>
                </a:cubicBezTo>
                <a:lnTo>
                  <a:pt x="0" y="0"/>
                </a:lnTo>
                <a:lnTo>
                  <a:pt x="0" y="19050"/>
                </a:lnTo>
                <a:cubicBezTo>
                  <a:pt x="9974" y="21544"/>
                  <a:pt x="19050" y="26967"/>
                  <a:pt x="19050" y="38686"/>
                </a:cubicBezTo>
                <a:lnTo>
                  <a:pt x="19050" y="134580"/>
                </a:lnTo>
                <a:cubicBezTo>
                  <a:pt x="19050" y="155622"/>
                  <a:pt x="36108" y="172680"/>
                  <a:pt x="57150" y="172680"/>
                </a:cubicBezTo>
                <a:lnTo>
                  <a:pt x="161925" y="172680"/>
                </a:lnTo>
                <a:lnTo>
                  <a:pt x="161925" y="153630"/>
                </a:lnTo>
                <a:cubicBezTo>
                  <a:pt x="150729" y="150831"/>
                  <a:pt x="142875" y="140772"/>
                  <a:pt x="142875" y="129231"/>
                </a:cubicBezTo>
                <a:lnTo>
                  <a:pt x="142875" y="104277"/>
                </a:lnTo>
                <a:lnTo>
                  <a:pt x="199053" y="48099"/>
                </a:lnTo>
                <a:lnTo>
                  <a:pt x="198852" y="47897"/>
                </a:lnTo>
                <a:cubicBezTo>
                  <a:pt x="194250" y="43314"/>
                  <a:pt x="189181" y="39487"/>
                  <a:pt x="183797" y="36414"/>
                </a:cubicBezTo>
                <a:cubicBezTo>
                  <a:pt x="170758" y="28971"/>
                  <a:pt x="155877" y="25959"/>
                  <a:pt x="141345" y="27378"/>
                </a:cubicBezTo>
                <a:close/>
                <a:moveTo>
                  <a:pt x="104589" y="115534"/>
                </a:moveTo>
                <a:lnTo>
                  <a:pt x="169632" y="50579"/>
                </a:lnTo>
                <a:cubicBezTo>
                  <a:pt x="150356" y="42041"/>
                  <a:pt x="126990" y="45674"/>
                  <a:pt x="111191" y="61486"/>
                </a:cubicBezTo>
                <a:lnTo>
                  <a:pt x="37914" y="134584"/>
                </a:lnTo>
                <a:lnTo>
                  <a:pt x="56964" y="134584"/>
                </a:lnTo>
                <a:lnTo>
                  <a:pt x="76014" y="115534"/>
                </a:lnTo>
                <a:lnTo>
                  <a:pt x="104589" y="115534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78ACDF38-A308-AE22-E5E0-1111D9C37A3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829" b="12085"/>
          <a:stretch>
            <a:fillRect/>
          </a:stretch>
        </p:blipFill>
        <p:spPr>
          <a:xfrm>
            <a:off x="4079390" y="530255"/>
            <a:ext cx="7573077" cy="6170582"/>
          </a:xfrm>
          <a:custGeom>
            <a:avLst/>
            <a:gdLst>
              <a:gd name="connsiteX0" fmla="*/ 0 w 5588939"/>
              <a:gd name="connsiteY0" fmla="*/ 0 h 4553896"/>
              <a:gd name="connsiteX1" fmla="*/ 5588939 w 5588939"/>
              <a:gd name="connsiteY1" fmla="*/ 0 h 4553896"/>
              <a:gd name="connsiteX2" fmla="*/ 5588939 w 5588939"/>
              <a:gd name="connsiteY2" fmla="*/ 4252093 h 4553896"/>
              <a:gd name="connsiteX3" fmla="*/ 5287136 w 5588939"/>
              <a:gd name="connsiteY3" fmla="*/ 4553896 h 4553896"/>
              <a:gd name="connsiteX4" fmla="*/ 0 w 5588939"/>
              <a:gd name="connsiteY4" fmla="*/ 4553896 h 45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8939" h="4553896">
                <a:moveTo>
                  <a:pt x="0" y="0"/>
                </a:moveTo>
                <a:lnTo>
                  <a:pt x="5588939" y="0"/>
                </a:lnTo>
                <a:lnTo>
                  <a:pt x="5588939" y="4252093"/>
                </a:lnTo>
                <a:cubicBezTo>
                  <a:pt x="5588939" y="4418774"/>
                  <a:pt x="5453817" y="4553896"/>
                  <a:pt x="5287136" y="4553896"/>
                </a:cubicBezTo>
                <a:lnTo>
                  <a:pt x="0" y="455389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518967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21A936-09AF-B064-F481-7EE4FF11B0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3B358893-E2C2-02FA-8C9E-D457D74BF47F}"/>
              </a:ext>
            </a:extLst>
          </p:cNvPr>
          <p:cNvSpPr/>
          <p:nvPr/>
        </p:nvSpPr>
        <p:spPr>
          <a:xfrm>
            <a:off x="301947" y="377685"/>
            <a:ext cx="11710737" cy="6323152"/>
          </a:xfrm>
          <a:prstGeom prst="roundRect">
            <a:avLst>
              <a:gd name="adj" fmla="val 42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F045952-B077-583F-DD90-99166D7366A3}"/>
              </a:ext>
            </a:extLst>
          </p:cNvPr>
          <p:cNvSpPr txBox="1"/>
          <p:nvPr/>
        </p:nvSpPr>
        <p:spPr>
          <a:xfrm>
            <a:off x="1441449" y="2083303"/>
            <a:ext cx="9077325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YS Text Regular"/>
                <a:ea typeface="+mn-ea"/>
                <a:cs typeface="+mn-cs"/>
              </a:rPr>
              <a:t>На любой открытой странице в Яндекс Браузере ответит на вопросы по сайту, документам и видео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660D62B-AAF7-849A-1C6F-A72F13D545B6}"/>
              </a:ext>
            </a:extLst>
          </p:cNvPr>
          <p:cNvSpPr txBox="1"/>
          <p:nvPr/>
        </p:nvSpPr>
        <p:spPr>
          <a:xfrm>
            <a:off x="1441449" y="1118452"/>
            <a:ext cx="9349007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YS Text Medium" pitchFamily="2" charset="0"/>
              </a:rPr>
              <a:t>Помогает в Яндекс Браузере</a:t>
            </a:r>
          </a:p>
        </p:txBody>
      </p:sp>
      <p:sp>
        <p:nvSpPr>
          <p:cNvPr id="39" name="Скругленный прямоугольник 38">
            <a:extLst>
              <a:ext uri="{FF2B5EF4-FFF2-40B4-BE49-F238E27FC236}">
                <a16:creationId xmlns:a16="http://schemas.microsoft.com/office/drawing/2014/main" id="{B6A4DFD1-79A1-CD23-C724-A8AD2EBC1C9A}"/>
              </a:ext>
            </a:extLst>
          </p:cNvPr>
          <p:cNvSpPr/>
          <p:nvPr/>
        </p:nvSpPr>
        <p:spPr>
          <a:xfrm>
            <a:off x="1441449" y="5302320"/>
            <a:ext cx="1430986" cy="805663"/>
          </a:xfrm>
          <a:prstGeom prst="roundRect">
            <a:avLst>
              <a:gd name="adj" fmla="val 215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sym typeface="Arial"/>
              </a:rPr>
              <a:t>Бета</a:t>
            </a:r>
          </a:p>
        </p:txBody>
      </p:sp>
      <p:sp>
        <p:nvSpPr>
          <p:cNvPr id="41" name="Рисунок 1283">
            <a:extLst>
              <a:ext uri="{FF2B5EF4-FFF2-40B4-BE49-F238E27FC236}">
                <a16:creationId xmlns:a16="http://schemas.microsoft.com/office/drawing/2014/main" id="{AD22C8E3-C3A2-999E-70DB-91FB87275DF7}"/>
              </a:ext>
            </a:extLst>
          </p:cNvPr>
          <p:cNvSpPr/>
          <p:nvPr/>
        </p:nvSpPr>
        <p:spPr>
          <a:xfrm>
            <a:off x="10929327" y="5551484"/>
            <a:ext cx="556499" cy="556499"/>
          </a:xfrm>
          <a:custGeom>
            <a:avLst/>
            <a:gdLst>
              <a:gd name="connsiteX0" fmla="*/ 95250 w 190500"/>
              <a:gd name="connsiteY0" fmla="*/ 190500 h 190500"/>
              <a:gd name="connsiteX1" fmla="*/ 190500 w 190500"/>
              <a:gd name="connsiteY1" fmla="*/ 95250 h 190500"/>
              <a:gd name="connsiteX2" fmla="*/ 95250 w 190500"/>
              <a:gd name="connsiteY2" fmla="*/ 0 h 190500"/>
              <a:gd name="connsiteX3" fmla="*/ 0 w 190500"/>
              <a:gd name="connsiteY3" fmla="*/ 95250 h 190500"/>
              <a:gd name="connsiteX4" fmla="*/ 95250 w 190500"/>
              <a:gd name="connsiteY4" fmla="*/ 190500 h 190500"/>
              <a:gd name="connsiteX5" fmla="*/ 128573 w 190500"/>
              <a:gd name="connsiteY5" fmla="*/ 152495 h 190500"/>
              <a:gd name="connsiteX6" fmla="*/ 108674 w 190500"/>
              <a:gd name="connsiteY6" fmla="*/ 152495 h 190500"/>
              <a:gd name="connsiteX7" fmla="*/ 108674 w 190500"/>
              <a:gd name="connsiteY7" fmla="*/ 53655 h 190500"/>
              <a:gd name="connsiteX8" fmla="*/ 99792 w 190500"/>
              <a:gd name="connsiteY8" fmla="*/ 53655 h 190500"/>
              <a:gd name="connsiteX9" fmla="*/ 74959 w 190500"/>
              <a:gd name="connsiteY9" fmla="*/ 74048 h 190500"/>
              <a:gd name="connsiteX10" fmla="*/ 93050 w 190500"/>
              <a:gd name="connsiteY10" fmla="*/ 102499 h 190500"/>
              <a:gd name="connsiteX11" fmla="*/ 103081 w 190500"/>
              <a:gd name="connsiteY11" fmla="*/ 109242 h 190500"/>
              <a:gd name="connsiteX12" fmla="*/ 74137 w 190500"/>
              <a:gd name="connsiteY12" fmla="*/ 152495 h 190500"/>
              <a:gd name="connsiteX13" fmla="*/ 52592 w 190500"/>
              <a:gd name="connsiteY13" fmla="*/ 152495 h 190500"/>
              <a:gd name="connsiteX14" fmla="*/ 78577 w 190500"/>
              <a:gd name="connsiteY14" fmla="*/ 113848 h 190500"/>
              <a:gd name="connsiteX15" fmla="*/ 55224 w 190500"/>
              <a:gd name="connsiteY15" fmla="*/ 75199 h 190500"/>
              <a:gd name="connsiteX16" fmla="*/ 99628 w 190500"/>
              <a:gd name="connsiteY16" fmla="*/ 38195 h 190500"/>
              <a:gd name="connsiteX17" fmla="*/ 128573 w 190500"/>
              <a:gd name="connsiteY17" fmla="*/ 38195 h 190500"/>
              <a:gd name="connsiteX18" fmla="*/ 128573 w 190500"/>
              <a:gd name="connsiteY18" fmla="*/ 152495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90500" h="190500">
                <a:moveTo>
                  <a:pt x="95250" y="190500"/>
                </a:moveTo>
                <a:cubicBezTo>
                  <a:pt x="147855" y="190500"/>
                  <a:pt x="190500" y="147855"/>
                  <a:pt x="190500" y="95250"/>
                </a:cubicBezTo>
                <a:cubicBezTo>
                  <a:pt x="190500" y="42645"/>
                  <a:pt x="147855" y="0"/>
                  <a:pt x="95250" y="0"/>
                </a:cubicBezTo>
                <a:cubicBezTo>
                  <a:pt x="42645" y="0"/>
                  <a:pt x="0" y="42645"/>
                  <a:pt x="0" y="95250"/>
                </a:cubicBezTo>
                <a:cubicBezTo>
                  <a:pt x="0" y="147855"/>
                  <a:pt x="42645" y="190500"/>
                  <a:pt x="95250" y="190500"/>
                </a:cubicBezTo>
                <a:close/>
                <a:moveTo>
                  <a:pt x="128573" y="152495"/>
                </a:moveTo>
                <a:lnTo>
                  <a:pt x="108674" y="152495"/>
                </a:lnTo>
                <a:lnTo>
                  <a:pt x="108674" y="53655"/>
                </a:lnTo>
                <a:lnTo>
                  <a:pt x="99792" y="53655"/>
                </a:lnTo>
                <a:cubicBezTo>
                  <a:pt x="83511" y="53655"/>
                  <a:pt x="74959" y="61878"/>
                  <a:pt x="74959" y="74048"/>
                </a:cubicBezTo>
                <a:cubicBezTo>
                  <a:pt x="74959" y="87862"/>
                  <a:pt x="80880" y="94277"/>
                  <a:pt x="93050" y="102499"/>
                </a:cubicBezTo>
                <a:lnTo>
                  <a:pt x="103081" y="109242"/>
                </a:lnTo>
                <a:lnTo>
                  <a:pt x="74137" y="152495"/>
                </a:lnTo>
                <a:lnTo>
                  <a:pt x="52592" y="152495"/>
                </a:lnTo>
                <a:lnTo>
                  <a:pt x="78577" y="113848"/>
                </a:lnTo>
                <a:cubicBezTo>
                  <a:pt x="63611" y="103158"/>
                  <a:pt x="55224" y="92796"/>
                  <a:pt x="55224" y="75199"/>
                </a:cubicBezTo>
                <a:cubicBezTo>
                  <a:pt x="55224" y="53161"/>
                  <a:pt x="70519" y="38195"/>
                  <a:pt x="99628" y="38195"/>
                </a:cubicBezTo>
                <a:lnTo>
                  <a:pt x="128573" y="38195"/>
                </a:lnTo>
                <a:lnTo>
                  <a:pt x="128573" y="152495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EEACA3E2-1D47-EEDA-839B-D5591ED6A3CC}"/>
              </a:ext>
            </a:extLst>
          </p:cNvPr>
          <p:cNvSpPr/>
          <p:nvPr/>
        </p:nvSpPr>
        <p:spPr>
          <a:xfrm>
            <a:off x="12383212" y="377686"/>
            <a:ext cx="11710737" cy="6323152"/>
          </a:xfrm>
          <a:prstGeom prst="roundRect">
            <a:avLst>
              <a:gd name="adj" fmla="val 42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E05DD74-6FEF-8DF3-98BF-A6985ED1D839}"/>
              </a:ext>
            </a:extLst>
          </p:cNvPr>
          <p:cNvSpPr txBox="1"/>
          <p:nvPr/>
        </p:nvSpPr>
        <p:spPr>
          <a:xfrm>
            <a:off x="13498973" y="2083303"/>
            <a:ext cx="9077325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0"/>
              </a:spcAft>
              <a:defRPr/>
            </a:pPr>
            <a:r>
              <a:rPr lang="ru-RU" sz="3600" dirty="0"/>
              <a:t>Превратит поток дел, идей и задач </a:t>
            </a:r>
            <a:br>
              <a:rPr lang="ru-RU" sz="3600" dirty="0"/>
            </a:br>
            <a:r>
              <a:rPr lang="ru-RU" sz="3600" dirty="0"/>
              <a:t>в удобные заметки: сохранит, объединит в списки, напомнит, вычеркнет сделанное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502FF50-B437-2343-6EA7-29751F8BC28C}"/>
              </a:ext>
            </a:extLst>
          </p:cNvPr>
          <p:cNvSpPr txBox="1"/>
          <p:nvPr/>
        </p:nvSpPr>
        <p:spPr>
          <a:xfrm>
            <a:off x="13498973" y="1118452"/>
            <a:ext cx="9349007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0"/>
              </a:spcAft>
              <a:defRPr/>
            </a:pPr>
            <a:r>
              <a:rPr lang="ru-RU" sz="4800" dirty="0">
                <a:solidFill>
                  <a:schemeClr val="bg1"/>
                </a:solidFill>
                <a:latin typeface="YS Text Medium" pitchFamily="2" charset="0"/>
              </a:rPr>
              <a:t>Помнит вместо вас</a:t>
            </a:r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6E53B401-41A3-31B1-D793-DBEE75520779}"/>
              </a:ext>
            </a:extLst>
          </p:cNvPr>
          <p:cNvSpPr/>
          <p:nvPr/>
        </p:nvSpPr>
        <p:spPr>
          <a:xfrm>
            <a:off x="13498972" y="5302320"/>
            <a:ext cx="4980413" cy="805663"/>
          </a:xfrm>
          <a:prstGeom prst="roundRect">
            <a:avLst>
              <a:gd name="adj" fmla="val 21522"/>
            </a:avLst>
          </a:prstGeom>
          <a:solidFill>
            <a:srgbClr val="647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sym typeface="Arial"/>
              </a:rPr>
              <a:t>Только в Яндекс </a:t>
            </a:r>
            <a:r>
              <a:rPr lang="ru-RU" sz="3200" dirty="0" err="1">
                <a:solidFill>
                  <a:schemeClr val="bg1"/>
                </a:solidFill>
                <a:sym typeface="Arial"/>
              </a:rPr>
              <a:t>Дропс</a:t>
            </a:r>
            <a:endParaRPr lang="ru-RU" sz="32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84B76095-184A-7777-457F-870A430E4A5A}"/>
              </a:ext>
            </a:extLst>
          </p:cNvPr>
          <p:cNvSpPr/>
          <p:nvPr/>
        </p:nvSpPr>
        <p:spPr>
          <a:xfrm>
            <a:off x="270126" y="7015163"/>
            <a:ext cx="11710737" cy="6323152"/>
          </a:xfrm>
          <a:prstGeom prst="roundRect">
            <a:avLst>
              <a:gd name="adj" fmla="val 42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7667E7A-59CD-1EB4-C871-3BAFB1FBE337}"/>
              </a:ext>
            </a:extLst>
          </p:cNvPr>
          <p:cNvSpPr txBox="1"/>
          <p:nvPr/>
        </p:nvSpPr>
        <p:spPr>
          <a:xfrm>
            <a:off x="1385887" y="8720780"/>
            <a:ext cx="9077325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0"/>
              </a:spcAft>
              <a:defRPr/>
            </a:pPr>
            <a:r>
              <a:rPr lang="ru-RU" sz="3600" dirty="0"/>
              <a:t>Отправьте ссылку на сайт или видео — Алиса </a:t>
            </a:r>
            <a:r>
              <a:rPr lang="ru-RU" sz="3600" dirty="0" err="1"/>
              <a:t>A</a:t>
            </a:r>
            <a:r>
              <a:rPr lang="en-US" sz="3600" dirty="0"/>
              <a:t>I </a:t>
            </a:r>
            <a:r>
              <a:rPr lang="en-US" sz="3600" dirty="0" err="1"/>
              <a:t>о</a:t>
            </a:r>
            <a:r>
              <a:rPr lang="ru-RU" sz="3600" dirty="0" err="1"/>
              <a:t>тветит</a:t>
            </a:r>
            <a:r>
              <a:rPr lang="ru-RU" sz="3600" dirty="0"/>
              <a:t> на вопросы, перескажет </a:t>
            </a:r>
            <a:br>
              <a:rPr lang="ru-RU" sz="3600" dirty="0"/>
            </a:br>
            <a:r>
              <a:rPr lang="ru-RU" sz="3600" dirty="0"/>
              <a:t>или найдёт нужное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B6EB192-5756-DA5E-DDFD-CADAA635EE12}"/>
              </a:ext>
            </a:extLst>
          </p:cNvPr>
          <p:cNvSpPr txBox="1"/>
          <p:nvPr/>
        </p:nvSpPr>
        <p:spPr>
          <a:xfrm>
            <a:off x="1385887" y="7755929"/>
            <a:ext cx="9349007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0"/>
              </a:spcAft>
              <a:defRPr/>
            </a:pPr>
            <a:r>
              <a:rPr lang="ru-RU" sz="4800" dirty="0">
                <a:solidFill>
                  <a:schemeClr val="bg1"/>
                </a:solidFill>
                <a:latin typeface="YS Text Medium" pitchFamily="2" charset="0"/>
              </a:rPr>
              <a:t>Анализирует сайты и видео</a:t>
            </a:r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AF924D98-DF16-394D-4894-6E0C935448CB}"/>
              </a:ext>
            </a:extLst>
          </p:cNvPr>
          <p:cNvSpPr/>
          <p:nvPr/>
        </p:nvSpPr>
        <p:spPr>
          <a:xfrm>
            <a:off x="1385886" y="11939797"/>
            <a:ext cx="1777773" cy="805663"/>
          </a:xfrm>
          <a:prstGeom prst="roundRect">
            <a:avLst>
              <a:gd name="adj" fmla="val 21522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sym typeface="Arial"/>
              </a:rPr>
              <a:t>Скоро</a:t>
            </a:r>
          </a:p>
        </p:txBody>
      </p:sp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7A17979C-6B81-937A-01F5-416769784873}"/>
              </a:ext>
            </a:extLst>
          </p:cNvPr>
          <p:cNvSpPr/>
          <p:nvPr/>
        </p:nvSpPr>
        <p:spPr>
          <a:xfrm>
            <a:off x="12327650" y="7015163"/>
            <a:ext cx="11710737" cy="6323152"/>
          </a:xfrm>
          <a:prstGeom prst="roundRect">
            <a:avLst>
              <a:gd name="adj" fmla="val 42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8738C87-D524-07A2-7D85-23343FB762D2}"/>
              </a:ext>
            </a:extLst>
          </p:cNvPr>
          <p:cNvSpPr txBox="1"/>
          <p:nvPr/>
        </p:nvSpPr>
        <p:spPr>
          <a:xfrm>
            <a:off x="13443411" y="8720780"/>
            <a:ext cx="9897349" cy="276998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3000"/>
              </a:spcAft>
              <a:defRPr/>
            </a:pPr>
            <a:r>
              <a:rPr lang="ru-RU" sz="3600" dirty="0"/>
              <a:t>Напишите, что нужно, и Алиса </a:t>
            </a:r>
            <a:r>
              <a:rPr lang="en-US" sz="3600" dirty="0"/>
              <a:t>AI </a:t>
            </a:r>
            <a:r>
              <a:rPr lang="ru-RU" sz="3600" dirty="0"/>
              <a:t>поможет </a:t>
            </a:r>
            <a:br>
              <a:rPr lang="ru-RU" sz="3600" dirty="0"/>
            </a:br>
            <a:r>
              <a:rPr lang="ru-RU" sz="3600" dirty="0"/>
              <a:t>это сделать без лишних кликов, прямо </a:t>
            </a:r>
            <a:br>
              <a:rPr lang="ru-RU" sz="3600" dirty="0"/>
            </a:br>
            <a:r>
              <a:rPr lang="ru-RU" sz="3600" dirty="0"/>
              <a:t>в приложении Яндекс </a:t>
            </a:r>
            <a:r>
              <a:rPr lang="en" sz="3600" dirty="0"/>
              <a:t>G</a:t>
            </a:r>
            <a:r>
              <a:rPr lang="ru-RU" sz="3600" dirty="0"/>
              <a:t>o: вызовет такси, подберёт ресторан или соберёт продукты </a:t>
            </a:r>
            <a:br>
              <a:rPr lang="ru-RU" sz="3600" dirty="0"/>
            </a:br>
            <a:r>
              <a:rPr lang="ru-RU" sz="3600" dirty="0"/>
              <a:t>по рецепту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5CC20AF-D488-BA60-24F6-337DA277979B}"/>
              </a:ext>
            </a:extLst>
          </p:cNvPr>
          <p:cNvSpPr txBox="1"/>
          <p:nvPr/>
        </p:nvSpPr>
        <p:spPr>
          <a:xfrm>
            <a:off x="13443411" y="7755929"/>
            <a:ext cx="9349007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3000"/>
              </a:spcAft>
              <a:defRPr/>
            </a:pPr>
            <a:r>
              <a:rPr lang="ru-RU" sz="4800" dirty="0">
                <a:solidFill>
                  <a:schemeClr val="bg1"/>
                </a:solidFill>
                <a:latin typeface="YS Text Medium" pitchFamily="2" charset="0"/>
              </a:rPr>
              <a:t>Помогает в Яндекс </a:t>
            </a:r>
            <a:r>
              <a:rPr lang="en-US" sz="4800" dirty="0">
                <a:solidFill>
                  <a:schemeClr val="bg1"/>
                </a:solidFill>
                <a:latin typeface="YS Text Medium" pitchFamily="2" charset="0"/>
              </a:rPr>
              <a:t>G</a:t>
            </a:r>
            <a:r>
              <a:rPr lang="ru-RU" sz="4800" dirty="0">
                <a:solidFill>
                  <a:schemeClr val="bg1"/>
                </a:solidFill>
                <a:latin typeface="YS Text Medium" pitchFamily="2" charset="0"/>
              </a:rPr>
              <a:t>o</a:t>
            </a:r>
          </a:p>
        </p:txBody>
      </p:sp>
      <p:sp>
        <p:nvSpPr>
          <p:cNvPr id="55" name="Скругленный прямоугольник 54">
            <a:extLst>
              <a:ext uri="{FF2B5EF4-FFF2-40B4-BE49-F238E27FC236}">
                <a16:creationId xmlns:a16="http://schemas.microsoft.com/office/drawing/2014/main" id="{2C57E9C8-D3E9-D55E-D710-6F6A7DD2DE25}"/>
              </a:ext>
            </a:extLst>
          </p:cNvPr>
          <p:cNvSpPr/>
          <p:nvPr/>
        </p:nvSpPr>
        <p:spPr>
          <a:xfrm>
            <a:off x="13443411" y="11939797"/>
            <a:ext cx="1716378" cy="805663"/>
          </a:xfrm>
          <a:prstGeom prst="roundRect">
            <a:avLst>
              <a:gd name="adj" fmla="val 21522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sym typeface="Arial"/>
              </a:rPr>
              <a:t>Скоро</a:t>
            </a:r>
          </a:p>
        </p:txBody>
      </p:sp>
      <p:sp>
        <p:nvSpPr>
          <p:cNvPr id="57" name="Рисунок 1083">
            <a:extLst>
              <a:ext uri="{FF2B5EF4-FFF2-40B4-BE49-F238E27FC236}">
                <a16:creationId xmlns:a16="http://schemas.microsoft.com/office/drawing/2014/main" id="{F203C35A-7443-E38D-2B23-51CE2887CA7D}"/>
              </a:ext>
            </a:extLst>
          </p:cNvPr>
          <p:cNvSpPr/>
          <p:nvPr/>
        </p:nvSpPr>
        <p:spPr>
          <a:xfrm>
            <a:off x="22975075" y="5551912"/>
            <a:ext cx="445199" cy="556071"/>
          </a:xfrm>
          <a:custGeom>
            <a:avLst/>
            <a:gdLst>
              <a:gd name="connsiteX0" fmla="*/ 152400 w 152400"/>
              <a:gd name="connsiteY0" fmla="*/ 57150 h 190353"/>
              <a:gd name="connsiteX1" fmla="*/ 149500 w 152400"/>
              <a:gd name="connsiteY1" fmla="*/ 23520 h 190353"/>
              <a:gd name="connsiteX2" fmla="*/ 128880 w 152400"/>
              <a:gd name="connsiteY2" fmla="*/ 2900 h 190353"/>
              <a:gd name="connsiteX3" fmla="*/ 95250 w 152400"/>
              <a:gd name="connsiteY3" fmla="*/ 0 h 190353"/>
              <a:gd name="connsiteX4" fmla="*/ 57150 w 152400"/>
              <a:gd name="connsiteY4" fmla="*/ 0 h 190353"/>
              <a:gd name="connsiteX5" fmla="*/ 23520 w 152400"/>
              <a:gd name="connsiteY5" fmla="*/ 2900 h 190353"/>
              <a:gd name="connsiteX6" fmla="*/ 2900 w 152400"/>
              <a:gd name="connsiteY6" fmla="*/ 23520 h 190353"/>
              <a:gd name="connsiteX7" fmla="*/ 0 w 152400"/>
              <a:gd name="connsiteY7" fmla="*/ 57150 h 190353"/>
              <a:gd name="connsiteX8" fmla="*/ 0 w 152400"/>
              <a:gd name="connsiteY8" fmla="*/ 190354 h 190353"/>
              <a:gd name="connsiteX9" fmla="*/ 14288 w 152400"/>
              <a:gd name="connsiteY9" fmla="*/ 190354 h 190353"/>
              <a:gd name="connsiteX10" fmla="*/ 76200 w 152400"/>
              <a:gd name="connsiteY10" fmla="*/ 152254 h 190353"/>
              <a:gd name="connsiteX11" fmla="*/ 138113 w 152400"/>
              <a:gd name="connsiteY11" fmla="*/ 190354 h 190353"/>
              <a:gd name="connsiteX12" fmla="*/ 152400 w 152400"/>
              <a:gd name="connsiteY12" fmla="*/ 190354 h 190353"/>
              <a:gd name="connsiteX13" fmla="*/ 152400 w 152400"/>
              <a:gd name="connsiteY13" fmla="*/ 57150 h 190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52400" h="190353">
                <a:moveTo>
                  <a:pt x="152400" y="57150"/>
                </a:moveTo>
                <a:cubicBezTo>
                  <a:pt x="152400" y="39398"/>
                  <a:pt x="152400" y="30521"/>
                  <a:pt x="149500" y="23520"/>
                </a:cubicBezTo>
                <a:cubicBezTo>
                  <a:pt x="145632" y="14184"/>
                  <a:pt x="138215" y="6767"/>
                  <a:pt x="128880" y="2900"/>
                </a:cubicBezTo>
                <a:cubicBezTo>
                  <a:pt x="121879" y="0"/>
                  <a:pt x="113003" y="0"/>
                  <a:pt x="95250" y="0"/>
                </a:cubicBezTo>
                <a:lnTo>
                  <a:pt x="57150" y="0"/>
                </a:lnTo>
                <a:cubicBezTo>
                  <a:pt x="39398" y="0"/>
                  <a:pt x="30521" y="0"/>
                  <a:pt x="23520" y="2900"/>
                </a:cubicBezTo>
                <a:cubicBezTo>
                  <a:pt x="14184" y="6767"/>
                  <a:pt x="6767" y="14184"/>
                  <a:pt x="2900" y="23520"/>
                </a:cubicBezTo>
                <a:cubicBezTo>
                  <a:pt x="0" y="30522"/>
                  <a:pt x="0" y="39398"/>
                  <a:pt x="0" y="57150"/>
                </a:cubicBezTo>
                <a:lnTo>
                  <a:pt x="0" y="190354"/>
                </a:lnTo>
                <a:lnTo>
                  <a:pt x="14288" y="190354"/>
                </a:lnTo>
                <a:lnTo>
                  <a:pt x="76200" y="152254"/>
                </a:lnTo>
                <a:lnTo>
                  <a:pt x="138113" y="190354"/>
                </a:lnTo>
                <a:lnTo>
                  <a:pt x="152400" y="190354"/>
                </a:lnTo>
                <a:lnTo>
                  <a:pt x="152400" y="571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" name="Полилиния: фигура 414">
            <a:extLst>
              <a:ext uri="{FF2B5EF4-FFF2-40B4-BE49-F238E27FC236}">
                <a16:creationId xmlns:a16="http://schemas.microsoft.com/office/drawing/2014/main" id="{E557FBDB-58CC-6626-E8F1-99D7AB48AC5F}"/>
              </a:ext>
            </a:extLst>
          </p:cNvPr>
          <p:cNvSpPr/>
          <p:nvPr/>
        </p:nvSpPr>
        <p:spPr>
          <a:xfrm>
            <a:off x="10901501" y="12244610"/>
            <a:ext cx="612150" cy="500850"/>
          </a:xfrm>
          <a:custGeom>
            <a:avLst/>
            <a:gdLst>
              <a:gd name="connsiteX0" fmla="*/ 28578 w 209550"/>
              <a:gd name="connsiteY0" fmla="*/ 39808 h 171450"/>
              <a:gd name="connsiteX1" fmla="*/ 28575 w 209550"/>
              <a:gd name="connsiteY1" fmla="*/ 45720 h 171450"/>
              <a:gd name="connsiteX2" fmla="*/ 36997 w 209550"/>
              <a:gd name="connsiteY2" fmla="*/ 115586 h 171450"/>
              <a:gd name="connsiteX3" fmla="*/ 55864 w 209550"/>
              <a:gd name="connsiteY3" fmla="*/ 134453 h 171450"/>
              <a:gd name="connsiteX4" fmla="*/ 125730 w 209550"/>
              <a:gd name="connsiteY4" fmla="*/ 142875 h 171450"/>
              <a:gd name="connsiteX5" fmla="*/ 163830 w 209550"/>
              <a:gd name="connsiteY5" fmla="*/ 142875 h 171450"/>
              <a:gd name="connsiteX6" fmla="*/ 169742 w 209550"/>
              <a:gd name="connsiteY6" fmla="*/ 142872 h 171450"/>
              <a:gd name="connsiteX7" fmla="*/ 165836 w 209550"/>
              <a:gd name="connsiteY7" fmla="*/ 153257 h 171450"/>
              <a:gd name="connsiteX8" fmla="*/ 153257 w 209550"/>
              <a:gd name="connsiteY8" fmla="*/ 165835 h 171450"/>
              <a:gd name="connsiteX9" fmla="*/ 106680 w 209550"/>
              <a:gd name="connsiteY9" fmla="*/ 171450 h 171450"/>
              <a:gd name="connsiteX10" fmla="*/ 64770 w 209550"/>
              <a:gd name="connsiteY10" fmla="*/ 171450 h 171450"/>
              <a:gd name="connsiteX11" fmla="*/ 18193 w 209550"/>
              <a:gd name="connsiteY11" fmla="*/ 165835 h 171450"/>
              <a:gd name="connsiteX12" fmla="*/ 5614 w 209550"/>
              <a:gd name="connsiteY12" fmla="*/ 153257 h 171450"/>
              <a:gd name="connsiteX13" fmla="*/ 0 w 209550"/>
              <a:gd name="connsiteY13" fmla="*/ 106680 h 171450"/>
              <a:gd name="connsiteX14" fmla="*/ 0 w 209550"/>
              <a:gd name="connsiteY14" fmla="*/ 102870 h 171450"/>
              <a:gd name="connsiteX15" fmla="*/ 5614 w 209550"/>
              <a:gd name="connsiteY15" fmla="*/ 56293 h 171450"/>
              <a:gd name="connsiteX16" fmla="*/ 18193 w 209550"/>
              <a:gd name="connsiteY16" fmla="*/ 43714 h 171450"/>
              <a:gd name="connsiteX17" fmla="*/ 28578 w 209550"/>
              <a:gd name="connsiteY17" fmla="*/ 39808 h 171450"/>
              <a:gd name="connsiteX18" fmla="*/ 110005 w 209550"/>
              <a:gd name="connsiteY18" fmla="*/ 29188 h 171450"/>
              <a:gd name="connsiteX19" fmla="*/ 106911 w 209550"/>
              <a:gd name="connsiteY19" fmla="*/ 30915 h 171450"/>
              <a:gd name="connsiteX20" fmla="*/ 101673 w 209550"/>
              <a:gd name="connsiteY20" fmla="*/ 61913 h 171450"/>
              <a:gd name="connsiteX21" fmla="*/ 106911 w 209550"/>
              <a:gd name="connsiteY21" fmla="*/ 92911 h 171450"/>
              <a:gd name="connsiteX22" fmla="*/ 110005 w 209550"/>
              <a:gd name="connsiteY22" fmla="*/ 94638 h 171450"/>
              <a:gd name="connsiteX23" fmla="*/ 139135 w 209550"/>
              <a:gd name="connsiteY23" fmla="*/ 82814 h 171450"/>
              <a:gd name="connsiteX24" fmla="*/ 161032 w 209550"/>
              <a:gd name="connsiteY24" fmla="*/ 63612 h 171450"/>
              <a:gd name="connsiteX25" fmla="*/ 161032 w 209550"/>
              <a:gd name="connsiteY25" fmla="*/ 60213 h 171450"/>
              <a:gd name="connsiteX26" fmla="*/ 139135 w 209550"/>
              <a:gd name="connsiteY26" fmla="*/ 41011 h 171450"/>
              <a:gd name="connsiteX27" fmla="*/ 110005 w 209550"/>
              <a:gd name="connsiteY27" fmla="*/ 29188 h 171450"/>
              <a:gd name="connsiteX28" fmla="*/ 109538 w 209550"/>
              <a:gd name="connsiteY28" fmla="*/ 0 h 171450"/>
              <a:gd name="connsiteX29" fmla="*/ 147638 w 209550"/>
              <a:gd name="connsiteY29" fmla="*/ 0 h 171450"/>
              <a:gd name="connsiteX30" fmla="*/ 189410 w 209550"/>
              <a:gd name="connsiteY30" fmla="*/ 4499 h 171450"/>
              <a:gd name="connsiteX31" fmla="*/ 205051 w 209550"/>
              <a:gd name="connsiteY31" fmla="*/ 20140 h 171450"/>
              <a:gd name="connsiteX32" fmla="*/ 209550 w 209550"/>
              <a:gd name="connsiteY32" fmla="*/ 61913 h 171450"/>
              <a:gd name="connsiteX33" fmla="*/ 205051 w 209550"/>
              <a:gd name="connsiteY33" fmla="*/ 103685 h 171450"/>
              <a:gd name="connsiteX34" fmla="*/ 189410 w 209550"/>
              <a:gd name="connsiteY34" fmla="*/ 119326 h 171450"/>
              <a:gd name="connsiteX35" fmla="*/ 147638 w 209550"/>
              <a:gd name="connsiteY35" fmla="*/ 123825 h 171450"/>
              <a:gd name="connsiteX36" fmla="*/ 109538 w 209550"/>
              <a:gd name="connsiteY36" fmla="*/ 123825 h 171450"/>
              <a:gd name="connsiteX37" fmla="*/ 67765 w 209550"/>
              <a:gd name="connsiteY37" fmla="*/ 119326 h 171450"/>
              <a:gd name="connsiteX38" fmla="*/ 52124 w 209550"/>
              <a:gd name="connsiteY38" fmla="*/ 103685 h 171450"/>
              <a:gd name="connsiteX39" fmla="*/ 47625 w 209550"/>
              <a:gd name="connsiteY39" fmla="*/ 61913 h 171450"/>
              <a:gd name="connsiteX40" fmla="*/ 52124 w 209550"/>
              <a:gd name="connsiteY40" fmla="*/ 20140 h 171450"/>
              <a:gd name="connsiteX41" fmla="*/ 67765 w 209550"/>
              <a:gd name="connsiteY41" fmla="*/ 4499 h 171450"/>
              <a:gd name="connsiteX42" fmla="*/ 109538 w 209550"/>
              <a:gd name="connsiteY42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209550" h="171450">
                <a:moveTo>
                  <a:pt x="28578" y="39808"/>
                </a:moveTo>
                <a:cubicBezTo>
                  <a:pt x="28575" y="41697"/>
                  <a:pt x="28575" y="43666"/>
                  <a:pt x="28575" y="45720"/>
                </a:cubicBezTo>
                <a:cubicBezTo>
                  <a:pt x="28575" y="83135"/>
                  <a:pt x="28575" y="101843"/>
                  <a:pt x="36997" y="115586"/>
                </a:cubicBezTo>
                <a:cubicBezTo>
                  <a:pt x="41709" y="123275"/>
                  <a:pt x="48174" y="129741"/>
                  <a:pt x="55864" y="134453"/>
                </a:cubicBezTo>
                <a:cubicBezTo>
                  <a:pt x="69607" y="142875"/>
                  <a:pt x="88315" y="142875"/>
                  <a:pt x="125730" y="142875"/>
                </a:cubicBezTo>
                <a:lnTo>
                  <a:pt x="163830" y="142875"/>
                </a:lnTo>
                <a:cubicBezTo>
                  <a:pt x="165884" y="142875"/>
                  <a:pt x="167852" y="142875"/>
                  <a:pt x="169742" y="142872"/>
                </a:cubicBezTo>
                <a:cubicBezTo>
                  <a:pt x="168911" y="146903"/>
                  <a:pt x="167674" y="150257"/>
                  <a:pt x="165836" y="153257"/>
                </a:cubicBezTo>
                <a:cubicBezTo>
                  <a:pt x="162694" y="158384"/>
                  <a:pt x="158384" y="162694"/>
                  <a:pt x="153257" y="165835"/>
                </a:cubicBezTo>
                <a:cubicBezTo>
                  <a:pt x="144095" y="171450"/>
                  <a:pt x="131623" y="171450"/>
                  <a:pt x="106680" y="171450"/>
                </a:cubicBezTo>
                <a:lnTo>
                  <a:pt x="64770" y="171450"/>
                </a:lnTo>
                <a:cubicBezTo>
                  <a:pt x="39827" y="171450"/>
                  <a:pt x="27355" y="171450"/>
                  <a:pt x="18193" y="165835"/>
                </a:cubicBezTo>
                <a:cubicBezTo>
                  <a:pt x="13066" y="162694"/>
                  <a:pt x="8756" y="158384"/>
                  <a:pt x="5614" y="153257"/>
                </a:cubicBezTo>
                <a:cubicBezTo>
                  <a:pt x="0" y="144095"/>
                  <a:pt x="0" y="131623"/>
                  <a:pt x="0" y="106680"/>
                </a:cubicBezTo>
                <a:lnTo>
                  <a:pt x="0" y="102870"/>
                </a:lnTo>
                <a:cubicBezTo>
                  <a:pt x="0" y="77926"/>
                  <a:pt x="0" y="65454"/>
                  <a:pt x="5614" y="56293"/>
                </a:cubicBezTo>
                <a:cubicBezTo>
                  <a:pt x="8756" y="51166"/>
                  <a:pt x="13066" y="46856"/>
                  <a:pt x="18193" y="43714"/>
                </a:cubicBezTo>
                <a:cubicBezTo>
                  <a:pt x="21193" y="41876"/>
                  <a:pt x="24547" y="40640"/>
                  <a:pt x="28578" y="39808"/>
                </a:cubicBezTo>
                <a:close/>
                <a:moveTo>
                  <a:pt x="110005" y="29188"/>
                </a:moveTo>
                <a:cubicBezTo>
                  <a:pt x="108900" y="29621"/>
                  <a:pt x="107859" y="30202"/>
                  <a:pt x="106911" y="30915"/>
                </a:cubicBezTo>
                <a:cubicBezTo>
                  <a:pt x="101673" y="34850"/>
                  <a:pt x="101673" y="43871"/>
                  <a:pt x="101673" y="61913"/>
                </a:cubicBezTo>
                <a:cubicBezTo>
                  <a:pt x="101673" y="79954"/>
                  <a:pt x="101673" y="88975"/>
                  <a:pt x="106911" y="92911"/>
                </a:cubicBezTo>
                <a:cubicBezTo>
                  <a:pt x="107859" y="93623"/>
                  <a:pt x="108900" y="94204"/>
                  <a:pt x="110005" y="94638"/>
                </a:cubicBezTo>
                <a:cubicBezTo>
                  <a:pt x="116105" y="97027"/>
                  <a:pt x="123782" y="92290"/>
                  <a:pt x="139135" y="82814"/>
                </a:cubicBezTo>
                <a:cubicBezTo>
                  <a:pt x="153194" y="74137"/>
                  <a:pt x="160224" y="69798"/>
                  <a:pt x="161032" y="63612"/>
                </a:cubicBezTo>
                <a:cubicBezTo>
                  <a:pt x="161179" y="62484"/>
                  <a:pt x="161179" y="61341"/>
                  <a:pt x="161032" y="60213"/>
                </a:cubicBezTo>
                <a:cubicBezTo>
                  <a:pt x="160224" y="54026"/>
                  <a:pt x="153194" y="49688"/>
                  <a:pt x="139135" y="41011"/>
                </a:cubicBezTo>
                <a:cubicBezTo>
                  <a:pt x="123782" y="31535"/>
                  <a:pt x="116105" y="26798"/>
                  <a:pt x="110005" y="29188"/>
                </a:cubicBezTo>
                <a:close/>
                <a:moveTo>
                  <a:pt x="109538" y="0"/>
                </a:moveTo>
                <a:lnTo>
                  <a:pt x="147638" y="0"/>
                </a:lnTo>
                <a:cubicBezTo>
                  <a:pt x="169875" y="0"/>
                  <a:pt x="180993" y="0"/>
                  <a:pt x="189410" y="4499"/>
                </a:cubicBezTo>
                <a:cubicBezTo>
                  <a:pt x="196056" y="8051"/>
                  <a:pt x="201499" y="13494"/>
                  <a:pt x="205051" y="20140"/>
                </a:cubicBezTo>
                <a:cubicBezTo>
                  <a:pt x="209550" y="28556"/>
                  <a:pt x="209550" y="39675"/>
                  <a:pt x="209550" y="61913"/>
                </a:cubicBezTo>
                <a:cubicBezTo>
                  <a:pt x="209550" y="84150"/>
                  <a:pt x="209550" y="95268"/>
                  <a:pt x="205051" y="103685"/>
                </a:cubicBezTo>
                <a:cubicBezTo>
                  <a:pt x="201499" y="110331"/>
                  <a:pt x="196056" y="115774"/>
                  <a:pt x="189410" y="119326"/>
                </a:cubicBezTo>
                <a:cubicBezTo>
                  <a:pt x="180993" y="123825"/>
                  <a:pt x="169875" y="123825"/>
                  <a:pt x="147638" y="123825"/>
                </a:cubicBezTo>
                <a:lnTo>
                  <a:pt x="109538" y="123825"/>
                </a:lnTo>
                <a:cubicBezTo>
                  <a:pt x="87300" y="123825"/>
                  <a:pt x="76181" y="123825"/>
                  <a:pt x="67765" y="119326"/>
                </a:cubicBezTo>
                <a:cubicBezTo>
                  <a:pt x="61119" y="115774"/>
                  <a:pt x="55676" y="110331"/>
                  <a:pt x="52124" y="103685"/>
                </a:cubicBezTo>
                <a:cubicBezTo>
                  <a:pt x="47625" y="95268"/>
                  <a:pt x="47625" y="84150"/>
                  <a:pt x="47625" y="61913"/>
                </a:cubicBezTo>
                <a:cubicBezTo>
                  <a:pt x="47625" y="39675"/>
                  <a:pt x="47625" y="28556"/>
                  <a:pt x="52124" y="20140"/>
                </a:cubicBezTo>
                <a:cubicBezTo>
                  <a:pt x="55676" y="13494"/>
                  <a:pt x="61119" y="8051"/>
                  <a:pt x="67765" y="4499"/>
                </a:cubicBezTo>
                <a:cubicBezTo>
                  <a:pt x="76181" y="0"/>
                  <a:pt x="87300" y="0"/>
                  <a:pt x="109538" y="0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9" name="Рисунок 1253">
            <a:extLst>
              <a:ext uri="{FF2B5EF4-FFF2-40B4-BE49-F238E27FC236}">
                <a16:creationId xmlns:a16="http://schemas.microsoft.com/office/drawing/2014/main" id="{693948B6-9D1A-6180-B2D2-661B6FE27A3E}"/>
              </a:ext>
            </a:extLst>
          </p:cNvPr>
          <p:cNvSpPr/>
          <p:nvPr/>
        </p:nvSpPr>
        <p:spPr>
          <a:xfrm>
            <a:off x="22903463" y="12244610"/>
            <a:ext cx="556497" cy="500850"/>
          </a:xfrm>
          <a:custGeom>
            <a:avLst/>
            <a:gdLst>
              <a:gd name="connsiteX0" fmla="*/ 179320 w 190499"/>
              <a:gd name="connsiteY0" fmla="*/ 54398 h 171450"/>
              <a:gd name="connsiteX1" fmla="*/ 183451 w 190499"/>
              <a:gd name="connsiteY1" fmla="*/ 66675 h 171450"/>
              <a:gd name="connsiteX2" fmla="*/ 190500 w 190499"/>
              <a:gd name="connsiteY2" fmla="*/ 109157 h 171450"/>
              <a:gd name="connsiteX3" fmla="*/ 190500 w 190499"/>
              <a:gd name="connsiteY3" fmla="*/ 171450 h 171450"/>
              <a:gd name="connsiteX4" fmla="*/ 152400 w 190499"/>
              <a:gd name="connsiteY4" fmla="*/ 171450 h 171450"/>
              <a:gd name="connsiteX5" fmla="*/ 142875 w 190499"/>
              <a:gd name="connsiteY5" fmla="*/ 152400 h 171450"/>
              <a:gd name="connsiteX6" fmla="*/ 47625 w 190499"/>
              <a:gd name="connsiteY6" fmla="*/ 152400 h 171450"/>
              <a:gd name="connsiteX7" fmla="*/ 38100 w 190499"/>
              <a:gd name="connsiteY7" fmla="*/ 171450 h 171450"/>
              <a:gd name="connsiteX8" fmla="*/ 0 w 190499"/>
              <a:gd name="connsiteY8" fmla="*/ 171450 h 171450"/>
              <a:gd name="connsiteX9" fmla="*/ 0 w 190499"/>
              <a:gd name="connsiteY9" fmla="*/ 108204 h 171450"/>
              <a:gd name="connsiteX10" fmla="*/ 7429 w 190499"/>
              <a:gd name="connsiteY10" fmla="*/ 64198 h 171450"/>
              <a:gd name="connsiteX11" fmla="*/ 22288 w 190499"/>
              <a:gd name="connsiteY11" fmla="*/ 22098 h 171450"/>
              <a:gd name="connsiteX12" fmla="*/ 30829 w 190499"/>
              <a:gd name="connsiteY12" fmla="*/ 11607 h 171450"/>
              <a:gd name="connsiteX13" fmla="*/ 43053 w 190499"/>
              <a:gd name="connsiteY13" fmla="*/ 5810 h 171450"/>
              <a:gd name="connsiteX14" fmla="*/ 95250 w 190499"/>
              <a:gd name="connsiteY14" fmla="*/ 0 h 171450"/>
              <a:gd name="connsiteX15" fmla="*/ 147447 w 190499"/>
              <a:gd name="connsiteY15" fmla="*/ 6286 h 171450"/>
              <a:gd name="connsiteX16" fmla="*/ 159636 w 190499"/>
              <a:gd name="connsiteY16" fmla="*/ 12077 h 171450"/>
              <a:gd name="connsiteX17" fmla="*/ 168116 w 190499"/>
              <a:gd name="connsiteY17" fmla="*/ 22574 h 171450"/>
              <a:gd name="connsiteX18" fmla="*/ 179320 w 190499"/>
              <a:gd name="connsiteY18" fmla="*/ 54398 h 171450"/>
              <a:gd name="connsiteX19" fmla="*/ 95250 w 190499"/>
              <a:gd name="connsiteY19" fmla="*/ 19050 h 171450"/>
              <a:gd name="connsiteX20" fmla="*/ 47625 w 190499"/>
              <a:gd name="connsiteY20" fmla="*/ 24384 h 171450"/>
              <a:gd name="connsiteX21" fmla="*/ 42730 w 190499"/>
              <a:gd name="connsiteY21" fmla="*/ 26599 h 171450"/>
              <a:gd name="connsiteX22" fmla="*/ 39338 w 190499"/>
              <a:gd name="connsiteY22" fmla="*/ 30766 h 171450"/>
              <a:gd name="connsiteX23" fmla="*/ 38860 w 190499"/>
              <a:gd name="connsiteY23" fmla="*/ 32140 h 171450"/>
              <a:gd name="connsiteX24" fmla="*/ 31718 w 190499"/>
              <a:gd name="connsiteY24" fmla="*/ 52483 h 171450"/>
              <a:gd name="connsiteX25" fmla="*/ 95250 w 190499"/>
              <a:gd name="connsiteY25" fmla="*/ 47625 h 171450"/>
              <a:gd name="connsiteX26" fmla="*/ 158591 w 190499"/>
              <a:gd name="connsiteY26" fmla="*/ 52388 h 171450"/>
              <a:gd name="connsiteX27" fmla="*/ 155377 w 190499"/>
              <a:gd name="connsiteY27" fmla="*/ 43246 h 171450"/>
              <a:gd name="connsiteX28" fmla="*/ 155367 w 190499"/>
              <a:gd name="connsiteY28" fmla="*/ 43216 h 171450"/>
              <a:gd name="connsiteX29" fmla="*/ 151066 w 190499"/>
              <a:gd name="connsiteY29" fmla="*/ 30480 h 171450"/>
              <a:gd name="connsiteX30" fmla="*/ 147885 w 190499"/>
              <a:gd name="connsiteY30" fmla="*/ 26576 h 171450"/>
              <a:gd name="connsiteX31" fmla="*/ 143351 w 190499"/>
              <a:gd name="connsiteY31" fmla="*/ 24384 h 171450"/>
              <a:gd name="connsiteX32" fmla="*/ 95250 w 190499"/>
              <a:gd name="connsiteY32" fmla="*/ 19050 h 171450"/>
              <a:gd name="connsiteX33" fmla="*/ 130802 w 190499"/>
              <a:gd name="connsiteY33" fmla="*/ 90047 h 171450"/>
              <a:gd name="connsiteX34" fmla="*/ 142875 w 190499"/>
              <a:gd name="connsiteY34" fmla="*/ 85734 h 171450"/>
              <a:gd name="connsiteX35" fmla="*/ 161925 w 190499"/>
              <a:gd name="connsiteY35" fmla="*/ 85734 h 171450"/>
              <a:gd name="connsiteX36" fmla="*/ 162700 w 190499"/>
              <a:gd name="connsiteY36" fmla="*/ 88040 h 171450"/>
              <a:gd name="connsiteX37" fmla="*/ 165259 w 190499"/>
              <a:gd name="connsiteY37" fmla="*/ 104784 h 171450"/>
              <a:gd name="connsiteX38" fmla="*/ 123825 w 190499"/>
              <a:gd name="connsiteY38" fmla="*/ 104784 h 171450"/>
              <a:gd name="connsiteX39" fmla="*/ 129405 w 190499"/>
              <a:gd name="connsiteY39" fmla="*/ 91312 h 171450"/>
              <a:gd name="connsiteX40" fmla="*/ 130802 w 190499"/>
              <a:gd name="connsiteY40" fmla="*/ 90047 h 171450"/>
              <a:gd name="connsiteX41" fmla="*/ 61095 w 190499"/>
              <a:gd name="connsiteY41" fmla="*/ 91312 h 171450"/>
              <a:gd name="connsiteX42" fmla="*/ 47625 w 190499"/>
              <a:gd name="connsiteY42" fmla="*/ 85734 h 171450"/>
              <a:gd name="connsiteX43" fmla="*/ 28575 w 190499"/>
              <a:gd name="connsiteY43" fmla="*/ 85734 h 171450"/>
              <a:gd name="connsiteX44" fmla="*/ 25336 w 190499"/>
              <a:gd name="connsiteY44" fmla="*/ 104784 h 171450"/>
              <a:gd name="connsiteX45" fmla="*/ 66675 w 190499"/>
              <a:gd name="connsiteY45" fmla="*/ 104784 h 171450"/>
              <a:gd name="connsiteX46" fmla="*/ 61095 w 190499"/>
              <a:gd name="connsiteY46" fmla="*/ 91312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90499" h="171450">
                <a:moveTo>
                  <a:pt x="179320" y="54398"/>
                </a:moveTo>
                <a:cubicBezTo>
                  <a:pt x="180734" y="58615"/>
                  <a:pt x="182141" y="62808"/>
                  <a:pt x="183451" y="66675"/>
                </a:cubicBezTo>
                <a:cubicBezTo>
                  <a:pt x="188076" y="80363"/>
                  <a:pt x="190456" y="94709"/>
                  <a:pt x="190500" y="109157"/>
                </a:cubicBezTo>
                <a:lnTo>
                  <a:pt x="190500" y="171450"/>
                </a:lnTo>
                <a:lnTo>
                  <a:pt x="152400" y="171450"/>
                </a:lnTo>
                <a:lnTo>
                  <a:pt x="142875" y="152400"/>
                </a:lnTo>
                <a:lnTo>
                  <a:pt x="47625" y="152400"/>
                </a:lnTo>
                <a:lnTo>
                  <a:pt x="38100" y="171450"/>
                </a:lnTo>
                <a:lnTo>
                  <a:pt x="0" y="171450"/>
                </a:lnTo>
                <a:lnTo>
                  <a:pt x="0" y="108204"/>
                </a:lnTo>
                <a:cubicBezTo>
                  <a:pt x="-13" y="93222"/>
                  <a:pt x="2499" y="78346"/>
                  <a:pt x="7429" y="64198"/>
                </a:cubicBezTo>
                <a:cubicBezTo>
                  <a:pt x="12763" y="47911"/>
                  <a:pt x="20288" y="26194"/>
                  <a:pt x="22288" y="22098"/>
                </a:cubicBezTo>
                <a:cubicBezTo>
                  <a:pt x="24319" y="18009"/>
                  <a:pt x="27237" y="14424"/>
                  <a:pt x="30829" y="11607"/>
                </a:cubicBezTo>
                <a:cubicBezTo>
                  <a:pt x="34422" y="8789"/>
                  <a:pt x="38598" y="6808"/>
                  <a:pt x="43053" y="5810"/>
                </a:cubicBezTo>
                <a:cubicBezTo>
                  <a:pt x="60192" y="2000"/>
                  <a:pt x="77693" y="52"/>
                  <a:pt x="95250" y="0"/>
                </a:cubicBezTo>
                <a:cubicBezTo>
                  <a:pt x="112825" y="208"/>
                  <a:pt x="130326" y="2316"/>
                  <a:pt x="147447" y="6286"/>
                </a:cubicBezTo>
                <a:cubicBezTo>
                  <a:pt x="151893" y="7279"/>
                  <a:pt x="156059" y="9257"/>
                  <a:pt x="159636" y="12077"/>
                </a:cubicBezTo>
                <a:cubicBezTo>
                  <a:pt x="163214" y="14896"/>
                  <a:pt x="166112" y="18484"/>
                  <a:pt x="168116" y="22574"/>
                </a:cubicBezTo>
                <a:cubicBezTo>
                  <a:pt x="169731" y="25804"/>
                  <a:pt x="174570" y="40233"/>
                  <a:pt x="179320" y="54398"/>
                </a:cubicBezTo>
                <a:close/>
                <a:moveTo>
                  <a:pt x="95250" y="19050"/>
                </a:moveTo>
                <a:cubicBezTo>
                  <a:pt x="79232" y="19154"/>
                  <a:pt x="63269" y="20942"/>
                  <a:pt x="47625" y="24384"/>
                </a:cubicBezTo>
                <a:cubicBezTo>
                  <a:pt x="45844" y="24733"/>
                  <a:pt x="44168" y="25491"/>
                  <a:pt x="42730" y="26599"/>
                </a:cubicBezTo>
                <a:cubicBezTo>
                  <a:pt x="41292" y="27706"/>
                  <a:pt x="40131" y="29133"/>
                  <a:pt x="39338" y="30766"/>
                </a:cubicBezTo>
                <a:cubicBezTo>
                  <a:pt x="39289" y="30888"/>
                  <a:pt x="39146" y="31307"/>
                  <a:pt x="38860" y="32140"/>
                </a:cubicBezTo>
                <a:cubicBezTo>
                  <a:pt x="38037" y="34542"/>
                  <a:pt x="36033" y="40387"/>
                  <a:pt x="31718" y="52483"/>
                </a:cubicBezTo>
                <a:cubicBezTo>
                  <a:pt x="52683" y="48767"/>
                  <a:pt x="73964" y="47140"/>
                  <a:pt x="95250" y="47625"/>
                </a:cubicBezTo>
                <a:cubicBezTo>
                  <a:pt x="116469" y="47116"/>
                  <a:pt x="137687" y="48711"/>
                  <a:pt x="158591" y="52388"/>
                </a:cubicBezTo>
                <a:cubicBezTo>
                  <a:pt x="157340" y="48822"/>
                  <a:pt x="156276" y="45799"/>
                  <a:pt x="155377" y="43246"/>
                </a:cubicBezTo>
                <a:lnTo>
                  <a:pt x="155367" y="43216"/>
                </a:lnTo>
                <a:cubicBezTo>
                  <a:pt x="152169" y="34130"/>
                  <a:pt x="151066" y="31000"/>
                  <a:pt x="151066" y="30480"/>
                </a:cubicBezTo>
                <a:cubicBezTo>
                  <a:pt x="150304" y="28962"/>
                  <a:pt x="149219" y="27629"/>
                  <a:pt x="147885" y="26576"/>
                </a:cubicBezTo>
                <a:cubicBezTo>
                  <a:pt x="146553" y="25522"/>
                  <a:pt x="145005" y="24774"/>
                  <a:pt x="143351" y="24384"/>
                </a:cubicBezTo>
                <a:cubicBezTo>
                  <a:pt x="127553" y="20902"/>
                  <a:pt x="111428" y="19114"/>
                  <a:pt x="95250" y="19050"/>
                </a:cubicBezTo>
                <a:close/>
                <a:moveTo>
                  <a:pt x="130802" y="90047"/>
                </a:moveTo>
                <a:cubicBezTo>
                  <a:pt x="134192" y="87270"/>
                  <a:pt x="138454" y="85734"/>
                  <a:pt x="142875" y="85734"/>
                </a:cubicBezTo>
                <a:lnTo>
                  <a:pt x="161925" y="85734"/>
                </a:lnTo>
                <a:cubicBezTo>
                  <a:pt x="162200" y="86497"/>
                  <a:pt x="162458" y="87266"/>
                  <a:pt x="162700" y="88040"/>
                </a:cubicBezTo>
                <a:cubicBezTo>
                  <a:pt x="164391" y="93455"/>
                  <a:pt x="165255" y="99100"/>
                  <a:pt x="165259" y="104784"/>
                </a:cubicBezTo>
                <a:lnTo>
                  <a:pt x="123825" y="104784"/>
                </a:lnTo>
                <a:cubicBezTo>
                  <a:pt x="123825" y="99731"/>
                  <a:pt x="125832" y="94885"/>
                  <a:pt x="129405" y="91312"/>
                </a:cubicBezTo>
                <a:cubicBezTo>
                  <a:pt x="129851" y="90867"/>
                  <a:pt x="130317" y="90444"/>
                  <a:pt x="130802" y="90047"/>
                </a:cubicBezTo>
                <a:close/>
                <a:moveTo>
                  <a:pt x="61095" y="91312"/>
                </a:moveTo>
                <a:cubicBezTo>
                  <a:pt x="57523" y="87740"/>
                  <a:pt x="52677" y="85734"/>
                  <a:pt x="47625" y="85734"/>
                </a:cubicBezTo>
                <a:lnTo>
                  <a:pt x="28575" y="85734"/>
                </a:lnTo>
                <a:cubicBezTo>
                  <a:pt x="26452" y="91861"/>
                  <a:pt x="25358" y="98298"/>
                  <a:pt x="25336" y="104784"/>
                </a:cubicBezTo>
                <a:lnTo>
                  <a:pt x="66675" y="104784"/>
                </a:lnTo>
                <a:cubicBezTo>
                  <a:pt x="66675" y="99731"/>
                  <a:pt x="64668" y="94885"/>
                  <a:pt x="61095" y="91312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26104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C1D98-F485-567C-103A-BF8A502B4A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Текст 33">
            <a:extLst>
              <a:ext uri="{FF2B5EF4-FFF2-40B4-BE49-F238E27FC236}">
                <a16:creationId xmlns:a16="http://schemas.microsoft.com/office/drawing/2014/main" id="{ECFBCB0E-06D8-66B3-B20A-F1EFB06AF5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369600"/>
            <a:ext cx="8169138" cy="317972"/>
          </a:xfrm>
        </p:spPr>
        <p:txBody>
          <a:bodyPr/>
          <a:lstStyle/>
          <a:p>
            <a:r>
              <a:rPr lang="ru-RU" dirty="0"/>
              <a:t>Данные Яндекса</a:t>
            </a: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78E26BE9-5BFA-5761-E2B5-27A116DE8ACB}"/>
              </a:ext>
            </a:extLst>
          </p:cNvPr>
          <p:cNvSpPr/>
          <p:nvPr/>
        </p:nvSpPr>
        <p:spPr>
          <a:xfrm>
            <a:off x="12856273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4445DBC3-B201-6957-66CF-0CFB20578DEB}"/>
              </a:ext>
            </a:extLst>
          </p:cNvPr>
          <p:cNvSpPr/>
          <p:nvPr/>
        </p:nvSpPr>
        <p:spPr>
          <a:xfrm>
            <a:off x="13979331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91B9507F-4446-74A7-E523-9FE1619227AF}"/>
              </a:ext>
            </a:extLst>
          </p:cNvPr>
          <p:cNvSpPr/>
          <p:nvPr/>
        </p:nvSpPr>
        <p:spPr>
          <a:xfrm>
            <a:off x="15102390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A2E352FA-A555-DE9F-4870-D9C92C42C78B}"/>
              </a:ext>
            </a:extLst>
          </p:cNvPr>
          <p:cNvSpPr/>
          <p:nvPr/>
        </p:nvSpPr>
        <p:spPr>
          <a:xfrm>
            <a:off x="16225448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956E3F32-12E3-27C6-81E0-7A13F14152D9}"/>
              </a:ext>
            </a:extLst>
          </p:cNvPr>
          <p:cNvSpPr/>
          <p:nvPr/>
        </p:nvSpPr>
        <p:spPr>
          <a:xfrm>
            <a:off x="17348507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0113874E-75DB-7A91-3722-67D84C902843}"/>
              </a:ext>
            </a:extLst>
          </p:cNvPr>
          <p:cNvSpPr/>
          <p:nvPr/>
        </p:nvSpPr>
        <p:spPr>
          <a:xfrm>
            <a:off x="18471565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EB56A94E-2BF9-C67F-3CA5-FD221FD39130}"/>
              </a:ext>
            </a:extLst>
          </p:cNvPr>
          <p:cNvSpPr/>
          <p:nvPr/>
        </p:nvSpPr>
        <p:spPr>
          <a:xfrm>
            <a:off x="19594622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65C026A2-79EA-A623-75F0-5720BCAF2DD6}"/>
              </a:ext>
            </a:extLst>
          </p:cNvPr>
          <p:cNvSpPr/>
          <p:nvPr/>
        </p:nvSpPr>
        <p:spPr>
          <a:xfrm>
            <a:off x="20717682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713001F7-F7BD-AFE4-4A26-15A20A76D680}"/>
              </a:ext>
            </a:extLst>
          </p:cNvPr>
          <p:cNvSpPr/>
          <p:nvPr/>
        </p:nvSpPr>
        <p:spPr>
          <a:xfrm>
            <a:off x="21840739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22BC3201-5070-56D5-EB1B-126583BBE2BA}"/>
              </a:ext>
            </a:extLst>
          </p:cNvPr>
          <p:cNvSpPr/>
          <p:nvPr/>
        </p:nvSpPr>
        <p:spPr>
          <a:xfrm>
            <a:off x="12856273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98A83C91-EABB-14A6-E55C-FE1B74A58C65}"/>
              </a:ext>
            </a:extLst>
          </p:cNvPr>
          <p:cNvSpPr/>
          <p:nvPr/>
        </p:nvSpPr>
        <p:spPr>
          <a:xfrm>
            <a:off x="13979331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A7A38DDB-A054-0FCA-58A4-98942CC68FFF}"/>
              </a:ext>
            </a:extLst>
          </p:cNvPr>
          <p:cNvSpPr/>
          <p:nvPr/>
        </p:nvSpPr>
        <p:spPr>
          <a:xfrm>
            <a:off x="15102390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07FCA7E1-FD72-526C-E242-B366B8AA9A80}"/>
              </a:ext>
            </a:extLst>
          </p:cNvPr>
          <p:cNvSpPr/>
          <p:nvPr/>
        </p:nvSpPr>
        <p:spPr>
          <a:xfrm>
            <a:off x="16225448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6A599409-B788-1788-BC02-C4198FD654D1}"/>
              </a:ext>
            </a:extLst>
          </p:cNvPr>
          <p:cNvSpPr/>
          <p:nvPr/>
        </p:nvSpPr>
        <p:spPr>
          <a:xfrm>
            <a:off x="17348507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CEDC0F09-8829-0CCE-4225-B1C4C64F3771}"/>
              </a:ext>
            </a:extLst>
          </p:cNvPr>
          <p:cNvSpPr/>
          <p:nvPr/>
        </p:nvSpPr>
        <p:spPr>
          <a:xfrm>
            <a:off x="18471565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id="{0D43999A-14E0-305E-5D99-13FD472B36AB}"/>
              </a:ext>
            </a:extLst>
          </p:cNvPr>
          <p:cNvSpPr/>
          <p:nvPr/>
        </p:nvSpPr>
        <p:spPr>
          <a:xfrm>
            <a:off x="19594622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id="{D30B78A9-28B9-796A-0E89-61371BB810A4}"/>
              </a:ext>
            </a:extLst>
          </p:cNvPr>
          <p:cNvSpPr/>
          <p:nvPr/>
        </p:nvSpPr>
        <p:spPr>
          <a:xfrm>
            <a:off x="20717682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51" name="Овал 50">
            <a:extLst>
              <a:ext uri="{FF2B5EF4-FFF2-40B4-BE49-F238E27FC236}">
                <a16:creationId xmlns:a16="http://schemas.microsoft.com/office/drawing/2014/main" id="{B8676471-7D4B-A687-E715-4CA8D363402E}"/>
              </a:ext>
            </a:extLst>
          </p:cNvPr>
          <p:cNvSpPr/>
          <p:nvPr/>
        </p:nvSpPr>
        <p:spPr>
          <a:xfrm>
            <a:off x="21840739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48FF57B-AA5B-F53E-40E6-377E42441F56}"/>
              </a:ext>
            </a:extLst>
          </p:cNvPr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tIns="46800" rIns="90000" bIns="4680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00" b="0" i="0" u="none" strike="noStrike" kern="1200" cap="none" spc="0" normalizeH="0" baseline="0" noProof="0">
                <a:ln>
                  <a:noFill/>
                </a:ln>
                <a:solidFill>
                  <a:srgbClr val="0F141E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&lt;!rd:12118.139.18819943/!&gt;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0D48D3D-EABB-C39B-A0ED-762710A9BE30}"/>
              </a:ext>
            </a:extLst>
          </p:cNvPr>
          <p:cNvSpPr txBox="1"/>
          <p:nvPr/>
        </p:nvSpPr>
        <p:spPr>
          <a:xfrm>
            <a:off x="14234160" y="13167360"/>
            <a:ext cx="65" cy="48660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3200" dirty="0"/>
          </a:p>
        </p:txBody>
      </p:sp>
      <p:sp>
        <p:nvSpPr>
          <p:cNvPr id="113" name="Овал 112">
            <a:extLst>
              <a:ext uri="{FF2B5EF4-FFF2-40B4-BE49-F238E27FC236}">
                <a16:creationId xmlns:a16="http://schemas.microsoft.com/office/drawing/2014/main" id="{584E64A2-E088-C42D-4503-822B17FC65FD}"/>
              </a:ext>
            </a:extLst>
          </p:cNvPr>
          <p:cNvSpPr/>
          <p:nvPr/>
        </p:nvSpPr>
        <p:spPr>
          <a:xfrm>
            <a:off x="11728513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15" name="Овал 114">
            <a:extLst>
              <a:ext uri="{FF2B5EF4-FFF2-40B4-BE49-F238E27FC236}">
                <a16:creationId xmlns:a16="http://schemas.microsoft.com/office/drawing/2014/main" id="{8E4FF100-FF73-6CEE-C3E8-B05B495DCABD}"/>
              </a:ext>
            </a:extLst>
          </p:cNvPr>
          <p:cNvSpPr/>
          <p:nvPr/>
        </p:nvSpPr>
        <p:spPr>
          <a:xfrm>
            <a:off x="11728513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1355A43F-C801-43CE-8C19-BE386889D581}"/>
              </a:ext>
            </a:extLst>
          </p:cNvPr>
          <p:cNvSpPr/>
          <p:nvPr/>
        </p:nvSpPr>
        <p:spPr>
          <a:xfrm>
            <a:off x="12856273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2605B9F7-58DC-FE5F-CCBB-90BBDA7A1867}"/>
              </a:ext>
            </a:extLst>
          </p:cNvPr>
          <p:cNvSpPr/>
          <p:nvPr/>
        </p:nvSpPr>
        <p:spPr>
          <a:xfrm>
            <a:off x="13979331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910380B4-DA31-8A2D-7945-41DF3482AF68}"/>
              </a:ext>
            </a:extLst>
          </p:cNvPr>
          <p:cNvSpPr/>
          <p:nvPr/>
        </p:nvSpPr>
        <p:spPr>
          <a:xfrm>
            <a:off x="15102390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1F4428E6-A0C8-8570-3F81-53823C62B1F5}"/>
              </a:ext>
            </a:extLst>
          </p:cNvPr>
          <p:cNvSpPr/>
          <p:nvPr/>
        </p:nvSpPr>
        <p:spPr>
          <a:xfrm>
            <a:off x="16225448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C33646FA-98B6-5CF4-DE43-3EFF668C6873}"/>
              </a:ext>
            </a:extLst>
          </p:cNvPr>
          <p:cNvSpPr/>
          <p:nvPr/>
        </p:nvSpPr>
        <p:spPr>
          <a:xfrm>
            <a:off x="17348507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29E87276-3438-7091-04C3-A9AFFF91BFD1}"/>
              </a:ext>
            </a:extLst>
          </p:cNvPr>
          <p:cNvSpPr/>
          <p:nvPr/>
        </p:nvSpPr>
        <p:spPr>
          <a:xfrm>
            <a:off x="18471565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F92B4306-1F81-0D76-DCEB-C760D95630C7}"/>
              </a:ext>
            </a:extLst>
          </p:cNvPr>
          <p:cNvSpPr/>
          <p:nvPr/>
        </p:nvSpPr>
        <p:spPr>
          <a:xfrm>
            <a:off x="19594622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id="{A76890A4-87C1-1ED8-AB8D-EC7B05F0D854}"/>
              </a:ext>
            </a:extLst>
          </p:cNvPr>
          <p:cNvSpPr/>
          <p:nvPr/>
        </p:nvSpPr>
        <p:spPr>
          <a:xfrm>
            <a:off x="20717682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id="{A0AE45F3-AEBC-51AB-98E2-662D966F3CF9}"/>
              </a:ext>
            </a:extLst>
          </p:cNvPr>
          <p:cNvSpPr/>
          <p:nvPr/>
        </p:nvSpPr>
        <p:spPr>
          <a:xfrm>
            <a:off x="21840739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id="{884F6CA0-77C7-05A0-ADF1-CF432F8B6ED1}"/>
              </a:ext>
            </a:extLst>
          </p:cNvPr>
          <p:cNvSpPr/>
          <p:nvPr/>
        </p:nvSpPr>
        <p:spPr>
          <a:xfrm>
            <a:off x="12856273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84" name="Овал 83">
            <a:extLst>
              <a:ext uri="{FF2B5EF4-FFF2-40B4-BE49-F238E27FC236}">
                <a16:creationId xmlns:a16="http://schemas.microsoft.com/office/drawing/2014/main" id="{E6505D34-5C41-CDA7-BED7-8E2A46684894}"/>
              </a:ext>
            </a:extLst>
          </p:cNvPr>
          <p:cNvSpPr/>
          <p:nvPr/>
        </p:nvSpPr>
        <p:spPr>
          <a:xfrm>
            <a:off x="13979331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07" name="Овал 106">
            <a:extLst>
              <a:ext uri="{FF2B5EF4-FFF2-40B4-BE49-F238E27FC236}">
                <a16:creationId xmlns:a16="http://schemas.microsoft.com/office/drawing/2014/main" id="{F62E32F6-82A5-5F38-EC10-5718CE74394E}"/>
              </a:ext>
            </a:extLst>
          </p:cNvPr>
          <p:cNvSpPr/>
          <p:nvPr/>
        </p:nvSpPr>
        <p:spPr>
          <a:xfrm>
            <a:off x="15102390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08" name="Овал 107">
            <a:extLst>
              <a:ext uri="{FF2B5EF4-FFF2-40B4-BE49-F238E27FC236}">
                <a16:creationId xmlns:a16="http://schemas.microsoft.com/office/drawing/2014/main" id="{C8D774AD-660F-EEDF-F767-5246406AEF26}"/>
              </a:ext>
            </a:extLst>
          </p:cNvPr>
          <p:cNvSpPr/>
          <p:nvPr/>
        </p:nvSpPr>
        <p:spPr>
          <a:xfrm>
            <a:off x="16225448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10" name="Овал 109">
            <a:extLst>
              <a:ext uri="{FF2B5EF4-FFF2-40B4-BE49-F238E27FC236}">
                <a16:creationId xmlns:a16="http://schemas.microsoft.com/office/drawing/2014/main" id="{6683F9D1-ABD4-B379-AE31-AEDA9BC3EDD4}"/>
              </a:ext>
            </a:extLst>
          </p:cNvPr>
          <p:cNvSpPr/>
          <p:nvPr/>
        </p:nvSpPr>
        <p:spPr>
          <a:xfrm>
            <a:off x="17348507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11" name="Овал 110">
            <a:extLst>
              <a:ext uri="{FF2B5EF4-FFF2-40B4-BE49-F238E27FC236}">
                <a16:creationId xmlns:a16="http://schemas.microsoft.com/office/drawing/2014/main" id="{74D33ABC-2C00-52C2-2BE1-51902FE1EF6A}"/>
              </a:ext>
            </a:extLst>
          </p:cNvPr>
          <p:cNvSpPr/>
          <p:nvPr/>
        </p:nvSpPr>
        <p:spPr>
          <a:xfrm>
            <a:off x="18471565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3" name="Овал 122">
            <a:extLst>
              <a:ext uri="{FF2B5EF4-FFF2-40B4-BE49-F238E27FC236}">
                <a16:creationId xmlns:a16="http://schemas.microsoft.com/office/drawing/2014/main" id="{3EA20119-C808-F431-84A6-7F5EE9F37C10}"/>
              </a:ext>
            </a:extLst>
          </p:cNvPr>
          <p:cNvSpPr/>
          <p:nvPr/>
        </p:nvSpPr>
        <p:spPr>
          <a:xfrm>
            <a:off x="19594622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4" name="Овал 123">
            <a:extLst>
              <a:ext uri="{FF2B5EF4-FFF2-40B4-BE49-F238E27FC236}">
                <a16:creationId xmlns:a16="http://schemas.microsoft.com/office/drawing/2014/main" id="{E6D7C228-2AE6-5895-8C60-BADD9DE311AA}"/>
              </a:ext>
            </a:extLst>
          </p:cNvPr>
          <p:cNvSpPr/>
          <p:nvPr/>
        </p:nvSpPr>
        <p:spPr>
          <a:xfrm>
            <a:off x="20717682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5" name="Овал 124">
            <a:extLst>
              <a:ext uri="{FF2B5EF4-FFF2-40B4-BE49-F238E27FC236}">
                <a16:creationId xmlns:a16="http://schemas.microsoft.com/office/drawing/2014/main" id="{7A7E946E-BA61-CD0C-0B7C-72A82468EF6F}"/>
              </a:ext>
            </a:extLst>
          </p:cNvPr>
          <p:cNvSpPr/>
          <p:nvPr/>
        </p:nvSpPr>
        <p:spPr>
          <a:xfrm>
            <a:off x="21840739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6" name="Овал 125">
            <a:extLst>
              <a:ext uri="{FF2B5EF4-FFF2-40B4-BE49-F238E27FC236}">
                <a16:creationId xmlns:a16="http://schemas.microsoft.com/office/drawing/2014/main" id="{324D4B72-5C4E-57DA-C446-1A6F3F84757B}"/>
              </a:ext>
            </a:extLst>
          </p:cNvPr>
          <p:cNvSpPr/>
          <p:nvPr/>
        </p:nvSpPr>
        <p:spPr>
          <a:xfrm>
            <a:off x="11728513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7" name="Овал 126">
            <a:extLst>
              <a:ext uri="{FF2B5EF4-FFF2-40B4-BE49-F238E27FC236}">
                <a16:creationId xmlns:a16="http://schemas.microsoft.com/office/drawing/2014/main" id="{2F4D73E6-5508-B1D3-815E-62FDB1920EC0}"/>
              </a:ext>
            </a:extLst>
          </p:cNvPr>
          <p:cNvSpPr/>
          <p:nvPr/>
        </p:nvSpPr>
        <p:spPr>
          <a:xfrm>
            <a:off x="11728513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8" name="Овал 127">
            <a:extLst>
              <a:ext uri="{FF2B5EF4-FFF2-40B4-BE49-F238E27FC236}">
                <a16:creationId xmlns:a16="http://schemas.microsoft.com/office/drawing/2014/main" id="{B1E0CB7F-D6EE-BC73-974A-D26B29EC04C0}"/>
              </a:ext>
            </a:extLst>
          </p:cNvPr>
          <p:cNvSpPr/>
          <p:nvPr/>
        </p:nvSpPr>
        <p:spPr>
          <a:xfrm>
            <a:off x="12856273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9" name="Овал 128">
            <a:extLst>
              <a:ext uri="{FF2B5EF4-FFF2-40B4-BE49-F238E27FC236}">
                <a16:creationId xmlns:a16="http://schemas.microsoft.com/office/drawing/2014/main" id="{67F4EA04-E858-A2DD-864A-EE421618D6D3}"/>
              </a:ext>
            </a:extLst>
          </p:cNvPr>
          <p:cNvSpPr/>
          <p:nvPr/>
        </p:nvSpPr>
        <p:spPr>
          <a:xfrm>
            <a:off x="13979331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0" name="Овал 129">
            <a:extLst>
              <a:ext uri="{FF2B5EF4-FFF2-40B4-BE49-F238E27FC236}">
                <a16:creationId xmlns:a16="http://schemas.microsoft.com/office/drawing/2014/main" id="{A4DBC8A8-01F6-19AC-59A2-C8A63174C401}"/>
              </a:ext>
            </a:extLst>
          </p:cNvPr>
          <p:cNvSpPr/>
          <p:nvPr/>
        </p:nvSpPr>
        <p:spPr>
          <a:xfrm>
            <a:off x="15102390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1" name="Овал 130">
            <a:extLst>
              <a:ext uri="{FF2B5EF4-FFF2-40B4-BE49-F238E27FC236}">
                <a16:creationId xmlns:a16="http://schemas.microsoft.com/office/drawing/2014/main" id="{F9629839-2287-F0E4-F176-16F6C40C7B3A}"/>
              </a:ext>
            </a:extLst>
          </p:cNvPr>
          <p:cNvSpPr/>
          <p:nvPr/>
        </p:nvSpPr>
        <p:spPr>
          <a:xfrm>
            <a:off x="16225448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2" name="Овал 131">
            <a:extLst>
              <a:ext uri="{FF2B5EF4-FFF2-40B4-BE49-F238E27FC236}">
                <a16:creationId xmlns:a16="http://schemas.microsoft.com/office/drawing/2014/main" id="{95085AE9-2F0C-58AF-2E7A-B55D342518EF}"/>
              </a:ext>
            </a:extLst>
          </p:cNvPr>
          <p:cNvSpPr/>
          <p:nvPr/>
        </p:nvSpPr>
        <p:spPr>
          <a:xfrm>
            <a:off x="17348507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3" name="Овал 132">
            <a:extLst>
              <a:ext uri="{FF2B5EF4-FFF2-40B4-BE49-F238E27FC236}">
                <a16:creationId xmlns:a16="http://schemas.microsoft.com/office/drawing/2014/main" id="{AFC14C72-E0D7-6966-1C2A-ED67C032B567}"/>
              </a:ext>
            </a:extLst>
          </p:cNvPr>
          <p:cNvSpPr/>
          <p:nvPr/>
        </p:nvSpPr>
        <p:spPr>
          <a:xfrm>
            <a:off x="18471565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4" name="Овал 133">
            <a:extLst>
              <a:ext uri="{FF2B5EF4-FFF2-40B4-BE49-F238E27FC236}">
                <a16:creationId xmlns:a16="http://schemas.microsoft.com/office/drawing/2014/main" id="{9444F1BA-B145-4A4F-10DE-96CDE9009370}"/>
              </a:ext>
            </a:extLst>
          </p:cNvPr>
          <p:cNvSpPr/>
          <p:nvPr/>
        </p:nvSpPr>
        <p:spPr>
          <a:xfrm>
            <a:off x="19594622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5" name="Овал 134">
            <a:extLst>
              <a:ext uri="{FF2B5EF4-FFF2-40B4-BE49-F238E27FC236}">
                <a16:creationId xmlns:a16="http://schemas.microsoft.com/office/drawing/2014/main" id="{55F2DB08-509A-D019-9E3D-614EDA1E1ACA}"/>
              </a:ext>
            </a:extLst>
          </p:cNvPr>
          <p:cNvSpPr/>
          <p:nvPr/>
        </p:nvSpPr>
        <p:spPr>
          <a:xfrm>
            <a:off x="20717682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6" name="Овал 135">
            <a:extLst>
              <a:ext uri="{FF2B5EF4-FFF2-40B4-BE49-F238E27FC236}">
                <a16:creationId xmlns:a16="http://schemas.microsoft.com/office/drawing/2014/main" id="{3D229968-1749-EEC0-06AE-21D13A3E01C9}"/>
              </a:ext>
            </a:extLst>
          </p:cNvPr>
          <p:cNvSpPr/>
          <p:nvPr/>
        </p:nvSpPr>
        <p:spPr>
          <a:xfrm>
            <a:off x="21840739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7" name="Овал 136">
            <a:extLst>
              <a:ext uri="{FF2B5EF4-FFF2-40B4-BE49-F238E27FC236}">
                <a16:creationId xmlns:a16="http://schemas.microsoft.com/office/drawing/2014/main" id="{89828DE4-52A3-228E-E2D6-CB05C0BC3FC0}"/>
              </a:ext>
            </a:extLst>
          </p:cNvPr>
          <p:cNvSpPr/>
          <p:nvPr/>
        </p:nvSpPr>
        <p:spPr>
          <a:xfrm>
            <a:off x="12856273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8" name="Овал 137">
            <a:extLst>
              <a:ext uri="{FF2B5EF4-FFF2-40B4-BE49-F238E27FC236}">
                <a16:creationId xmlns:a16="http://schemas.microsoft.com/office/drawing/2014/main" id="{C87991FC-B91C-8F5B-8AC6-DEE1CBC062D4}"/>
              </a:ext>
            </a:extLst>
          </p:cNvPr>
          <p:cNvSpPr/>
          <p:nvPr/>
        </p:nvSpPr>
        <p:spPr>
          <a:xfrm>
            <a:off x="13979331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9" name="Овал 138">
            <a:extLst>
              <a:ext uri="{FF2B5EF4-FFF2-40B4-BE49-F238E27FC236}">
                <a16:creationId xmlns:a16="http://schemas.microsoft.com/office/drawing/2014/main" id="{BE918774-EB86-DECC-9E49-820EC79ECA50}"/>
              </a:ext>
            </a:extLst>
          </p:cNvPr>
          <p:cNvSpPr/>
          <p:nvPr/>
        </p:nvSpPr>
        <p:spPr>
          <a:xfrm>
            <a:off x="15102390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0" name="Овал 139">
            <a:extLst>
              <a:ext uri="{FF2B5EF4-FFF2-40B4-BE49-F238E27FC236}">
                <a16:creationId xmlns:a16="http://schemas.microsoft.com/office/drawing/2014/main" id="{BE77591E-F039-59A6-82C0-F5262874528B}"/>
              </a:ext>
            </a:extLst>
          </p:cNvPr>
          <p:cNvSpPr/>
          <p:nvPr/>
        </p:nvSpPr>
        <p:spPr>
          <a:xfrm>
            <a:off x="16225448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1" name="Овал 140">
            <a:extLst>
              <a:ext uri="{FF2B5EF4-FFF2-40B4-BE49-F238E27FC236}">
                <a16:creationId xmlns:a16="http://schemas.microsoft.com/office/drawing/2014/main" id="{68C01994-61DB-F5B4-ACB6-D3AFE9F422F5}"/>
              </a:ext>
            </a:extLst>
          </p:cNvPr>
          <p:cNvSpPr/>
          <p:nvPr/>
        </p:nvSpPr>
        <p:spPr>
          <a:xfrm>
            <a:off x="17348507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2" name="Овал 141">
            <a:extLst>
              <a:ext uri="{FF2B5EF4-FFF2-40B4-BE49-F238E27FC236}">
                <a16:creationId xmlns:a16="http://schemas.microsoft.com/office/drawing/2014/main" id="{4E0C9A0C-D961-9955-19C3-9458E50DB3CD}"/>
              </a:ext>
            </a:extLst>
          </p:cNvPr>
          <p:cNvSpPr/>
          <p:nvPr/>
        </p:nvSpPr>
        <p:spPr>
          <a:xfrm>
            <a:off x="18471565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3" name="Овал 142">
            <a:extLst>
              <a:ext uri="{FF2B5EF4-FFF2-40B4-BE49-F238E27FC236}">
                <a16:creationId xmlns:a16="http://schemas.microsoft.com/office/drawing/2014/main" id="{251C166D-5E2D-4373-B79A-35F7A85D4A2E}"/>
              </a:ext>
            </a:extLst>
          </p:cNvPr>
          <p:cNvSpPr/>
          <p:nvPr/>
        </p:nvSpPr>
        <p:spPr>
          <a:xfrm>
            <a:off x="19594622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4" name="Овал 143">
            <a:extLst>
              <a:ext uri="{FF2B5EF4-FFF2-40B4-BE49-F238E27FC236}">
                <a16:creationId xmlns:a16="http://schemas.microsoft.com/office/drawing/2014/main" id="{C8093353-E5E8-689C-3850-F4AF321F6EF0}"/>
              </a:ext>
            </a:extLst>
          </p:cNvPr>
          <p:cNvSpPr/>
          <p:nvPr/>
        </p:nvSpPr>
        <p:spPr>
          <a:xfrm>
            <a:off x="20717682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5" name="Овал 144">
            <a:extLst>
              <a:ext uri="{FF2B5EF4-FFF2-40B4-BE49-F238E27FC236}">
                <a16:creationId xmlns:a16="http://schemas.microsoft.com/office/drawing/2014/main" id="{860F21D1-0991-BDB0-6D5D-AFEC90F45E19}"/>
              </a:ext>
            </a:extLst>
          </p:cNvPr>
          <p:cNvSpPr/>
          <p:nvPr/>
        </p:nvSpPr>
        <p:spPr>
          <a:xfrm>
            <a:off x="21840739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6" name="Овал 145">
            <a:extLst>
              <a:ext uri="{FF2B5EF4-FFF2-40B4-BE49-F238E27FC236}">
                <a16:creationId xmlns:a16="http://schemas.microsoft.com/office/drawing/2014/main" id="{F075638F-5FFF-A264-71BB-1C823C206C88}"/>
              </a:ext>
            </a:extLst>
          </p:cNvPr>
          <p:cNvSpPr/>
          <p:nvPr/>
        </p:nvSpPr>
        <p:spPr>
          <a:xfrm>
            <a:off x="11728513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7" name="Овал 146">
            <a:extLst>
              <a:ext uri="{FF2B5EF4-FFF2-40B4-BE49-F238E27FC236}">
                <a16:creationId xmlns:a16="http://schemas.microsoft.com/office/drawing/2014/main" id="{E6081663-65E7-64CB-6BB4-A5582633B4B5}"/>
              </a:ext>
            </a:extLst>
          </p:cNvPr>
          <p:cNvSpPr/>
          <p:nvPr/>
        </p:nvSpPr>
        <p:spPr>
          <a:xfrm>
            <a:off x="11728513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8" name="Овал 147">
            <a:extLst>
              <a:ext uri="{FF2B5EF4-FFF2-40B4-BE49-F238E27FC236}">
                <a16:creationId xmlns:a16="http://schemas.microsoft.com/office/drawing/2014/main" id="{AF346F41-468E-7518-5E41-49CB3A6D8908}"/>
              </a:ext>
            </a:extLst>
          </p:cNvPr>
          <p:cNvSpPr/>
          <p:nvPr/>
        </p:nvSpPr>
        <p:spPr>
          <a:xfrm>
            <a:off x="12856273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9" name="Овал 148">
            <a:extLst>
              <a:ext uri="{FF2B5EF4-FFF2-40B4-BE49-F238E27FC236}">
                <a16:creationId xmlns:a16="http://schemas.microsoft.com/office/drawing/2014/main" id="{CDCD7B5D-099A-87F6-8FFD-C63C8A776284}"/>
              </a:ext>
            </a:extLst>
          </p:cNvPr>
          <p:cNvSpPr/>
          <p:nvPr/>
        </p:nvSpPr>
        <p:spPr>
          <a:xfrm>
            <a:off x="13979331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0" name="Овал 149">
            <a:extLst>
              <a:ext uri="{FF2B5EF4-FFF2-40B4-BE49-F238E27FC236}">
                <a16:creationId xmlns:a16="http://schemas.microsoft.com/office/drawing/2014/main" id="{42352E8D-3A8C-07BC-292A-2031FB91FED4}"/>
              </a:ext>
            </a:extLst>
          </p:cNvPr>
          <p:cNvSpPr/>
          <p:nvPr/>
        </p:nvSpPr>
        <p:spPr>
          <a:xfrm>
            <a:off x="15102390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1" name="Овал 150">
            <a:extLst>
              <a:ext uri="{FF2B5EF4-FFF2-40B4-BE49-F238E27FC236}">
                <a16:creationId xmlns:a16="http://schemas.microsoft.com/office/drawing/2014/main" id="{C574FB3E-3829-59D3-EDFF-673C4918D973}"/>
              </a:ext>
            </a:extLst>
          </p:cNvPr>
          <p:cNvSpPr/>
          <p:nvPr/>
        </p:nvSpPr>
        <p:spPr>
          <a:xfrm>
            <a:off x="16225448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2" name="Овал 151">
            <a:extLst>
              <a:ext uri="{FF2B5EF4-FFF2-40B4-BE49-F238E27FC236}">
                <a16:creationId xmlns:a16="http://schemas.microsoft.com/office/drawing/2014/main" id="{891ADB9E-45C0-4D12-474A-2BF4520A19A7}"/>
              </a:ext>
            </a:extLst>
          </p:cNvPr>
          <p:cNvSpPr/>
          <p:nvPr/>
        </p:nvSpPr>
        <p:spPr>
          <a:xfrm>
            <a:off x="17348507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3" name="Овал 152">
            <a:extLst>
              <a:ext uri="{FF2B5EF4-FFF2-40B4-BE49-F238E27FC236}">
                <a16:creationId xmlns:a16="http://schemas.microsoft.com/office/drawing/2014/main" id="{C8E964EB-DF7A-9426-8B75-915C3FEF81E3}"/>
              </a:ext>
            </a:extLst>
          </p:cNvPr>
          <p:cNvSpPr/>
          <p:nvPr/>
        </p:nvSpPr>
        <p:spPr>
          <a:xfrm>
            <a:off x="18471565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4" name="Овал 153">
            <a:extLst>
              <a:ext uri="{FF2B5EF4-FFF2-40B4-BE49-F238E27FC236}">
                <a16:creationId xmlns:a16="http://schemas.microsoft.com/office/drawing/2014/main" id="{691725EC-A4C7-68E7-0177-ABFD280E67A8}"/>
              </a:ext>
            </a:extLst>
          </p:cNvPr>
          <p:cNvSpPr/>
          <p:nvPr/>
        </p:nvSpPr>
        <p:spPr>
          <a:xfrm>
            <a:off x="19594622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5" name="Овал 154">
            <a:extLst>
              <a:ext uri="{FF2B5EF4-FFF2-40B4-BE49-F238E27FC236}">
                <a16:creationId xmlns:a16="http://schemas.microsoft.com/office/drawing/2014/main" id="{6B23A39D-40C5-EAAD-0CE5-35BD777308F6}"/>
              </a:ext>
            </a:extLst>
          </p:cNvPr>
          <p:cNvSpPr/>
          <p:nvPr/>
        </p:nvSpPr>
        <p:spPr>
          <a:xfrm>
            <a:off x="20717682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6" name="Овал 155">
            <a:extLst>
              <a:ext uri="{FF2B5EF4-FFF2-40B4-BE49-F238E27FC236}">
                <a16:creationId xmlns:a16="http://schemas.microsoft.com/office/drawing/2014/main" id="{B3F55F8F-C1D3-13E9-9B28-DFD57E966F9A}"/>
              </a:ext>
            </a:extLst>
          </p:cNvPr>
          <p:cNvSpPr/>
          <p:nvPr/>
        </p:nvSpPr>
        <p:spPr>
          <a:xfrm>
            <a:off x="21840739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7" name="Овал 156">
            <a:extLst>
              <a:ext uri="{FF2B5EF4-FFF2-40B4-BE49-F238E27FC236}">
                <a16:creationId xmlns:a16="http://schemas.microsoft.com/office/drawing/2014/main" id="{3394E237-0071-E703-04AA-B144101AC175}"/>
              </a:ext>
            </a:extLst>
          </p:cNvPr>
          <p:cNvSpPr/>
          <p:nvPr/>
        </p:nvSpPr>
        <p:spPr>
          <a:xfrm>
            <a:off x="12856273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8" name="Овал 157">
            <a:extLst>
              <a:ext uri="{FF2B5EF4-FFF2-40B4-BE49-F238E27FC236}">
                <a16:creationId xmlns:a16="http://schemas.microsoft.com/office/drawing/2014/main" id="{D261CDE1-7A57-3517-C60F-0938244D0C7A}"/>
              </a:ext>
            </a:extLst>
          </p:cNvPr>
          <p:cNvSpPr/>
          <p:nvPr/>
        </p:nvSpPr>
        <p:spPr>
          <a:xfrm>
            <a:off x="13979331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9" name="Овал 158">
            <a:extLst>
              <a:ext uri="{FF2B5EF4-FFF2-40B4-BE49-F238E27FC236}">
                <a16:creationId xmlns:a16="http://schemas.microsoft.com/office/drawing/2014/main" id="{FBE3A724-8376-6B8C-3C37-3EC21386382E}"/>
              </a:ext>
            </a:extLst>
          </p:cNvPr>
          <p:cNvSpPr/>
          <p:nvPr/>
        </p:nvSpPr>
        <p:spPr>
          <a:xfrm>
            <a:off x="15102390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0" name="Овал 159">
            <a:extLst>
              <a:ext uri="{FF2B5EF4-FFF2-40B4-BE49-F238E27FC236}">
                <a16:creationId xmlns:a16="http://schemas.microsoft.com/office/drawing/2014/main" id="{EC7773CF-E04E-08BC-A776-B1812A520DB8}"/>
              </a:ext>
            </a:extLst>
          </p:cNvPr>
          <p:cNvSpPr/>
          <p:nvPr/>
        </p:nvSpPr>
        <p:spPr>
          <a:xfrm>
            <a:off x="16225448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1" name="Овал 160">
            <a:extLst>
              <a:ext uri="{FF2B5EF4-FFF2-40B4-BE49-F238E27FC236}">
                <a16:creationId xmlns:a16="http://schemas.microsoft.com/office/drawing/2014/main" id="{A7DCEEA2-94E8-47B7-56A7-B07C28086BA3}"/>
              </a:ext>
            </a:extLst>
          </p:cNvPr>
          <p:cNvSpPr/>
          <p:nvPr/>
        </p:nvSpPr>
        <p:spPr>
          <a:xfrm>
            <a:off x="17348507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2" name="Овал 161">
            <a:extLst>
              <a:ext uri="{FF2B5EF4-FFF2-40B4-BE49-F238E27FC236}">
                <a16:creationId xmlns:a16="http://schemas.microsoft.com/office/drawing/2014/main" id="{5690034B-6D9D-9256-0E01-64EC7E589B9A}"/>
              </a:ext>
            </a:extLst>
          </p:cNvPr>
          <p:cNvSpPr/>
          <p:nvPr/>
        </p:nvSpPr>
        <p:spPr>
          <a:xfrm>
            <a:off x="18471565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3" name="Овал 162">
            <a:extLst>
              <a:ext uri="{FF2B5EF4-FFF2-40B4-BE49-F238E27FC236}">
                <a16:creationId xmlns:a16="http://schemas.microsoft.com/office/drawing/2014/main" id="{D980F956-2117-6ACE-80F0-7723420290AE}"/>
              </a:ext>
            </a:extLst>
          </p:cNvPr>
          <p:cNvSpPr/>
          <p:nvPr/>
        </p:nvSpPr>
        <p:spPr>
          <a:xfrm>
            <a:off x="19594622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4" name="Овал 163">
            <a:extLst>
              <a:ext uri="{FF2B5EF4-FFF2-40B4-BE49-F238E27FC236}">
                <a16:creationId xmlns:a16="http://schemas.microsoft.com/office/drawing/2014/main" id="{893C3ABB-CFCC-87BA-ADB6-E1B6DB3B0ACB}"/>
              </a:ext>
            </a:extLst>
          </p:cNvPr>
          <p:cNvSpPr/>
          <p:nvPr/>
        </p:nvSpPr>
        <p:spPr>
          <a:xfrm>
            <a:off x="20717682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5" name="Овал 164">
            <a:extLst>
              <a:ext uri="{FF2B5EF4-FFF2-40B4-BE49-F238E27FC236}">
                <a16:creationId xmlns:a16="http://schemas.microsoft.com/office/drawing/2014/main" id="{591D40B7-44C9-50D5-75AE-0AE413CFB1C2}"/>
              </a:ext>
            </a:extLst>
          </p:cNvPr>
          <p:cNvSpPr/>
          <p:nvPr/>
        </p:nvSpPr>
        <p:spPr>
          <a:xfrm>
            <a:off x="21840739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6" name="Овал 165">
            <a:extLst>
              <a:ext uri="{FF2B5EF4-FFF2-40B4-BE49-F238E27FC236}">
                <a16:creationId xmlns:a16="http://schemas.microsoft.com/office/drawing/2014/main" id="{29F78BDE-3428-32B4-28E4-A8BC17E424C6}"/>
              </a:ext>
            </a:extLst>
          </p:cNvPr>
          <p:cNvSpPr/>
          <p:nvPr/>
        </p:nvSpPr>
        <p:spPr>
          <a:xfrm>
            <a:off x="11728513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7" name="Овал 166">
            <a:extLst>
              <a:ext uri="{FF2B5EF4-FFF2-40B4-BE49-F238E27FC236}">
                <a16:creationId xmlns:a16="http://schemas.microsoft.com/office/drawing/2014/main" id="{AC71637F-1E17-014A-EF0D-E52A4CB88A91}"/>
              </a:ext>
            </a:extLst>
          </p:cNvPr>
          <p:cNvSpPr/>
          <p:nvPr/>
        </p:nvSpPr>
        <p:spPr>
          <a:xfrm>
            <a:off x="11728513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8" name="Овал 167">
            <a:extLst>
              <a:ext uri="{FF2B5EF4-FFF2-40B4-BE49-F238E27FC236}">
                <a16:creationId xmlns:a16="http://schemas.microsoft.com/office/drawing/2014/main" id="{264447F6-D0CC-6984-AEB8-BE8F57ACA711}"/>
              </a:ext>
            </a:extLst>
          </p:cNvPr>
          <p:cNvSpPr/>
          <p:nvPr/>
        </p:nvSpPr>
        <p:spPr>
          <a:xfrm>
            <a:off x="12834888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9" name="Овал 168">
            <a:extLst>
              <a:ext uri="{FF2B5EF4-FFF2-40B4-BE49-F238E27FC236}">
                <a16:creationId xmlns:a16="http://schemas.microsoft.com/office/drawing/2014/main" id="{F467CE59-2CE4-9062-25E4-451CD10A0DF7}"/>
              </a:ext>
            </a:extLst>
          </p:cNvPr>
          <p:cNvSpPr/>
          <p:nvPr/>
        </p:nvSpPr>
        <p:spPr>
          <a:xfrm>
            <a:off x="13957946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0" name="Овал 169">
            <a:extLst>
              <a:ext uri="{FF2B5EF4-FFF2-40B4-BE49-F238E27FC236}">
                <a16:creationId xmlns:a16="http://schemas.microsoft.com/office/drawing/2014/main" id="{D16AD399-AE19-8CED-1D7C-F96680C8CBDD}"/>
              </a:ext>
            </a:extLst>
          </p:cNvPr>
          <p:cNvSpPr/>
          <p:nvPr/>
        </p:nvSpPr>
        <p:spPr>
          <a:xfrm>
            <a:off x="15081005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1" name="Овал 170">
            <a:extLst>
              <a:ext uri="{FF2B5EF4-FFF2-40B4-BE49-F238E27FC236}">
                <a16:creationId xmlns:a16="http://schemas.microsoft.com/office/drawing/2014/main" id="{982712CC-585B-7F00-349A-BA0CF7A7C964}"/>
              </a:ext>
            </a:extLst>
          </p:cNvPr>
          <p:cNvSpPr/>
          <p:nvPr/>
        </p:nvSpPr>
        <p:spPr>
          <a:xfrm>
            <a:off x="16204063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2" name="Овал 171">
            <a:extLst>
              <a:ext uri="{FF2B5EF4-FFF2-40B4-BE49-F238E27FC236}">
                <a16:creationId xmlns:a16="http://schemas.microsoft.com/office/drawing/2014/main" id="{78DF0460-FB1E-A347-494F-22B9927134C2}"/>
              </a:ext>
            </a:extLst>
          </p:cNvPr>
          <p:cNvSpPr/>
          <p:nvPr/>
        </p:nvSpPr>
        <p:spPr>
          <a:xfrm>
            <a:off x="17327122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3" name="Овал 172">
            <a:extLst>
              <a:ext uri="{FF2B5EF4-FFF2-40B4-BE49-F238E27FC236}">
                <a16:creationId xmlns:a16="http://schemas.microsoft.com/office/drawing/2014/main" id="{E86B28CC-B4CF-950A-43BD-861E9D289150}"/>
              </a:ext>
            </a:extLst>
          </p:cNvPr>
          <p:cNvSpPr/>
          <p:nvPr/>
        </p:nvSpPr>
        <p:spPr>
          <a:xfrm>
            <a:off x="18450180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4" name="Овал 173">
            <a:extLst>
              <a:ext uri="{FF2B5EF4-FFF2-40B4-BE49-F238E27FC236}">
                <a16:creationId xmlns:a16="http://schemas.microsoft.com/office/drawing/2014/main" id="{0D1B6302-95B4-2F30-9CB9-92F47AFE3862}"/>
              </a:ext>
            </a:extLst>
          </p:cNvPr>
          <p:cNvSpPr/>
          <p:nvPr/>
        </p:nvSpPr>
        <p:spPr>
          <a:xfrm>
            <a:off x="19573237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5" name="Овал 174">
            <a:extLst>
              <a:ext uri="{FF2B5EF4-FFF2-40B4-BE49-F238E27FC236}">
                <a16:creationId xmlns:a16="http://schemas.microsoft.com/office/drawing/2014/main" id="{AD1C7D15-B2E3-8E7C-C7C7-79C8B37EA17A}"/>
              </a:ext>
            </a:extLst>
          </p:cNvPr>
          <p:cNvSpPr/>
          <p:nvPr/>
        </p:nvSpPr>
        <p:spPr>
          <a:xfrm>
            <a:off x="20696297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6" name="Овал 175">
            <a:extLst>
              <a:ext uri="{FF2B5EF4-FFF2-40B4-BE49-F238E27FC236}">
                <a16:creationId xmlns:a16="http://schemas.microsoft.com/office/drawing/2014/main" id="{F9A37E23-012D-B127-36A1-B38F027F5950}"/>
              </a:ext>
            </a:extLst>
          </p:cNvPr>
          <p:cNvSpPr/>
          <p:nvPr/>
        </p:nvSpPr>
        <p:spPr>
          <a:xfrm>
            <a:off x="21819354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7" name="Овал 176">
            <a:extLst>
              <a:ext uri="{FF2B5EF4-FFF2-40B4-BE49-F238E27FC236}">
                <a16:creationId xmlns:a16="http://schemas.microsoft.com/office/drawing/2014/main" id="{3CA3B163-A9DA-8A9D-11A8-712D783CE340}"/>
              </a:ext>
            </a:extLst>
          </p:cNvPr>
          <p:cNvSpPr/>
          <p:nvPr/>
        </p:nvSpPr>
        <p:spPr>
          <a:xfrm>
            <a:off x="12834888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8" name="Овал 177">
            <a:extLst>
              <a:ext uri="{FF2B5EF4-FFF2-40B4-BE49-F238E27FC236}">
                <a16:creationId xmlns:a16="http://schemas.microsoft.com/office/drawing/2014/main" id="{9D5F1B6F-2ADD-D567-7DBA-2802471C9E99}"/>
              </a:ext>
            </a:extLst>
          </p:cNvPr>
          <p:cNvSpPr/>
          <p:nvPr/>
        </p:nvSpPr>
        <p:spPr>
          <a:xfrm>
            <a:off x="13957946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9" name="Овал 178">
            <a:extLst>
              <a:ext uri="{FF2B5EF4-FFF2-40B4-BE49-F238E27FC236}">
                <a16:creationId xmlns:a16="http://schemas.microsoft.com/office/drawing/2014/main" id="{CE432551-7AEC-AAE7-A668-F6F99727B4C5}"/>
              </a:ext>
            </a:extLst>
          </p:cNvPr>
          <p:cNvSpPr/>
          <p:nvPr/>
        </p:nvSpPr>
        <p:spPr>
          <a:xfrm>
            <a:off x="15081005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0" name="Овал 179">
            <a:extLst>
              <a:ext uri="{FF2B5EF4-FFF2-40B4-BE49-F238E27FC236}">
                <a16:creationId xmlns:a16="http://schemas.microsoft.com/office/drawing/2014/main" id="{8BDB1A33-7A5D-5BCF-D7C4-C5637F195BC3}"/>
              </a:ext>
            </a:extLst>
          </p:cNvPr>
          <p:cNvSpPr/>
          <p:nvPr/>
        </p:nvSpPr>
        <p:spPr>
          <a:xfrm>
            <a:off x="16204063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1" name="Овал 180">
            <a:extLst>
              <a:ext uri="{FF2B5EF4-FFF2-40B4-BE49-F238E27FC236}">
                <a16:creationId xmlns:a16="http://schemas.microsoft.com/office/drawing/2014/main" id="{97CE4E45-2934-773C-61FF-1FF4A8B55478}"/>
              </a:ext>
            </a:extLst>
          </p:cNvPr>
          <p:cNvSpPr/>
          <p:nvPr/>
        </p:nvSpPr>
        <p:spPr>
          <a:xfrm>
            <a:off x="17327122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2" name="Овал 181">
            <a:extLst>
              <a:ext uri="{FF2B5EF4-FFF2-40B4-BE49-F238E27FC236}">
                <a16:creationId xmlns:a16="http://schemas.microsoft.com/office/drawing/2014/main" id="{1F2C2903-9679-B81D-479D-D380824713BB}"/>
              </a:ext>
            </a:extLst>
          </p:cNvPr>
          <p:cNvSpPr/>
          <p:nvPr/>
        </p:nvSpPr>
        <p:spPr>
          <a:xfrm>
            <a:off x="18450180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3" name="Овал 182">
            <a:extLst>
              <a:ext uri="{FF2B5EF4-FFF2-40B4-BE49-F238E27FC236}">
                <a16:creationId xmlns:a16="http://schemas.microsoft.com/office/drawing/2014/main" id="{EF66532A-9AAD-DA6A-EC92-FD53290EE348}"/>
              </a:ext>
            </a:extLst>
          </p:cNvPr>
          <p:cNvSpPr/>
          <p:nvPr/>
        </p:nvSpPr>
        <p:spPr>
          <a:xfrm>
            <a:off x="19573237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4" name="Овал 183">
            <a:extLst>
              <a:ext uri="{FF2B5EF4-FFF2-40B4-BE49-F238E27FC236}">
                <a16:creationId xmlns:a16="http://schemas.microsoft.com/office/drawing/2014/main" id="{455F600D-F84F-EFAE-9B23-0C342DA18F5C}"/>
              </a:ext>
            </a:extLst>
          </p:cNvPr>
          <p:cNvSpPr/>
          <p:nvPr/>
        </p:nvSpPr>
        <p:spPr>
          <a:xfrm>
            <a:off x="20696297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5" name="Овал 184">
            <a:extLst>
              <a:ext uri="{FF2B5EF4-FFF2-40B4-BE49-F238E27FC236}">
                <a16:creationId xmlns:a16="http://schemas.microsoft.com/office/drawing/2014/main" id="{0318365A-F07B-EF20-FCEE-01B154FA4AC2}"/>
              </a:ext>
            </a:extLst>
          </p:cNvPr>
          <p:cNvSpPr/>
          <p:nvPr/>
        </p:nvSpPr>
        <p:spPr>
          <a:xfrm>
            <a:off x="21819354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6" name="Овал 185">
            <a:extLst>
              <a:ext uri="{FF2B5EF4-FFF2-40B4-BE49-F238E27FC236}">
                <a16:creationId xmlns:a16="http://schemas.microsoft.com/office/drawing/2014/main" id="{06F37AEF-11C9-BF4E-BA8B-D9DE6E4F2365}"/>
              </a:ext>
            </a:extLst>
          </p:cNvPr>
          <p:cNvSpPr/>
          <p:nvPr/>
        </p:nvSpPr>
        <p:spPr>
          <a:xfrm>
            <a:off x="11707128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7" name="Овал 186">
            <a:extLst>
              <a:ext uri="{FF2B5EF4-FFF2-40B4-BE49-F238E27FC236}">
                <a16:creationId xmlns:a16="http://schemas.microsoft.com/office/drawing/2014/main" id="{D85E18AF-6C01-B8FE-5EEA-60D4215D3FAD}"/>
              </a:ext>
            </a:extLst>
          </p:cNvPr>
          <p:cNvSpPr/>
          <p:nvPr/>
        </p:nvSpPr>
        <p:spPr>
          <a:xfrm>
            <a:off x="11707128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6AC9DCA-1678-3FAB-E1B8-4BDB76C49D6F}"/>
              </a:ext>
            </a:extLst>
          </p:cNvPr>
          <p:cNvSpPr txBox="1"/>
          <p:nvPr/>
        </p:nvSpPr>
        <p:spPr>
          <a:xfrm>
            <a:off x="1413983" y="3587702"/>
            <a:ext cx="8196619" cy="123110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  <a:defRPr/>
            </a:pPr>
            <a:r>
              <a:rPr lang="ru-RU" sz="4000" dirty="0">
                <a:solidFill>
                  <a:srgbClr val="A0AFC8"/>
                </a:solidFill>
                <a:latin typeface="YS Text Regular"/>
                <a:sym typeface="Arial"/>
              </a:rPr>
              <a:t>будет составлять объём рынка онлайн-транзакций к 2030 году</a:t>
            </a:r>
            <a:endParaRPr lang="ru-RU" sz="4000" dirty="0">
              <a:solidFill>
                <a:srgbClr val="A0AFC8"/>
              </a:solidFill>
              <a:latin typeface="YS Text Regular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540A32-00FF-25C4-D47B-6A47E68D46F3}"/>
              </a:ext>
            </a:extLst>
          </p:cNvPr>
          <p:cNvSpPr txBox="1"/>
          <p:nvPr/>
        </p:nvSpPr>
        <p:spPr>
          <a:xfrm>
            <a:off x="1413983" y="1217614"/>
            <a:ext cx="8312312" cy="24622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&gt;30 </a:t>
            </a:r>
            <a:r>
              <a:rPr kumimoji="0" lang="ru-RU" sz="7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трлн руб.</a:t>
            </a:r>
          </a:p>
        </p:txBody>
      </p:sp>
    </p:spTree>
    <p:extLst>
      <p:ext uri="{BB962C8B-B14F-4D97-AF65-F5344CB8AC3E}">
        <p14:creationId xmlns:p14="http://schemas.microsoft.com/office/powerpoint/2010/main" val="17906867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517910-758E-304A-FA23-92E7FA39CF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Текст 33">
            <a:extLst>
              <a:ext uri="{FF2B5EF4-FFF2-40B4-BE49-F238E27FC236}">
                <a16:creationId xmlns:a16="http://schemas.microsoft.com/office/drawing/2014/main" id="{208332E3-022E-9FBC-95AD-13C2FBFEE9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369600"/>
            <a:ext cx="8169138" cy="317972"/>
          </a:xfrm>
        </p:spPr>
        <p:txBody>
          <a:bodyPr/>
          <a:lstStyle/>
          <a:p>
            <a:r>
              <a:rPr lang="ru-RU" dirty="0"/>
              <a:t>Данные Яндекса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BA5EFEBA-C627-C16E-6AD4-93997A553AE0}"/>
              </a:ext>
            </a:extLst>
          </p:cNvPr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tIns="46800" rIns="90000" bIns="4680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00" b="0" i="0" u="none" strike="noStrike" kern="1200" cap="none" spc="0" normalizeH="0" baseline="0" noProof="0">
                <a:ln>
                  <a:noFill/>
                </a:ln>
                <a:solidFill>
                  <a:srgbClr val="0F141E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&lt;!rd:12118.139.18819943/!&gt;</a:t>
            </a: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97A3B600-DE1F-0EE6-F953-592F6CF2324F}"/>
              </a:ext>
            </a:extLst>
          </p:cNvPr>
          <p:cNvSpPr/>
          <p:nvPr/>
        </p:nvSpPr>
        <p:spPr>
          <a:xfrm>
            <a:off x="12856273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262B275C-1EC2-19A9-13D6-3581811FA1B4}"/>
              </a:ext>
            </a:extLst>
          </p:cNvPr>
          <p:cNvSpPr/>
          <p:nvPr/>
        </p:nvSpPr>
        <p:spPr>
          <a:xfrm>
            <a:off x="13979331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12EC6927-66D4-1937-3218-058444C32A94}"/>
              </a:ext>
            </a:extLst>
          </p:cNvPr>
          <p:cNvSpPr/>
          <p:nvPr/>
        </p:nvSpPr>
        <p:spPr>
          <a:xfrm>
            <a:off x="15102390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C3A66BC4-8A9F-247E-D9E0-35E6C811E782}"/>
              </a:ext>
            </a:extLst>
          </p:cNvPr>
          <p:cNvSpPr/>
          <p:nvPr/>
        </p:nvSpPr>
        <p:spPr>
          <a:xfrm>
            <a:off x="16225448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74F90045-B802-7C5F-2C33-0C6C8DFD4AC4}"/>
              </a:ext>
            </a:extLst>
          </p:cNvPr>
          <p:cNvSpPr/>
          <p:nvPr/>
        </p:nvSpPr>
        <p:spPr>
          <a:xfrm>
            <a:off x="17348507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197FFF13-17A8-9378-418A-3D5F45A00A18}"/>
              </a:ext>
            </a:extLst>
          </p:cNvPr>
          <p:cNvSpPr/>
          <p:nvPr/>
        </p:nvSpPr>
        <p:spPr>
          <a:xfrm>
            <a:off x="18471565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131FEBF9-CBFC-3CB1-88AD-D6E91F6F6CFB}"/>
              </a:ext>
            </a:extLst>
          </p:cNvPr>
          <p:cNvSpPr/>
          <p:nvPr/>
        </p:nvSpPr>
        <p:spPr>
          <a:xfrm>
            <a:off x="19594622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9DD3F93F-2AD5-401C-AC8E-D2BB009058D6}"/>
              </a:ext>
            </a:extLst>
          </p:cNvPr>
          <p:cNvSpPr/>
          <p:nvPr/>
        </p:nvSpPr>
        <p:spPr>
          <a:xfrm>
            <a:off x="20717682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45E59559-63FE-0894-F3E1-F659BBE0E567}"/>
              </a:ext>
            </a:extLst>
          </p:cNvPr>
          <p:cNvSpPr/>
          <p:nvPr/>
        </p:nvSpPr>
        <p:spPr>
          <a:xfrm>
            <a:off x="21840739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1AE03A8B-7790-581A-5B08-E9A7E4D7FB7E}"/>
              </a:ext>
            </a:extLst>
          </p:cNvPr>
          <p:cNvSpPr/>
          <p:nvPr/>
        </p:nvSpPr>
        <p:spPr>
          <a:xfrm>
            <a:off x="12856273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839FB7F8-1772-ECB0-A115-FC4DEE3F4269}"/>
              </a:ext>
            </a:extLst>
          </p:cNvPr>
          <p:cNvSpPr/>
          <p:nvPr/>
        </p:nvSpPr>
        <p:spPr>
          <a:xfrm>
            <a:off x="13979331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7C160C32-9431-06A2-E240-0BE3BDC993BC}"/>
              </a:ext>
            </a:extLst>
          </p:cNvPr>
          <p:cNvSpPr/>
          <p:nvPr/>
        </p:nvSpPr>
        <p:spPr>
          <a:xfrm>
            <a:off x="15102390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AEB14732-8793-9690-164B-8430077DE4BF}"/>
              </a:ext>
            </a:extLst>
          </p:cNvPr>
          <p:cNvSpPr/>
          <p:nvPr/>
        </p:nvSpPr>
        <p:spPr>
          <a:xfrm>
            <a:off x="16225448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387DCED6-3D19-1030-1D05-67FCEC7E5F85}"/>
              </a:ext>
            </a:extLst>
          </p:cNvPr>
          <p:cNvSpPr/>
          <p:nvPr/>
        </p:nvSpPr>
        <p:spPr>
          <a:xfrm>
            <a:off x="17348507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D4239421-154E-AF7D-BCD7-2D3D9DE2F39E}"/>
              </a:ext>
            </a:extLst>
          </p:cNvPr>
          <p:cNvSpPr/>
          <p:nvPr/>
        </p:nvSpPr>
        <p:spPr>
          <a:xfrm>
            <a:off x="18471565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id="{727A7F0F-21FD-BB4B-424F-032A1D1664FF}"/>
              </a:ext>
            </a:extLst>
          </p:cNvPr>
          <p:cNvSpPr/>
          <p:nvPr/>
        </p:nvSpPr>
        <p:spPr>
          <a:xfrm>
            <a:off x="19594622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id="{FDB9E0DD-8B05-6933-5A4F-3A5713E974F1}"/>
              </a:ext>
            </a:extLst>
          </p:cNvPr>
          <p:cNvSpPr/>
          <p:nvPr/>
        </p:nvSpPr>
        <p:spPr>
          <a:xfrm>
            <a:off x="20717682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51" name="Овал 50">
            <a:extLst>
              <a:ext uri="{FF2B5EF4-FFF2-40B4-BE49-F238E27FC236}">
                <a16:creationId xmlns:a16="http://schemas.microsoft.com/office/drawing/2014/main" id="{455BD3B8-880F-26FF-4897-EAA444061E86}"/>
              </a:ext>
            </a:extLst>
          </p:cNvPr>
          <p:cNvSpPr/>
          <p:nvPr/>
        </p:nvSpPr>
        <p:spPr>
          <a:xfrm>
            <a:off x="21840739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2687292B-8634-BB76-94A6-E231F65A99C2}"/>
              </a:ext>
            </a:extLst>
          </p:cNvPr>
          <p:cNvSpPr txBox="1"/>
          <p:nvPr/>
        </p:nvSpPr>
        <p:spPr>
          <a:xfrm>
            <a:off x="14234160" y="13167360"/>
            <a:ext cx="65" cy="48660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3200" dirty="0"/>
          </a:p>
        </p:txBody>
      </p:sp>
      <p:sp>
        <p:nvSpPr>
          <p:cNvPr id="113" name="Овал 112">
            <a:extLst>
              <a:ext uri="{FF2B5EF4-FFF2-40B4-BE49-F238E27FC236}">
                <a16:creationId xmlns:a16="http://schemas.microsoft.com/office/drawing/2014/main" id="{9EC96205-1483-7E50-758D-5ACB9ABDC810}"/>
              </a:ext>
            </a:extLst>
          </p:cNvPr>
          <p:cNvSpPr/>
          <p:nvPr/>
        </p:nvSpPr>
        <p:spPr>
          <a:xfrm>
            <a:off x="11728513" y="121761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15" name="Овал 114">
            <a:extLst>
              <a:ext uri="{FF2B5EF4-FFF2-40B4-BE49-F238E27FC236}">
                <a16:creationId xmlns:a16="http://schemas.microsoft.com/office/drawing/2014/main" id="{2A850682-3E83-DFC7-2AC2-F6E39EF112E8}"/>
              </a:ext>
            </a:extLst>
          </p:cNvPr>
          <p:cNvSpPr/>
          <p:nvPr/>
        </p:nvSpPr>
        <p:spPr>
          <a:xfrm>
            <a:off x="11728513" y="234458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A1415CC0-FBEB-AE5E-EBD1-19E3D2C1EE1D}"/>
              </a:ext>
            </a:extLst>
          </p:cNvPr>
          <p:cNvSpPr/>
          <p:nvPr/>
        </p:nvSpPr>
        <p:spPr>
          <a:xfrm>
            <a:off x="12856273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1E4D9F91-9BB8-7448-291C-8476E16AB6E8}"/>
              </a:ext>
            </a:extLst>
          </p:cNvPr>
          <p:cNvSpPr/>
          <p:nvPr/>
        </p:nvSpPr>
        <p:spPr>
          <a:xfrm>
            <a:off x="13979331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3C24D9EF-BA73-F3C4-A43E-F44C68E5616D}"/>
              </a:ext>
            </a:extLst>
          </p:cNvPr>
          <p:cNvSpPr/>
          <p:nvPr/>
        </p:nvSpPr>
        <p:spPr>
          <a:xfrm>
            <a:off x="15102390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1A91E751-74FB-B71F-3ABE-49422112DDF9}"/>
              </a:ext>
            </a:extLst>
          </p:cNvPr>
          <p:cNvSpPr/>
          <p:nvPr/>
        </p:nvSpPr>
        <p:spPr>
          <a:xfrm>
            <a:off x="16225448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8827F080-EBFD-047A-E073-38C1193DD21A}"/>
              </a:ext>
            </a:extLst>
          </p:cNvPr>
          <p:cNvSpPr/>
          <p:nvPr/>
        </p:nvSpPr>
        <p:spPr>
          <a:xfrm>
            <a:off x="17348507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28E7C127-301A-DFFE-61B4-2A6225D41D86}"/>
              </a:ext>
            </a:extLst>
          </p:cNvPr>
          <p:cNvSpPr/>
          <p:nvPr/>
        </p:nvSpPr>
        <p:spPr>
          <a:xfrm>
            <a:off x="18471565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FA4660A3-D3EF-F4E6-7492-901024965FAD}"/>
              </a:ext>
            </a:extLst>
          </p:cNvPr>
          <p:cNvSpPr/>
          <p:nvPr/>
        </p:nvSpPr>
        <p:spPr>
          <a:xfrm>
            <a:off x="19594622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id="{17543200-1539-33A3-67D3-B2E68167EE3F}"/>
              </a:ext>
            </a:extLst>
          </p:cNvPr>
          <p:cNvSpPr/>
          <p:nvPr/>
        </p:nvSpPr>
        <p:spPr>
          <a:xfrm>
            <a:off x="20717682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id="{3179537A-8772-18FE-D1FD-7CCA2488683D}"/>
              </a:ext>
            </a:extLst>
          </p:cNvPr>
          <p:cNvSpPr/>
          <p:nvPr/>
        </p:nvSpPr>
        <p:spPr>
          <a:xfrm>
            <a:off x="21840739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id="{1B554C4C-C0BB-006F-8158-29861A7A953C}"/>
              </a:ext>
            </a:extLst>
          </p:cNvPr>
          <p:cNvSpPr/>
          <p:nvPr/>
        </p:nvSpPr>
        <p:spPr>
          <a:xfrm>
            <a:off x="12856273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84" name="Овал 83">
            <a:extLst>
              <a:ext uri="{FF2B5EF4-FFF2-40B4-BE49-F238E27FC236}">
                <a16:creationId xmlns:a16="http://schemas.microsoft.com/office/drawing/2014/main" id="{9A63FB57-B12B-742B-980F-0AE8DF6750A4}"/>
              </a:ext>
            </a:extLst>
          </p:cNvPr>
          <p:cNvSpPr/>
          <p:nvPr/>
        </p:nvSpPr>
        <p:spPr>
          <a:xfrm>
            <a:off x="13979331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07" name="Овал 106">
            <a:extLst>
              <a:ext uri="{FF2B5EF4-FFF2-40B4-BE49-F238E27FC236}">
                <a16:creationId xmlns:a16="http://schemas.microsoft.com/office/drawing/2014/main" id="{D8EC47F2-FC2F-1DB3-57D0-FC0D73D75917}"/>
              </a:ext>
            </a:extLst>
          </p:cNvPr>
          <p:cNvSpPr/>
          <p:nvPr/>
        </p:nvSpPr>
        <p:spPr>
          <a:xfrm>
            <a:off x="15102390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08" name="Овал 107">
            <a:extLst>
              <a:ext uri="{FF2B5EF4-FFF2-40B4-BE49-F238E27FC236}">
                <a16:creationId xmlns:a16="http://schemas.microsoft.com/office/drawing/2014/main" id="{5B3BFD29-9F4D-5AC9-DB18-EF4FCD002B78}"/>
              </a:ext>
            </a:extLst>
          </p:cNvPr>
          <p:cNvSpPr/>
          <p:nvPr/>
        </p:nvSpPr>
        <p:spPr>
          <a:xfrm>
            <a:off x="16225448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10" name="Овал 109">
            <a:extLst>
              <a:ext uri="{FF2B5EF4-FFF2-40B4-BE49-F238E27FC236}">
                <a16:creationId xmlns:a16="http://schemas.microsoft.com/office/drawing/2014/main" id="{EBB72B45-4307-5655-9E5D-554C28E841D4}"/>
              </a:ext>
            </a:extLst>
          </p:cNvPr>
          <p:cNvSpPr/>
          <p:nvPr/>
        </p:nvSpPr>
        <p:spPr>
          <a:xfrm>
            <a:off x="17348507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11" name="Овал 110">
            <a:extLst>
              <a:ext uri="{FF2B5EF4-FFF2-40B4-BE49-F238E27FC236}">
                <a16:creationId xmlns:a16="http://schemas.microsoft.com/office/drawing/2014/main" id="{DB528430-09BC-4F53-A757-C81DEF12DE13}"/>
              </a:ext>
            </a:extLst>
          </p:cNvPr>
          <p:cNvSpPr/>
          <p:nvPr/>
        </p:nvSpPr>
        <p:spPr>
          <a:xfrm>
            <a:off x="18471565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3" name="Овал 122">
            <a:extLst>
              <a:ext uri="{FF2B5EF4-FFF2-40B4-BE49-F238E27FC236}">
                <a16:creationId xmlns:a16="http://schemas.microsoft.com/office/drawing/2014/main" id="{B704A164-40D3-0B37-A2E0-6C244CD13872}"/>
              </a:ext>
            </a:extLst>
          </p:cNvPr>
          <p:cNvSpPr/>
          <p:nvPr/>
        </p:nvSpPr>
        <p:spPr>
          <a:xfrm>
            <a:off x="19594622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4" name="Овал 123">
            <a:extLst>
              <a:ext uri="{FF2B5EF4-FFF2-40B4-BE49-F238E27FC236}">
                <a16:creationId xmlns:a16="http://schemas.microsoft.com/office/drawing/2014/main" id="{E385AE4F-3C54-CEDD-AB47-E66CC2612C7E}"/>
              </a:ext>
            </a:extLst>
          </p:cNvPr>
          <p:cNvSpPr/>
          <p:nvPr/>
        </p:nvSpPr>
        <p:spPr>
          <a:xfrm>
            <a:off x="20717682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5" name="Овал 124">
            <a:extLst>
              <a:ext uri="{FF2B5EF4-FFF2-40B4-BE49-F238E27FC236}">
                <a16:creationId xmlns:a16="http://schemas.microsoft.com/office/drawing/2014/main" id="{29C3BA31-48B2-EBAF-2093-DA3CD7C637BC}"/>
              </a:ext>
            </a:extLst>
          </p:cNvPr>
          <p:cNvSpPr/>
          <p:nvPr/>
        </p:nvSpPr>
        <p:spPr>
          <a:xfrm>
            <a:off x="21840739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6" name="Овал 125">
            <a:extLst>
              <a:ext uri="{FF2B5EF4-FFF2-40B4-BE49-F238E27FC236}">
                <a16:creationId xmlns:a16="http://schemas.microsoft.com/office/drawing/2014/main" id="{14C230FA-0EBF-946A-68F7-8AD5C217264A}"/>
              </a:ext>
            </a:extLst>
          </p:cNvPr>
          <p:cNvSpPr/>
          <p:nvPr/>
        </p:nvSpPr>
        <p:spPr>
          <a:xfrm>
            <a:off x="11728513" y="3467644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7" name="Овал 126">
            <a:extLst>
              <a:ext uri="{FF2B5EF4-FFF2-40B4-BE49-F238E27FC236}">
                <a16:creationId xmlns:a16="http://schemas.microsoft.com/office/drawing/2014/main" id="{C209E03C-7A56-0014-6A75-99F5A76ED13D}"/>
              </a:ext>
            </a:extLst>
          </p:cNvPr>
          <p:cNvSpPr/>
          <p:nvPr/>
        </p:nvSpPr>
        <p:spPr>
          <a:xfrm>
            <a:off x="11728513" y="4594615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8" name="Овал 127">
            <a:extLst>
              <a:ext uri="{FF2B5EF4-FFF2-40B4-BE49-F238E27FC236}">
                <a16:creationId xmlns:a16="http://schemas.microsoft.com/office/drawing/2014/main" id="{5F394688-5D80-455F-946F-5AEAC8A37CE4}"/>
              </a:ext>
            </a:extLst>
          </p:cNvPr>
          <p:cNvSpPr/>
          <p:nvPr/>
        </p:nvSpPr>
        <p:spPr>
          <a:xfrm>
            <a:off x="12856273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29" name="Овал 128">
            <a:extLst>
              <a:ext uri="{FF2B5EF4-FFF2-40B4-BE49-F238E27FC236}">
                <a16:creationId xmlns:a16="http://schemas.microsoft.com/office/drawing/2014/main" id="{ADB8BAD2-6A13-3919-4D7D-8A5B4D440742}"/>
              </a:ext>
            </a:extLst>
          </p:cNvPr>
          <p:cNvSpPr/>
          <p:nvPr/>
        </p:nvSpPr>
        <p:spPr>
          <a:xfrm>
            <a:off x="13979331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0" name="Овал 129">
            <a:extLst>
              <a:ext uri="{FF2B5EF4-FFF2-40B4-BE49-F238E27FC236}">
                <a16:creationId xmlns:a16="http://schemas.microsoft.com/office/drawing/2014/main" id="{36150C37-239A-0FE1-4236-1AF296218691}"/>
              </a:ext>
            </a:extLst>
          </p:cNvPr>
          <p:cNvSpPr/>
          <p:nvPr/>
        </p:nvSpPr>
        <p:spPr>
          <a:xfrm>
            <a:off x="15102390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1" name="Овал 130">
            <a:extLst>
              <a:ext uri="{FF2B5EF4-FFF2-40B4-BE49-F238E27FC236}">
                <a16:creationId xmlns:a16="http://schemas.microsoft.com/office/drawing/2014/main" id="{69B00E90-1E1C-3F7A-0AF4-588FB5B2CF12}"/>
              </a:ext>
            </a:extLst>
          </p:cNvPr>
          <p:cNvSpPr/>
          <p:nvPr/>
        </p:nvSpPr>
        <p:spPr>
          <a:xfrm>
            <a:off x="16225448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2" name="Овал 131">
            <a:extLst>
              <a:ext uri="{FF2B5EF4-FFF2-40B4-BE49-F238E27FC236}">
                <a16:creationId xmlns:a16="http://schemas.microsoft.com/office/drawing/2014/main" id="{B10F7834-A90E-89BD-A54B-ADABABEB346A}"/>
              </a:ext>
            </a:extLst>
          </p:cNvPr>
          <p:cNvSpPr/>
          <p:nvPr/>
        </p:nvSpPr>
        <p:spPr>
          <a:xfrm>
            <a:off x="17348507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3" name="Овал 132">
            <a:extLst>
              <a:ext uri="{FF2B5EF4-FFF2-40B4-BE49-F238E27FC236}">
                <a16:creationId xmlns:a16="http://schemas.microsoft.com/office/drawing/2014/main" id="{5A2D4F93-A184-E6C0-7400-BC9A2C99E5E4}"/>
              </a:ext>
            </a:extLst>
          </p:cNvPr>
          <p:cNvSpPr/>
          <p:nvPr/>
        </p:nvSpPr>
        <p:spPr>
          <a:xfrm>
            <a:off x="18471565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4" name="Овал 133">
            <a:extLst>
              <a:ext uri="{FF2B5EF4-FFF2-40B4-BE49-F238E27FC236}">
                <a16:creationId xmlns:a16="http://schemas.microsoft.com/office/drawing/2014/main" id="{29A39F8A-5EA4-AC75-E1E5-402FB3A07E34}"/>
              </a:ext>
            </a:extLst>
          </p:cNvPr>
          <p:cNvSpPr/>
          <p:nvPr/>
        </p:nvSpPr>
        <p:spPr>
          <a:xfrm>
            <a:off x="19594622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5" name="Овал 134">
            <a:extLst>
              <a:ext uri="{FF2B5EF4-FFF2-40B4-BE49-F238E27FC236}">
                <a16:creationId xmlns:a16="http://schemas.microsoft.com/office/drawing/2014/main" id="{AA9DE24E-66CD-B924-7EC3-8A061FD31845}"/>
              </a:ext>
            </a:extLst>
          </p:cNvPr>
          <p:cNvSpPr/>
          <p:nvPr/>
        </p:nvSpPr>
        <p:spPr>
          <a:xfrm>
            <a:off x="20717682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6" name="Овал 135">
            <a:extLst>
              <a:ext uri="{FF2B5EF4-FFF2-40B4-BE49-F238E27FC236}">
                <a16:creationId xmlns:a16="http://schemas.microsoft.com/office/drawing/2014/main" id="{1B146D63-466A-8235-2EF5-A862B70537D5}"/>
              </a:ext>
            </a:extLst>
          </p:cNvPr>
          <p:cNvSpPr/>
          <p:nvPr/>
        </p:nvSpPr>
        <p:spPr>
          <a:xfrm>
            <a:off x="21840739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7" name="Овал 136">
            <a:extLst>
              <a:ext uri="{FF2B5EF4-FFF2-40B4-BE49-F238E27FC236}">
                <a16:creationId xmlns:a16="http://schemas.microsoft.com/office/drawing/2014/main" id="{9E62812F-F323-0525-843F-28E7685B1593}"/>
              </a:ext>
            </a:extLst>
          </p:cNvPr>
          <p:cNvSpPr/>
          <p:nvPr/>
        </p:nvSpPr>
        <p:spPr>
          <a:xfrm>
            <a:off x="12856273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8" name="Овал 137">
            <a:extLst>
              <a:ext uri="{FF2B5EF4-FFF2-40B4-BE49-F238E27FC236}">
                <a16:creationId xmlns:a16="http://schemas.microsoft.com/office/drawing/2014/main" id="{0A3BEABD-6574-73D5-4C4C-C82263263F53}"/>
              </a:ext>
            </a:extLst>
          </p:cNvPr>
          <p:cNvSpPr/>
          <p:nvPr/>
        </p:nvSpPr>
        <p:spPr>
          <a:xfrm>
            <a:off x="13979331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39" name="Овал 138">
            <a:extLst>
              <a:ext uri="{FF2B5EF4-FFF2-40B4-BE49-F238E27FC236}">
                <a16:creationId xmlns:a16="http://schemas.microsoft.com/office/drawing/2014/main" id="{5C9B5423-AEF9-281D-68B8-D8A2B71D6FA7}"/>
              </a:ext>
            </a:extLst>
          </p:cNvPr>
          <p:cNvSpPr/>
          <p:nvPr/>
        </p:nvSpPr>
        <p:spPr>
          <a:xfrm>
            <a:off x="15102390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0" name="Овал 139">
            <a:extLst>
              <a:ext uri="{FF2B5EF4-FFF2-40B4-BE49-F238E27FC236}">
                <a16:creationId xmlns:a16="http://schemas.microsoft.com/office/drawing/2014/main" id="{6BEA9661-C915-DBE4-359C-020F8001E229}"/>
              </a:ext>
            </a:extLst>
          </p:cNvPr>
          <p:cNvSpPr/>
          <p:nvPr/>
        </p:nvSpPr>
        <p:spPr>
          <a:xfrm>
            <a:off x="16225448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1" name="Овал 140">
            <a:extLst>
              <a:ext uri="{FF2B5EF4-FFF2-40B4-BE49-F238E27FC236}">
                <a16:creationId xmlns:a16="http://schemas.microsoft.com/office/drawing/2014/main" id="{9D89666F-E922-0D9F-70AA-7C3903B2F42F}"/>
              </a:ext>
            </a:extLst>
          </p:cNvPr>
          <p:cNvSpPr/>
          <p:nvPr/>
        </p:nvSpPr>
        <p:spPr>
          <a:xfrm>
            <a:off x="17348507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2" name="Овал 141">
            <a:extLst>
              <a:ext uri="{FF2B5EF4-FFF2-40B4-BE49-F238E27FC236}">
                <a16:creationId xmlns:a16="http://schemas.microsoft.com/office/drawing/2014/main" id="{799F80CD-0A43-8553-1B2E-2A2F5C57A9D0}"/>
              </a:ext>
            </a:extLst>
          </p:cNvPr>
          <p:cNvSpPr/>
          <p:nvPr/>
        </p:nvSpPr>
        <p:spPr>
          <a:xfrm>
            <a:off x="18471565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3" name="Овал 142">
            <a:extLst>
              <a:ext uri="{FF2B5EF4-FFF2-40B4-BE49-F238E27FC236}">
                <a16:creationId xmlns:a16="http://schemas.microsoft.com/office/drawing/2014/main" id="{49EF53AC-5890-F7CD-30B2-CBAECE2D9CA7}"/>
              </a:ext>
            </a:extLst>
          </p:cNvPr>
          <p:cNvSpPr/>
          <p:nvPr/>
        </p:nvSpPr>
        <p:spPr>
          <a:xfrm>
            <a:off x="19594622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4" name="Овал 143">
            <a:extLst>
              <a:ext uri="{FF2B5EF4-FFF2-40B4-BE49-F238E27FC236}">
                <a16:creationId xmlns:a16="http://schemas.microsoft.com/office/drawing/2014/main" id="{4824D82C-751F-9127-0704-5946BEB6C247}"/>
              </a:ext>
            </a:extLst>
          </p:cNvPr>
          <p:cNvSpPr/>
          <p:nvPr/>
        </p:nvSpPr>
        <p:spPr>
          <a:xfrm>
            <a:off x="20717682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5" name="Овал 144">
            <a:extLst>
              <a:ext uri="{FF2B5EF4-FFF2-40B4-BE49-F238E27FC236}">
                <a16:creationId xmlns:a16="http://schemas.microsoft.com/office/drawing/2014/main" id="{DC772D9B-6740-9CC5-1BAE-E0ABB6FB260A}"/>
              </a:ext>
            </a:extLst>
          </p:cNvPr>
          <p:cNvSpPr/>
          <p:nvPr/>
        </p:nvSpPr>
        <p:spPr>
          <a:xfrm>
            <a:off x="21840739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6" name="Овал 145">
            <a:extLst>
              <a:ext uri="{FF2B5EF4-FFF2-40B4-BE49-F238E27FC236}">
                <a16:creationId xmlns:a16="http://schemas.microsoft.com/office/drawing/2014/main" id="{6415C83B-C36B-8640-0710-C044425844F5}"/>
              </a:ext>
            </a:extLst>
          </p:cNvPr>
          <p:cNvSpPr/>
          <p:nvPr/>
        </p:nvSpPr>
        <p:spPr>
          <a:xfrm>
            <a:off x="11728513" y="571376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7" name="Овал 146">
            <a:extLst>
              <a:ext uri="{FF2B5EF4-FFF2-40B4-BE49-F238E27FC236}">
                <a16:creationId xmlns:a16="http://schemas.microsoft.com/office/drawing/2014/main" id="{9ABAFF38-7BCA-1079-E2D2-7F63574B5544}"/>
              </a:ext>
            </a:extLst>
          </p:cNvPr>
          <p:cNvSpPr/>
          <p:nvPr/>
        </p:nvSpPr>
        <p:spPr>
          <a:xfrm>
            <a:off x="11728513" y="684073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8" name="Овал 147">
            <a:extLst>
              <a:ext uri="{FF2B5EF4-FFF2-40B4-BE49-F238E27FC236}">
                <a16:creationId xmlns:a16="http://schemas.microsoft.com/office/drawing/2014/main" id="{638899D3-A24D-F1B9-C6DA-47620A53BC1B}"/>
              </a:ext>
            </a:extLst>
          </p:cNvPr>
          <p:cNvSpPr/>
          <p:nvPr/>
        </p:nvSpPr>
        <p:spPr>
          <a:xfrm>
            <a:off x="12856273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49" name="Овал 148">
            <a:extLst>
              <a:ext uri="{FF2B5EF4-FFF2-40B4-BE49-F238E27FC236}">
                <a16:creationId xmlns:a16="http://schemas.microsoft.com/office/drawing/2014/main" id="{BCA221E8-3BDD-0FE9-CF23-3ABBFD50963F}"/>
              </a:ext>
            </a:extLst>
          </p:cNvPr>
          <p:cNvSpPr/>
          <p:nvPr/>
        </p:nvSpPr>
        <p:spPr>
          <a:xfrm>
            <a:off x="13979331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0" name="Овал 149">
            <a:extLst>
              <a:ext uri="{FF2B5EF4-FFF2-40B4-BE49-F238E27FC236}">
                <a16:creationId xmlns:a16="http://schemas.microsoft.com/office/drawing/2014/main" id="{00EF402E-6BC5-885D-FB5C-DB674909FD9A}"/>
              </a:ext>
            </a:extLst>
          </p:cNvPr>
          <p:cNvSpPr/>
          <p:nvPr/>
        </p:nvSpPr>
        <p:spPr>
          <a:xfrm>
            <a:off x="15102390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1" name="Овал 150">
            <a:extLst>
              <a:ext uri="{FF2B5EF4-FFF2-40B4-BE49-F238E27FC236}">
                <a16:creationId xmlns:a16="http://schemas.microsoft.com/office/drawing/2014/main" id="{C4E052D7-219F-FF91-5A6A-EFB9760A9D8A}"/>
              </a:ext>
            </a:extLst>
          </p:cNvPr>
          <p:cNvSpPr/>
          <p:nvPr/>
        </p:nvSpPr>
        <p:spPr>
          <a:xfrm>
            <a:off x="16225448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2" name="Овал 151">
            <a:extLst>
              <a:ext uri="{FF2B5EF4-FFF2-40B4-BE49-F238E27FC236}">
                <a16:creationId xmlns:a16="http://schemas.microsoft.com/office/drawing/2014/main" id="{56A307F9-0CF7-CF56-73CC-6C31064C3E64}"/>
              </a:ext>
            </a:extLst>
          </p:cNvPr>
          <p:cNvSpPr/>
          <p:nvPr/>
        </p:nvSpPr>
        <p:spPr>
          <a:xfrm>
            <a:off x="17348507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3" name="Овал 152">
            <a:extLst>
              <a:ext uri="{FF2B5EF4-FFF2-40B4-BE49-F238E27FC236}">
                <a16:creationId xmlns:a16="http://schemas.microsoft.com/office/drawing/2014/main" id="{9F8772E0-F86E-E86D-6DFC-46C7A483A06A}"/>
              </a:ext>
            </a:extLst>
          </p:cNvPr>
          <p:cNvSpPr/>
          <p:nvPr/>
        </p:nvSpPr>
        <p:spPr>
          <a:xfrm>
            <a:off x="18471565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4" name="Овал 153">
            <a:extLst>
              <a:ext uri="{FF2B5EF4-FFF2-40B4-BE49-F238E27FC236}">
                <a16:creationId xmlns:a16="http://schemas.microsoft.com/office/drawing/2014/main" id="{9226D04A-62D1-679C-40E9-6EB57A412427}"/>
              </a:ext>
            </a:extLst>
          </p:cNvPr>
          <p:cNvSpPr/>
          <p:nvPr/>
        </p:nvSpPr>
        <p:spPr>
          <a:xfrm>
            <a:off x="19594622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5" name="Овал 154">
            <a:extLst>
              <a:ext uri="{FF2B5EF4-FFF2-40B4-BE49-F238E27FC236}">
                <a16:creationId xmlns:a16="http://schemas.microsoft.com/office/drawing/2014/main" id="{B4BCEDAB-EE8E-1219-ADE3-1DA2141C77C8}"/>
              </a:ext>
            </a:extLst>
          </p:cNvPr>
          <p:cNvSpPr/>
          <p:nvPr/>
        </p:nvSpPr>
        <p:spPr>
          <a:xfrm>
            <a:off x="20717682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6" name="Овал 155">
            <a:extLst>
              <a:ext uri="{FF2B5EF4-FFF2-40B4-BE49-F238E27FC236}">
                <a16:creationId xmlns:a16="http://schemas.microsoft.com/office/drawing/2014/main" id="{831440C3-42E9-FCEB-2025-3548E65338A3}"/>
              </a:ext>
            </a:extLst>
          </p:cNvPr>
          <p:cNvSpPr/>
          <p:nvPr/>
        </p:nvSpPr>
        <p:spPr>
          <a:xfrm>
            <a:off x="21840739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7" name="Овал 156">
            <a:extLst>
              <a:ext uri="{FF2B5EF4-FFF2-40B4-BE49-F238E27FC236}">
                <a16:creationId xmlns:a16="http://schemas.microsoft.com/office/drawing/2014/main" id="{E409272A-B25A-5CF6-4F7B-A1FD9900C653}"/>
              </a:ext>
            </a:extLst>
          </p:cNvPr>
          <p:cNvSpPr/>
          <p:nvPr/>
        </p:nvSpPr>
        <p:spPr>
          <a:xfrm>
            <a:off x="12856273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8" name="Овал 157">
            <a:extLst>
              <a:ext uri="{FF2B5EF4-FFF2-40B4-BE49-F238E27FC236}">
                <a16:creationId xmlns:a16="http://schemas.microsoft.com/office/drawing/2014/main" id="{A05AAF32-AD7A-E9E6-27AB-C48B32750472}"/>
              </a:ext>
            </a:extLst>
          </p:cNvPr>
          <p:cNvSpPr/>
          <p:nvPr/>
        </p:nvSpPr>
        <p:spPr>
          <a:xfrm>
            <a:off x="13979331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59" name="Овал 158">
            <a:extLst>
              <a:ext uri="{FF2B5EF4-FFF2-40B4-BE49-F238E27FC236}">
                <a16:creationId xmlns:a16="http://schemas.microsoft.com/office/drawing/2014/main" id="{34674AE3-5282-30C0-A6D7-FFCFFAD2C9FA}"/>
              </a:ext>
            </a:extLst>
          </p:cNvPr>
          <p:cNvSpPr/>
          <p:nvPr/>
        </p:nvSpPr>
        <p:spPr>
          <a:xfrm>
            <a:off x="15102390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0" name="Овал 159">
            <a:extLst>
              <a:ext uri="{FF2B5EF4-FFF2-40B4-BE49-F238E27FC236}">
                <a16:creationId xmlns:a16="http://schemas.microsoft.com/office/drawing/2014/main" id="{B6435993-EBC5-50F5-B46C-A449E865D832}"/>
              </a:ext>
            </a:extLst>
          </p:cNvPr>
          <p:cNvSpPr/>
          <p:nvPr/>
        </p:nvSpPr>
        <p:spPr>
          <a:xfrm>
            <a:off x="16225448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1" name="Овал 160">
            <a:extLst>
              <a:ext uri="{FF2B5EF4-FFF2-40B4-BE49-F238E27FC236}">
                <a16:creationId xmlns:a16="http://schemas.microsoft.com/office/drawing/2014/main" id="{2ED67AC0-1C7D-D91E-C8DB-4E19AE774286}"/>
              </a:ext>
            </a:extLst>
          </p:cNvPr>
          <p:cNvSpPr/>
          <p:nvPr/>
        </p:nvSpPr>
        <p:spPr>
          <a:xfrm>
            <a:off x="17348507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2" name="Овал 161">
            <a:extLst>
              <a:ext uri="{FF2B5EF4-FFF2-40B4-BE49-F238E27FC236}">
                <a16:creationId xmlns:a16="http://schemas.microsoft.com/office/drawing/2014/main" id="{7B36406D-4CB1-E304-920A-2ADEC26D3C0A}"/>
              </a:ext>
            </a:extLst>
          </p:cNvPr>
          <p:cNvSpPr/>
          <p:nvPr/>
        </p:nvSpPr>
        <p:spPr>
          <a:xfrm>
            <a:off x="18471565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3" name="Овал 162">
            <a:extLst>
              <a:ext uri="{FF2B5EF4-FFF2-40B4-BE49-F238E27FC236}">
                <a16:creationId xmlns:a16="http://schemas.microsoft.com/office/drawing/2014/main" id="{0D799FAD-51B7-2C56-509B-1CFEFD38EE5C}"/>
              </a:ext>
            </a:extLst>
          </p:cNvPr>
          <p:cNvSpPr/>
          <p:nvPr/>
        </p:nvSpPr>
        <p:spPr>
          <a:xfrm>
            <a:off x="19594622" y="9090763"/>
            <a:ext cx="1123059" cy="11230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rgbClr val="6E82AA"/>
                </a:solidFill>
              </a:rPr>
              <a:t>₽</a:t>
            </a:r>
            <a:endParaRPr lang="ru-RU" sz="4000" dirty="0">
              <a:solidFill>
                <a:srgbClr val="6E82AA"/>
              </a:solidFill>
              <a:sym typeface="Arial"/>
            </a:endParaRPr>
          </a:p>
        </p:txBody>
      </p:sp>
      <p:sp>
        <p:nvSpPr>
          <p:cNvPr id="164" name="Овал 163">
            <a:extLst>
              <a:ext uri="{FF2B5EF4-FFF2-40B4-BE49-F238E27FC236}">
                <a16:creationId xmlns:a16="http://schemas.microsoft.com/office/drawing/2014/main" id="{3BF4CCF1-91A2-3301-10B8-5A1902C7F8B5}"/>
              </a:ext>
            </a:extLst>
          </p:cNvPr>
          <p:cNvSpPr/>
          <p:nvPr/>
        </p:nvSpPr>
        <p:spPr>
          <a:xfrm>
            <a:off x="20717682" y="9090763"/>
            <a:ext cx="1123059" cy="11230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rgbClr val="6E82AA"/>
                </a:solidFill>
              </a:rPr>
              <a:t>₽</a:t>
            </a:r>
            <a:endParaRPr lang="ru-RU" sz="4000" dirty="0">
              <a:solidFill>
                <a:srgbClr val="6E82AA"/>
              </a:solidFill>
              <a:sym typeface="Arial"/>
            </a:endParaRPr>
          </a:p>
        </p:txBody>
      </p:sp>
      <p:sp>
        <p:nvSpPr>
          <p:cNvPr id="165" name="Овал 164">
            <a:extLst>
              <a:ext uri="{FF2B5EF4-FFF2-40B4-BE49-F238E27FC236}">
                <a16:creationId xmlns:a16="http://schemas.microsoft.com/office/drawing/2014/main" id="{781BB0FF-19E8-40F2-4EAB-931773B15648}"/>
              </a:ext>
            </a:extLst>
          </p:cNvPr>
          <p:cNvSpPr/>
          <p:nvPr/>
        </p:nvSpPr>
        <p:spPr>
          <a:xfrm>
            <a:off x="21840739" y="9090763"/>
            <a:ext cx="1123059" cy="11230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rgbClr val="6E82AA"/>
                </a:solidFill>
              </a:rPr>
              <a:t>₽</a:t>
            </a:r>
            <a:endParaRPr lang="ru-RU" sz="4000" dirty="0">
              <a:solidFill>
                <a:srgbClr val="6E82AA"/>
              </a:solidFill>
              <a:sym typeface="Arial"/>
            </a:endParaRPr>
          </a:p>
        </p:txBody>
      </p:sp>
      <p:sp>
        <p:nvSpPr>
          <p:cNvPr id="166" name="Овал 165">
            <a:extLst>
              <a:ext uri="{FF2B5EF4-FFF2-40B4-BE49-F238E27FC236}">
                <a16:creationId xmlns:a16="http://schemas.microsoft.com/office/drawing/2014/main" id="{3437E278-9308-3AF9-FF00-790B7E38C914}"/>
              </a:ext>
            </a:extLst>
          </p:cNvPr>
          <p:cNvSpPr/>
          <p:nvPr/>
        </p:nvSpPr>
        <p:spPr>
          <a:xfrm>
            <a:off x="11728513" y="7963792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7" name="Овал 166">
            <a:extLst>
              <a:ext uri="{FF2B5EF4-FFF2-40B4-BE49-F238E27FC236}">
                <a16:creationId xmlns:a16="http://schemas.microsoft.com/office/drawing/2014/main" id="{49C6B0DB-66D2-0D35-BED8-91E29ECD6075}"/>
              </a:ext>
            </a:extLst>
          </p:cNvPr>
          <p:cNvSpPr/>
          <p:nvPr/>
        </p:nvSpPr>
        <p:spPr>
          <a:xfrm>
            <a:off x="11728513" y="9090763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8" name="Овал 167">
            <a:extLst>
              <a:ext uri="{FF2B5EF4-FFF2-40B4-BE49-F238E27FC236}">
                <a16:creationId xmlns:a16="http://schemas.microsoft.com/office/drawing/2014/main" id="{4580B280-A225-4C07-8C91-EC971E59107A}"/>
              </a:ext>
            </a:extLst>
          </p:cNvPr>
          <p:cNvSpPr/>
          <p:nvPr/>
        </p:nvSpPr>
        <p:spPr>
          <a:xfrm>
            <a:off x="12834888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69" name="Овал 168">
            <a:extLst>
              <a:ext uri="{FF2B5EF4-FFF2-40B4-BE49-F238E27FC236}">
                <a16:creationId xmlns:a16="http://schemas.microsoft.com/office/drawing/2014/main" id="{A11FB34C-8FAB-9AE5-09BA-14A5E23B6267}"/>
              </a:ext>
            </a:extLst>
          </p:cNvPr>
          <p:cNvSpPr/>
          <p:nvPr/>
        </p:nvSpPr>
        <p:spPr>
          <a:xfrm>
            <a:off x="13957946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0" name="Овал 169">
            <a:extLst>
              <a:ext uri="{FF2B5EF4-FFF2-40B4-BE49-F238E27FC236}">
                <a16:creationId xmlns:a16="http://schemas.microsoft.com/office/drawing/2014/main" id="{E23010A6-E161-6D38-BB23-0430EFA65BB8}"/>
              </a:ext>
            </a:extLst>
          </p:cNvPr>
          <p:cNvSpPr/>
          <p:nvPr/>
        </p:nvSpPr>
        <p:spPr>
          <a:xfrm>
            <a:off x="15081005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1" name="Овал 170">
            <a:extLst>
              <a:ext uri="{FF2B5EF4-FFF2-40B4-BE49-F238E27FC236}">
                <a16:creationId xmlns:a16="http://schemas.microsoft.com/office/drawing/2014/main" id="{B7415A27-771B-3414-EC7C-C637B6B005C5}"/>
              </a:ext>
            </a:extLst>
          </p:cNvPr>
          <p:cNvSpPr/>
          <p:nvPr/>
        </p:nvSpPr>
        <p:spPr>
          <a:xfrm>
            <a:off x="16204063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2" name="Овал 171">
            <a:extLst>
              <a:ext uri="{FF2B5EF4-FFF2-40B4-BE49-F238E27FC236}">
                <a16:creationId xmlns:a16="http://schemas.microsoft.com/office/drawing/2014/main" id="{B5DC64C8-7A4A-9C0F-3AAD-D45DE0925615}"/>
              </a:ext>
            </a:extLst>
          </p:cNvPr>
          <p:cNvSpPr/>
          <p:nvPr/>
        </p:nvSpPr>
        <p:spPr>
          <a:xfrm>
            <a:off x="17327122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3" name="Овал 172">
            <a:extLst>
              <a:ext uri="{FF2B5EF4-FFF2-40B4-BE49-F238E27FC236}">
                <a16:creationId xmlns:a16="http://schemas.microsoft.com/office/drawing/2014/main" id="{71CB5D48-E3C4-72B9-F796-E578D66B9BEA}"/>
              </a:ext>
            </a:extLst>
          </p:cNvPr>
          <p:cNvSpPr/>
          <p:nvPr/>
        </p:nvSpPr>
        <p:spPr>
          <a:xfrm>
            <a:off x="18450180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4" name="Овал 173">
            <a:extLst>
              <a:ext uri="{FF2B5EF4-FFF2-40B4-BE49-F238E27FC236}">
                <a16:creationId xmlns:a16="http://schemas.microsoft.com/office/drawing/2014/main" id="{A3DAAA66-51F8-565E-4555-8650036FD540}"/>
              </a:ext>
            </a:extLst>
          </p:cNvPr>
          <p:cNvSpPr/>
          <p:nvPr/>
        </p:nvSpPr>
        <p:spPr>
          <a:xfrm>
            <a:off x="19573237" y="10209910"/>
            <a:ext cx="1123059" cy="11230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rgbClr val="6E82AA"/>
                </a:solidFill>
              </a:rPr>
              <a:t>₽</a:t>
            </a:r>
            <a:endParaRPr lang="ru-RU" sz="4000" dirty="0">
              <a:solidFill>
                <a:srgbClr val="6E82AA"/>
              </a:solidFill>
              <a:sym typeface="Arial"/>
            </a:endParaRPr>
          </a:p>
        </p:txBody>
      </p:sp>
      <p:sp>
        <p:nvSpPr>
          <p:cNvPr id="175" name="Овал 174">
            <a:extLst>
              <a:ext uri="{FF2B5EF4-FFF2-40B4-BE49-F238E27FC236}">
                <a16:creationId xmlns:a16="http://schemas.microsoft.com/office/drawing/2014/main" id="{9F97DC0F-9ED7-5DAC-71B5-509D1CD6109F}"/>
              </a:ext>
            </a:extLst>
          </p:cNvPr>
          <p:cNvSpPr/>
          <p:nvPr/>
        </p:nvSpPr>
        <p:spPr>
          <a:xfrm>
            <a:off x="20696297" y="10209910"/>
            <a:ext cx="1123059" cy="11230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rgbClr val="6E82AA"/>
                </a:solidFill>
              </a:rPr>
              <a:t>₽</a:t>
            </a:r>
            <a:endParaRPr lang="ru-RU" sz="4000" dirty="0">
              <a:solidFill>
                <a:srgbClr val="6E82AA"/>
              </a:solidFill>
              <a:sym typeface="Arial"/>
            </a:endParaRPr>
          </a:p>
        </p:txBody>
      </p:sp>
      <p:sp>
        <p:nvSpPr>
          <p:cNvPr id="176" name="Овал 175">
            <a:extLst>
              <a:ext uri="{FF2B5EF4-FFF2-40B4-BE49-F238E27FC236}">
                <a16:creationId xmlns:a16="http://schemas.microsoft.com/office/drawing/2014/main" id="{3ED2DC07-10BF-D896-0D78-EA034086EDDC}"/>
              </a:ext>
            </a:extLst>
          </p:cNvPr>
          <p:cNvSpPr/>
          <p:nvPr/>
        </p:nvSpPr>
        <p:spPr>
          <a:xfrm>
            <a:off x="21819354" y="10209910"/>
            <a:ext cx="1123059" cy="11230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rgbClr val="6E82AA"/>
                </a:solidFill>
              </a:rPr>
              <a:t>₽</a:t>
            </a:r>
            <a:endParaRPr lang="ru-RU" sz="4000" dirty="0">
              <a:solidFill>
                <a:srgbClr val="6E82AA"/>
              </a:solidFill>
              <a:sym typeface="Arial"/>
            </a:endParaRPr>
          </a:p>
        </p:txBody>
      </p:sp>
      <p:sp>
        <p:nvSpPr>
          <p:cNvPr id="177" name="Овал 176">
            <a:extLst>
              <a:ext uri="{FF2B5EF4-FFF2-40B4-BE49-F238E27FC236}">
                <a16:creationId xmlns:a16="http://schemas.microsoft.com/office/drawing/2014/main" id="{3ADFB418-1C90-16EE-EC85-DE3CC5687C3C}"/>
              </a:ext>
            </a:extLst>
          </p:cNvPr>
          <p:cNvSpPr/>
          <p:nvPr/>
        </p:nvSpPr>
        <p:spPr>
          <a:xfrm>
            <a:off x="12834888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8" name="Овал 177">
            <a:extLst>
              <a:ext uri="{FF2B5EF4-FFF2-40B4-BE49-F238E27FC236}">
                <a16:creationId xmlns:a16="http://schemas.microsoft.com/office/drawing/2014/main" id="{8F81A320-4F76-3AAF-2719-F028B115EC06}"/>
              </a:ext>
            </a:extLst>
          </p:cNvPr>
          <p:cNvSpPr/>
          <p:nvPr/>
        </p:nvSpPr>
        <p:spPr>
          <a:xfrm>
            <a:off x="13957946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79" name="Овал 178">
            <a:extLst>
              <a:ext uri="{FF2B5EF4-FFF2-40B4-BE49-F238E27FC236}">
                <a16:creationId xmlns:a16="http://schemas.microsoft.com/office/drawing/2014/main" id="{A7CA4521-9390-D71F-60D3-1A1662F88989}"/>
              </a:ext>
            </a:extLst>
          </p:cNvPr>
          <p:cNvSpPr/>
          <p:nvPr/>
        </p:nvSpPr>
        <p:spPr>
          <a:xfrm>
            <a:off x="15081005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0" name="Овал 179">
            <a:extLst>
              <a:ext uri="{FF2B5EF4-FFF2-40B4-BE49-F238E27FC236}">
                <a16:creationId xmlns:a16="http://schemas.microsoft.com/office/drawing/2014/main" id="{E4A99822-9188-10BE-1F7E-BCFACD001BC1}"/>
              </a:ext>
            </a:extLst>
          </p:cNvPr>
          <p:cNvSpPr/>
          <p:nvPr/>
        </p:nvSpPr>
        <p:spPr>
          <a:xfrm>
            <a:off x="16204063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1" name="Овал 180">
            <a:extLst>
              <a:ext uri="{FF2B5EF4-FFF2-40B4-BE49-F238E27FC236}">
                <a16:creationId xmlns:a16="http://schemas.microsoft.com/office/drawing/2014/main" id="{BDC7DBBA-EA87-BE0F-2CBA-CF9E7A54C409}"/>
              </a:ext>
            </a:extLst>
          </p:cNvPr>
          <p:cNvSpPr/>
          <p:nvPr/>
        </p:nvSpPr>
        <p:spPr>
          <a:xfrm>
            <a:off x="17327122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2" name="Овал 181">
            <a:extLst>
              <a:ext uri="{FF2B5EF4-FFF2-40B4-BE49-F238E27FC236}">
                <a16:creationId xmlns:a16="http://schemas.microsoft.com/office/drawing/2014/main" id="{5627B241-02F0-18F3-C8C3-40F270F29B78}"/>
              </a:ext>
            </a:extLst>
          </p:cNvPr>
          <p:cNvSpPr/>
          <p:nvPr/>
        </p:nvSpPr>
        <p:spPr>
          <a:xfrm>
            <a:off x="18450180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3" name="Овал 182">
            <a:extLst>
              <a:ext uri="{FF2B5EF4-FFF2-40B4-BE49-F238E27FC236}">
                <a16:creationId xmlns:a16="http://schemas.microsoft.com/office/drawing/2014/main" id="{7DD6BE50-4D71-F9B2-7007-3420366E9E1F}"/>
              </a:ext>
            </a:extLst>
          </p:cNvPr>
          <p:cNvSpPr/>
          <p:nvPr/>
        </p:nvSpPr>
        <p:spPr>
          <a:xfrm>
            <a:off x="19573237" y="11336881"/>
            <a:ext cx="1123059" cy="11230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rgbClr val="6E82AA"/>
                </a:solidFill>
              </a:rPr>
              <a:t>₽</a:t>
            </a:r>
            <a:endParaRPr lang="ru-RU" sz="4000" dirty="0">
              <a:solidFill>
                <a:srgbClr val="6E82AA"/>
              </a:solidFill>
              <a:sym typeface="Arial"/>
            </a:endParaRPr>
          </a:p>
        </p:txBody>
      </p:sp>
      <p:sp>
        <p:nvSpPr>
          <p:cNvPr id="184" name="Овал 183">
            <a:extLst>
              <a:ext uri="{FF2B5EF4-FFF2-40B4-BE49-F238E27FC236}">
                <a16:creationId xmlns:a16="http://schemas.microsoft.com/office/drawing/2014/main" id="{497361C3-6790-F74B-2B45-3EF4D05EEBDE}"/>
              </a:ext>
            </a:extLst>
          </p:cNvPr>
          <p:cNvSpPr/>
          <p:nvPr/>
        </p:nvSpPr>
        <p:spPr>
          <a:xfrm>
            <a:off x="20696297" y="11336881"/>
            <a:ext cx="1123059" cy="11230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rgbClr val="6E82AA"/>
                </a:solidFill>
              </a:rPr>
              <a:t>₽</a:t>
            </a:r>
            <a:endParaRPr lang="ru-RU" sz="4000" dirty="0">
              <a:solidFill>
                <a:srgbClr val="6E82AA"/>
              </a:solidFill>
              <a:sym typeface="Arial"/>
            </a:endParaRPr>
          </a:p>
        </p:txBody>
      </p:sp>
      <p:sp>
        <p:nvSpPr>
          <p:cNvPr id="185" name="Овал 184">
            <a:extLst>
              <a:ext uri="{FF2B5EF4-FFF2-40B4-BE49-F238E27FC236}">
                <a16:creationId xmlns:a16="http://schemas.microsoft.com/office/drawing/2014/main" id="{2D0AD060-9A62-984B-AD28-F025FBF4451A}"/>
              </a:ext>
            </a:extLst>
          </p:cNvPr>
          <p:cNvSpPr/>
          <p:nvPr/>
        </p:nvSpPr>
        <p:spPr>
          <a:xfrm>
            <a:off x="21819354" y="11336881"/>
            <a:ext cx="1123059" cy="11230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rgbClr val="6E82AA"/>
                </a:solidFill>
              </a:rPr>
              <a:t>₽</a:t>
            </a:r>
            <a:endParaRPr lang="ru-RU" sz="4000" dirty="0">
              <a:solidFill>
                <a:srgbClr val="6E82AA"/>
              </a:solidFill>
              <a:sym typeface="Arial"/>
            </a:endParaRPr>
          </a:p>
        </p:txBody>
      </p:sp>
      <p:sp>
        <p:nvSpPr>
          <p:cNvPr id="186" name="Овал 185">
            <a:extLst>
              <a:ext uri="{FF2B5EF4-FFF2-40B4-BE49-F238E27FC236}">
                <a16:creationId xmlns:a16="http://schemas.microsoft.com/office/drawing/2014/main" id="{CE56C180-E454-AF35-7FB0-B8A18AAFA125}"/>
              </a:ext>
            </a:extLst>
          </p:cNvPr>
          <p:cNvSpPr/>
          <p:nvPr/>
        </p:nvSpPr>
        <p:spPr>
          <a:xfrm>
            <a:off x="11707128" y="10209910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187" name="Овал 186">
            <a:extLst>
              <a:ext uri="{FF2B5EF4-FFF2-40B4-BE49-F238E27FC236}">
                <a16:creationId xmlns:a16="http://schemas.microsoft.com/office/drawing/2014/main" id="{2B2E4CFF-C075-C8B0-A09D-1CA1C13DAC16}"/>
              </a:ext>
            </a:extLst>
          </p:cNvPr>
          <p:cNvSpPr/>
          <p:nvPr/>
        </p:nvSpPr>
        <p:spPr>
          <a:xfrm>
            <a:off x="11707128" y="11336881"/>
            <a:ext cx="1123059" cy="11230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₽</a:t>
            </a:r>
            <a:endParaRPr lang="ru-RU" sz="4000" dirty="0">
              <a:solidFill>
                <a:schemeClr val="accent1">
                  <a:lumMod val="40000"/>
                  <a:lumOff val="60000"/>
                </a:schemeClr>
              </a:solidFill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6F56E1-F36F-0A26-134A-F68DA70D9025}"/>
              </a:ext>
            </a:extLst>
          </p:cNvPr>
          <p:cNvSpPr txBox="1"/>
          <p:nvPr/>
        </p:nvSpPr>
        <p:spPr>
          <a:xfrm>
            <a:off x="1413983" y="3587702"/>
            <a:ext cx="8196619" cy="123110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  <a:defRPr/>
            </a:pPr>
            <a:r>
              <a:rPr lang="ru-RU" sz="4000" dirty="0">
                <a:solidFill>
                  <a:srgbClr val="A0AFC8"/>
                </a:solidFill>
                <a:latin typeface="YS Text Regular"/>
                <a:sym typeface="Arial"/>
              </a:rPr>
              <a:t>будет составлять объём рынка онлайн-транзакций к 2030 году</a:t>
            </a:r>
            <a:endParaRPr lang="ru-RU" sz="4000" dirty="0">
              <a:solidFill>
                <a:srgbClr val="A0AFC8"/>
              </a:solidFill>
              <a:latin typeface="YS Text Regular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F21B0A-CCAC-BABF-B501-4C7DAA1E7CFA}"/>
              </a:ext>
            </a:extLst>
          </p:cNvPr>
          <p:cNvSpPr txBox="1"/>
          <p:nvPr/>
        </p:nvSpPr>
        <p:spPr>
          <a:xfrm>
            <a:off x="1413983" y="1217614"/>
            <a:ext cx="8312312" cy="24622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&gt;30 </a:t>
            </a:r>
            <a:r>
              <a:rPr kumimoji="0" lang="ru-RU" sz="7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трлн руб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9A205EF-8AFD-8A15-62F1-2C100612C29A}"/>
              </a:ext>
            </a:extLst>
          </p:cNvPr>
          <p:cNvSpPr txBox="1"/>
          <p:nvPr/>
        </p:nvSpPr>
        <p:spPr>
          <a:xfrm>
            <a:off x="1422083" y="7945667"/>
            <a:ext cx="8196619" cy="123110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2">
              <a:buClr>
                <a:srgbClr val="B6B1FF"/>
              </a:buClr>
              <a:buSzPts val="1500"/>
            </a:pPr>
            <a:r>
              <a:rPr lang="ru-RU" sz="4000" dirty="0">
                <a:solidFill>
                  <a:srgbClr val="A0AFC8"/>
                </a:solidFill>
                <a:latin typeface="YS Text Regular"/>
                <a:sym typeface="Arial"/>
              </a:rPr>
              <a:t>из них придётся </a:t>
            </a:r>
            <a:br>
              <a:rPr lang="ru-RU" sz="4000" dirty="0">
                <a:solidFill>
                  <a:srgbClr val="A0AFC8"/>
                </a:solidFill>
                <a:latin typeface="YS Text Regular"/>
                <a:sym typeface="Arial"/>
              </a:rPr>
            </a:br>
            <a:r>
              <a:rPr lang="ru-RU" sz="4000" dirty="0">
                <a:solidFill>
                  <a:srgbClr val="A0AFC8"/>
                </a:solidFill>
                <a:latin typeface="YS Text Regular"/>
                <a:sym typeface="Arial"/>
              </a:rPr>
              <a:t>на онлайн-покупки</a:t>
            </a:r>
            <a:endParaRPr lang="ru-RU" sz="4000" dirty="0">
              <a:solidFill>
                <a:srgbClr val="A0AFC8"/>
              </a:solidFill>
              <a:latin typeface="YS Text Regular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9DD911-CC9C-DCD5-E320-0FAF39DD3791}"/>
              </a:ext>
            </a:extLst>
          </p:cNvPr>
          <p:cNvSpPr txBox="1"/>
          <p:nvPr/>
        </p:nvSpPr>
        <p:spPr>
          <a:xfrm>
            <a:off x="1422083" y="5575579"/>
            <a:ext cx="8312312" cy="24622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&gt;10%</a:t>
            </a:r>
            <a:endParaRPr kumimoji="0" lang="ru-RU" sz="8000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YS Display 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92785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6CB636-A173-5568-BF56-80A6A25D1C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E40CC38-FA20-6D1C-BEC9-43EA99D254D6}"/>
              </a:ext>
            </a:extLst>
          </p:cNvPr>
          <p:cNvSpPr txBox="1">
            <a:spLocks/>
          </p:cNvSpPr>
          <p:nvPr/>
        </p:nvSpPr>
        <p:spPr>
          <a:xfrm>
            <a:off x="2348695" y="5026633"/>
            <a:ext cx="19685022" cy="37167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lnSpc>
                <a:spcPct val="82000"/>
              </a:lnSpc>
              <a:spcBef>
                <a:spcPct val="0"/>
              </a:spcBef>
              <a:buNone/>
              <a:defRPr sz="12000">
                <a:solidFill>
                  <a:schemeClr val="bg2"/>
                </a:solidFill>
                <a:latin typeface="YS Display Regular" pitchFamily="2" charset="0"/>
              </a:defRPr>
            </a:lvl1pPr>
          </a:lstStyle>
          <a:p>
            <a:pPr algn="ctr">
              <a:lnSpc>
                <a:spcPct val="80000"/>
              </a:lnSpc>
              <a:buClr>
                <a:schemeClr val="lt1"/>
              </a:buClr>
              <a:buSzPts val="5600"/>
            </a:pPr>
            <a:r>
              <a:rPr lang="ru-RU" sz="14800" dirty="0">
                <a:solidFill>
                  <a:schemeClr val="bg1"/>
                </a:solidFill>
                <a:latin typeface="+mj-lt"/>
                <a:sym typeface="Play"/>
              </a:rPr>
              <a:t>Стать заметными</a:t>
            </a:r>
            <a:endParaRPr lang="ru-RU" sz="14800" dirty="0">
              <a:solidFill>
                <a:schemeClr val="bg1"/>
              </a:solidFill>
              <a:latin typeface="+mj-lt"/>
            </a:endParaRPr>
          </a:p>
          <a:p>
            <a:pPr algn="ctr">
              <a:lnSpc>
                <a:spcPct val="80000"/>
              </a:lnSpc>
              <a:buClr>
                <a:schemeClr val="lt1"/>
              </a:buClr>
              <a:buSzPts val="5600"/>
            </a:pPr>
            <a:r>
              <a:rPr lang="ru-RU" sz="14800" dirty="0">
                <a:solidFill>
                  <a:schemeClr val="accent3"/>
                </a:solidFill>
                <a:latin typeface="+mj-lt"/>
                <a:sym typeface="Play"/>
              </a:rPr>
              <a:t>для алгоритмов</a:t>
            </a:r>
            <a:endParaRPr lang="ru-RU" sz="14800" dirty="0">
              <a:solidFill>
                <a:schemeClr val="accent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403010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83">
          <a:extLst>
            <a:ext uri="{FF2B5EF4-FFF2-40B4-BE49-F238E27FC236}">
              <a16:creationId xmlns:a16="http://schemas.microsoft.com/office/drawing/2014/main" id="{0D17939F-30FF-376B-9EC7-36E056FBE9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BB40E8D-4A8D-7339-892E-278B0E71D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997200"/>
            <a:ext cx="8618400" cy="3722814"/>
          </a:xfrm>
        </p:spPr>
        <p:txBody>
          <a:bodyPr/>
          <a:lstStyle/>
          <a:p>
            <a:pPr>
              <a:buClr>
                <a:schemeClr val="lt1"/>
              </a:buClr>
              <a:buSzPts val="2700"/>
            </a:pPr>
            <a:r>
              <a:rPr lang="ru-RU" dirty="0">
                <a:sym typeface="Play"/>
              </a:rPr>
              <a:t>Объявления рекламодателей </a:t>
            </a:r>
            <a:br>
              <a:rPr lang="ru-RU" dirty="0">
                <a:sym typeface="Play"/>
              </a:rPr>
            </a:br>
            <a:r>
              <a:rPr lang="ru-RU" dirty="0">
                <a:sym typeface="Play"/>
              </a:rPr>
              <a:t>уже в чатах </a:t>
            </a:r>
            <a:br>
              <a:rPr lang="ru-RU" dirty="0">
                <a:sym typeface="Play"/>
              </a:rPr>
            </a:br>
            <a:r>
              <a:rPr lang="ru-RU" dirty="0">
                <a:sym typeface="Play"/>
              </a:rPr>
              <a:t>с Алисой </a:t>
            </a:r>
            <a:r>
              <a:rPr lang="en-US" dirty="0">
                <a:sym typeface="Play"/>
              </a:rPr>
              <a:t>AI</a:t>
            </a:r>
            <a:endParaRPr lang="ru-RU" dirty="0">
              <a:sym typeface="Play"/>
            </a:endParaRPr>
          </a:p>
        </p:txBody>
      </p:sp>
      <p:sp>
        <p:nvSpPr>
          <p:cNvPr id="4389" name="Google Shape;4389;g3ec18748a0a_2_1387">
            <a:extLst>
              <a:ext uri="{FF2B5EF4-FFF2-40B4-BE49-F238E27FC236}">
                <a16:creationId xmlns:a16="http://schemas.microsoft.com/office/drawing/2014/main" id="{B4360F45-C59F-448E-ADD4-8633862853C8}"/>
              </a:ext>
            </a:extLst>
          </p:cNvPr>
          <p:cNvSpPr txBox="1"/>
          <p:nvPr/>
        </p:nvSpPr>
        <p:spPr>
          <a:xfrm>
            <a:off x="1440703" y="9485455"/>
            <a:ext cx="6952437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828709">
              <a:buClr>
                <a:srgbClr val="000000"/>
              </a:buClr>
            </a:pPr>
            <a:r>
              <a:rPr lang="ru-RU" sz="3600" kern="0" dirty="0">
                <a:cs typeface="Arial"/>
                <a:sym typeface="Arial"/>
              </a:rPr>
              <a:t>бизнесов уже показали рекламу в Поиске с Алисой</a:t>
            </a:r>
            <a:r>
              <a:rPr lang="en-US" sz="3600" kern="0" dirty="0">
                <a:cs typeface="Arial"/>
                <a:sym typeface="Arial"/>
              </a:rPr>
              <a:t> AI</a:t>
            </a:r>
            <a:r>
              <a:rPr lang="ru-RU" sz="3600" kern="0" dirty="0">
                <a:cs typeface="Arial"/>
                <a:sym typeface="Arial"/>
              </a:rPr>
              <a:t> </a:t>
            </a:r>
          </a:p>
        </p:txBody>
      </p:sp>
      <p:sp>
        <p:nvSpPr>
          <p:cNvPr id="4390" name="Google Shape;4390;g3ec18748a0a_2_1387">
            <a:extLst>
              <a:ext uri="{FF2B5EF4-FFF2-40B4-BE49-F238E27FC236}">
                <a16:creationId xmlns:a16="http://schemas.microsoft.com/office/drawing/2014/main" id="{BF0A6AEC-1B5B-E760-EC47-1D7FD3BE85F0}"/>
              </a:ext>
            </a:extLst>
          </p:cNvPr>
          <p:cNvSpPr txBox="1"/>
          <p:nvPr/>
        </p:nvSpPr>
        <p:spPr>
          <a:xfrm flipH="1">
            <a:off x="1440702" y="7483780"/>
            <a:ext cx="8090740" cy="21235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828709">
              <a:buClr>
                <a:srgbClr val="000000"/>
              </a:buClr>
            </a:pPr>
            <a:r>
              <a:rPr lang="ru-RU" sz="13799" b="1" kern="0" dirty="0">
                <a:solidFill>
                  <a:srgbClr val="FFFFFF"/>
                </a:solidFill>
                <a:latin typeface="+mj-lt"/>
                <a:cs typeface="Arial"/>
                <a:sym typeface="Arial"/>
              </a:rPr>
              <a:t>260 тыс.</a:t>
            </a:r>
            <a:endParaRPr sz="13799" b="1" kern="0" dirty="0">
              <a:solidFill>
                <a:srgbClr val="FFFFFF"/>
              </a:solidFill>
              <a:latin typeface="+mj-lt"/>
              <a:cs typeface="Arial"/>
              <a:sym typeface="Arial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199860A-2800-29DA-3D2A-819E1953BF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369600"/>
            <a:ext cx="19983600" cy="317972"/>
          </a:xfrm>
        </p:spPr>
        <p:txBody>
          <a:bodyPr/>
          <a:lstStyle/>
          <a:p>
            <a:r>
              <a:rPr lang="ru-RU" dirty="0"/>
              <a:t>Данные Яндекс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FBE9BEC-02FC-03F8-11A2-32495FD920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72" r="6830"/>
          <a:stretch>
            <a:fillRect/>
          </a:stretch>
        </p:blipFill>
        <p:spPr>
          <a:xfrm>
            <a:off x="12308568" y="1241558"/>
            <a:ext cx="10591800" cy="11232885"/>
          </a:xfrm>
          <a:prstGeom prst="roundRect">
            <a:avLst>
              <a:gd name="adj" fmla="val 3231"/>
            </a:avLst>
          </a:prstGeom>
        </p:spPr>
      </p:pic>
    </p:spTree>
    <p:extLst>
      <p:ext uri="{BB962C8B-B14F-4D97-AF65-F5344CB8AC3E}">
        <p14:creationId xmlns:p14="http://schemas.microsoft.com/office/powerpoint/2010/main" val="377858827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F5384-A58E-CDA9-F846-F4FA12C43B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9DA7D1DB-EA65-1D17-37AA-C6BB6F035D50}"/>
              </a:ext>
            </a:extLst>
          </p:cNvPr>
          <p:cNvSpPr/>
          <p:nvPr/>
        </p:nvSpPr>
        <p:spPr>
          <a:xfrm>
            <a:off x="288766" y="303213"/>
            <a:ext cx="11734801" cy="13104812"/>
          </a:xfrm>
          <a:prstGeom prst="roundRect">
            <a:avLst>
              <a:gd name="adj" fmla="val 256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ru-RU" sz="3200">
              <a:solidFill>
                <a:schemeClr val="tx1"/>
              </a:solidFill>
              <a:sym typeface="Arial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C807061F-7135-2481-C5D4-63B08959F7AA}"/>
              </a:ext>
            </a:extLst>
          </p:cNvPr>
          <p:cNvGrpSpPr/>
          <p:nvPr/>
        </p:nvGrpSpPr>
        <p:grpSpPr>
          <a:xfrm>
            <a:off x="483774" y="5515814"/>
            <a:ext cx="11422087" cy="7892211"/>
            <a:chOff x="301625" y="5448519"/>
            <a:chExt cx="11723667" cy="7959506"/>
          </a:xfrm>
        </p:grpSpPr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F822FA10-5C6E-D2FF-6346-58FFD3AE7122}"/>
                </a:ext>
              </a:extLst>
            </p:cNvPr>
            <p:cNvCxnSpPr>
              <a:cxnSpLocks/>
            </p:cNvCxnSpPr>
            <p:nvPr/>
          </p:nvCxnSpPr>
          <p:spPr>
            <a:xfrm>
              <a:off x="11391918" y="5596025"/>
              <a:ext cx="0" cy="7800505"/>
            </a:xfrm>
            <a:prstGeom prst="line">
              <a:avLst/>
            </a:prstGeom>
            <a:ln w="25400" cap="rnd">
              <a:solidFill>
                <a:schemeClr val="accent3"/>
              </a:solidFill>
              <a:round/>
              <a:headEnd type="oval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DDD7935D-9903-0C5C-1FA1-47F214E5493C}"/>
                </a:ext>
              </a:extLst>
            </p:cNvPr>
            <p:cNvGrpSpPr/>
            <p:nvPr/>
          </p:nvGrpSpPr>
          <p:grpSpPr>
            <a:xfrm>
              <a:off x="301625" y="5448519"/>
              <a:ext cx="11723667" cy="7959506"/>
              <a:chOff x="10673130" y="5215612"/>
              <a:chExt cx="6663847" cy="4524261"/>
            </a:xfrm>
          </p:grpSpPr>
          <p:cxnSp>
            <p:nvCxnSpPr>
              <p:cNvPr id="12" name="Прямая соединительная линия 11">
                <a:extLst>
                  <a:ext uri="{FF2B5EF4-FFF2-40B4-BE49-F238E27FC236}">
                    <a16:creationId xmlns:a16="http://schemas.microsoft.com/office/drawing/2014/main" id="{E94FDD57-F054-A1B5-33A1-5939E45ADA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76705" y="5784850"/>
                <a:ext cx="0" cy="3955023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Прямая соединительная линия 13">
                <a:extLst>
                  <a:ext uri="{FF2B5EF4-FFF2-40B4-BE49-F238E27FC236}">
                    <a16:creationId xmlns:a16="http://schemas.microsoft.com/office/drawing/2014/main" id="{BD4B2C4A-0CC4-A051-F876-94F24A8564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173280" y="6637564"/>
                <a:ext cx="0" cy="3095776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Прямая соединительная линия 14">
                <a:extLst>
                  <a:ext uri="{FF2B5EF4-FFF2-40B4-BE49-F238E27FC236}">
                    <a16:creationId xmlns:a16="http://schemas.microsoft.com/office/drawing/2014/main" id="{54A462D8-A07F-7464-2318-779DE0886F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533292" y="6278830"/>
                <a:ext cx="0" cy="3454510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Прямая соединительная линия 17">
                <a:extLst>
                  <a:ext uri="{FF2B5EF4-FFF2-40B4-BE49-F238E27FC236}">
                    <a16:creationId xmlns:a16="http://schemas.microsoft.com/office/drawing/2014/main" id="{F65164A1-F123-D949-3CC8-E42B57E4C4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893304" y="5922015"/>
                <a:ext cx="0" cy="3811325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Прямая соединительная линия 18">
                <a:extLst>
                  <a:ext uri="{FF2B5EF4-FFF2-40B4-BE49-F238E27FC236}">
                    <a16:creationId xmlns:a16="http://schemas.microsoft.com/office/drawing/2014/main" id="{B1E16E07-9AC9-E808-E93F-6893377BC8F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256937" y="5644896"/>
                <a:ext cx="0" cy="4088444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Прямая соединительная линия 19">
                <a:extLst>
                  <a:ext uri="{FF2B5EF4-FFF2-40B4-BE49-F238E27FC236}">
                    <a16:creationId xmlns:a16="http://schemas.microsoft.com/office/drawing/2014/main" id="{321ED056-7C53-EE54-5FB7-9CCAB6C7C8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616949" y="5464366"/>
                <a:ext cx="0" cy="4268974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Прямая соединительная линия 20">
                <a:extLst>
                  <a:ext uri="{FF2B5EF4-FFF2-40B4-BE49-F238E27FC236}">
                    <a16:creationId xmlns:a16="http://schemas.microsoft.com/office/drawing/2014/main" id="{DF8C10FB-CD84-AF36-20A2-EC61EE08F94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093244" y="7786599"/>
                <a:ext cx="0" cy="1946741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Прямая соединительная линия 21">
                <a:extLst>
                  <a:ext uri="{FF2B5EF4-FFF2-40B4-BE49-F238E27FC236}">
                    <a16:creationId xmlns:a16="http://schemas.microsoft.com/office/drawing/2014/main" id="{CD86ECED-82DF-7079-2568-99AE8EC61FC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273250" y="7615936"/>
                <a:ext cx="0" cy="2117404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Прямая соединительная линия 22">
                <a:extLst>
                  <a:ext uri="{FF2B5EF4-FFF2-40B4-BE49-F238E27FC236}">
                    <a16:creationId xmlns:a16="http://schemas.microsoft.com/office/drawing/2014/main" id="{20B26061-B9B7-4AB2-CBA6-98B8EA4B0E8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453256" y="7434648"/>
                <a:ext cx="0" cy="2298692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Прямая соединительная линия 23">
                <a:extLst>
                  <a:ext uri="{FF2B5EF4-FFF2-40B4-BE49-F238E27FC236}">
                    <a16:creationId xmlns:a16="http://schemas.microsoft.com/office/drawing/2014/main" id="{0F70EBAE-32DB-4F05-59AB-6D28F51F2B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633262" y="7253096"/>
                <a:ext cx="0" cy="2480244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Прямая соединительная линия 24">
                <a:extLst>
                  <a:ext uri="{FF2B5EF4-FFF2-40B4-BE49-F238E27FC236}">
                    <a16:creationId xmlns:a16="http://schemas.microsoft.com/office/drawing/2014/main" id="{3D381F2F-70B7-0389-B02C-E7915D57CF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813268" y="7001435"/>
                <a:ext cx="0" cy="2731905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Прямая соединительная линия 25">
                <a:extLst>
                  <a:ext uri="{FF2B5EF4-FFF2-40B4-BE49-F238E27FC236}">
                    <a16:creationId xmlns:a16="http://schemas.microsoft.com/office/drawing/2014/main" id="{B83D0F5F-AF32-286C-BBAD-C055E1ABF76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573160" y="7284880"/>
                <a:ext cx="0" cy="2452216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Прямая соединительная линия 26">
                <a:extLst>
                  <a:ext uri="{FF2B5EF4-FFF2-40B4-BE49-F238E27FC236}">
                    <a16:creationId xmlns:a16="http://schemas.microsoft.com/office/drawing/2014/main" id="{D3B35910-8665-E94A-F507-08D5DF8E74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933172" y="7253096"/>
                <a:ext cx="0" cy="2480243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Прямая соединительная линия 27">
                <a:extLst>
                  <a:ext uri="{FF2B5EF4-FFF2-40B4-BE49-F238E27FC236}">
                    <a16:creationId xmlns:a16="http://schemas.microsoft.com/office/drawing/2014/main" id="{999EA276-5FDF-3418-0163-12ADCCD17EC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733232" y="7911548"/>
                <a:ext cx="0" cy="1821792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Прямая соединительная линия 28">
                <a:extLst>
                  <a:ext uri="{FF2B5EF4-FFF2-40B4-BE49-F238E27FC236}">
                    <a16:creationId xmlns:a16="http://schemas.microsoft.com/office/drawing/2014/main" id="{129AF6D7-040B-5115-49AA-82EAA734E24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373220" y="7941056"/>
                <a:ext cx="0" cy="1792284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Прямая соединительная линия 29">
                <a:extLst>
                  <a:ext uri="{FF2B5EF4-FFF2-40B4-BE49-F238E27FC236}">
                    <a16:creationId xmlns:a16="http://schemas.microsoft.com/office/drawing/2014/main" id="{FAA8096D-31D9-B03F-CA74-D35B0B6C9FF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013208" y="7835392"/>
                <a:ext cx="0" cy="1897948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Прямая соединительная линия 30">
                <a:extLst>
                  <a:ext uri="{FF2B5EF4-FFF2-40B4-BE49-F238E27FC236}">
                    <a16:creationId xmlns:a16="http://schemas.microsoft.com/office/drawing/2014/main" id="{4E0CB712-CB2A-4849-EF59-30C2324FE3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2653196" y="7658874"/>
                <a:ext cx="0" cy="2074466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Прямая соединительная линия 31">
                <a:extLst>
                  <a:ext uri="{FF2B5EF4-FFF2-40B4-BE49-F238E27FC236}">
                    <a16:creationId xmlns:a16="http://schemas.microsoft.com/office/drawing/2014/main" id="{626F500B-71AC-58CA-75FA-1D35BDE6A1D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2293184" y="7434648"/>
                <a:ext cx="0" cy="2298692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Прямая соединительная линия 32">
                <a:extLst>
                  <a:ext uri="{FF2B5EF4-FFF2-40B4-BE49-F238E27FC236}">
                    <a16:creationId xmlns:a16="http://schemas.microsoft.com/office/drawing/2014/main" id="{5A6A690D-087D-0270-5F07-99FBD20385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353286" y="6421120"/>
                <a:ext cx="0" cy="3312220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Прямая соединительная линия 33">
                <a:extLst>
                  <a:ext uri="{FF2B5EF4-FFF2-40B4-BE49-F238E27FC236}">
                    <a16:creationId xmlns:a16="http://schemas.microsoft.com/office/drawing/2014/main" id="{CA6ACCD2-FB86-5100-293C-04FFF30B651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713298" y="6091237"/>
                <a:ext cx="0" cy="3642103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Прямая соединительная линия 34">
                <a:extLst>
                  <a:ext uri="{FF2B5EF4-FFF2-40B4-BE49-F238E27FC236}">
                    <a16:creationId xmlns:a16="http://schemas.microsoft.com/office/drawing/2014/main" id="{024E121B-C628-F35E-93A2-209130BD7A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436943" y="5558010"/>
                <a:ext cx="0" cy="4175330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Прямая соединительная линия 35">
                <a:extLst>
                  <a:ext uri="{FF2B5EF4-FFF2-40B4-BE49-F238E27FC236}">
                    <a16:creationId xmlns:a16="http://schemas.microsoft.com/office/drawing/2014/main" id="{15ED44B4-E862-64EE-8369-7496E0EE4B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796955" y="5376231"/>
                <a:ext cx="0" cy="4357109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Прямая соединительная линия 36">
                <a:extLst>
                  <a:ext uri="{FF2B5EF4-FFF2-40B4-BE49-F238E27FC236}">
                    <a16:creationId xmlns:a16="http://schemas.microsoft.com/office/drawing/2014/main" id="{F024D379-A119-0299-B402-538FA49D4D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993274" y="6803136"/>
                <a:ext cx="0" cy="2930204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Прямая соединительная линия 37">
                <a:extLst>
                  <a:ext uri="{FF2B5EF4-FFF2-40B4-BE49-F238E27FC236}">
                    <a16:creationId xmlns:a16="http://schemas.microsoft.com/office/drawing/2014/main" id="{C562F630-93B5-3A3E-2982-A126A2676C4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033142" y="7658874"/>
                <a:ext cx="0" cy="2074465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Прямая соединительная линия 38">
                <a:extLst>
                  <a:ext uri="{FF2B5EF4-FFF2-40B4-BE49-F238E27FC236}">
                    <a16:creationId xmlns:a16="http://schemas.microsoft.com/office/drawing/2014/main" id="{734468C4-1396-B029-AFB2-D5F9F9B7CB0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213148" y="7491265"/>
                <a:ext cx="0" cy="2242074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Прямая соединительная линия 39">
                <a:extLst>
                  <a:ext uri="{FF2B5EF4-FFF2-40B4-BE49-F238E27FC236}">
                    <a16:creationId xmlns:a16="http://schemas.microsoft.com/office/drawing/2014/main" id="{9B0ADA79-BB5F-E2D4-0A24-C7FC5C19BF8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393154" y="7326559"/>
                <a:ext cx="0" cy="2406780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Прямая соединительная линия 40">
                <a:extLst>
                  <a:ext uri="{FF2B5EF4-FFF2-40B4-BE49-F238E27FC236}">
                    <a16:creationId xmlns:a16="http://schemas.microsoft.com/office/drawing/2014/main" id="{F99EB7AB-BBF9-2938-7B25-56D80ADF90B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753166" y="7253096"/>
                <a:ext cx="0" cy="2484000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Прямая соединительная линия 41">
                <a:extLst>
                  <a:ext uri="{FF2B5EF4-FFF2-40B4-BE49-F238E27FC236}">
                    <a16:creationId xmlns:a16="http://schemas.microsoft.com/office/drawing/2014/main" id="{DDD4EFA9-6DB3-1609-EB2F-B76E6E2FEC8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2113178" y="7326559"/>
                <a:ext cx="0" cy="2406780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Прямая соединительная линия 42">
                <a:extLst>
                  <a:ext uri="{FF2B5EF4-FFF2-40B4-BE49-F238E27FC236}">
                    <a16:creationId xmlns:a16="http://schemas.microsoft.com/office/drawing/2014/main" id="{6F18E8D3-2929-8F72-825C-B161ABA2CF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913238" y="7871406"/>
                <a:ext cx="0" cy="1861934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Прямая соединительная линия 43">
                <a:extLst>
                  <a:ext uri="{FF2B5EF4-FFF2-40B4-BE49-F238E27FC236}">
                    <a16:creationId xmlns:a16="http://schemas.microsoft.com/office/drawing/2014/main" id="{9B15AFDC-3B2B-4D88-5747-D2087DDA7CE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553226" y="7941056"/>
                <a:ext cx="0" cy="1792284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единительная линия 44">
                <a:extLst>
                  <a:ext uri="{FF2B5EF4-FFF2-40B4-BE49-F238E27FC236}">
                    <a16:creationId xmlns:a16="http://schemas.microsoft.com/office/drawing/2014/main" id="{D3CB81A5-DEA7-AE6E-B050-F3929013219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193214" y="7911548"/>
                <a:ext cx="0" cy="1821792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Прямая соединительная линия 45">
                <a:extLst>
                  <a:ext uri="{FF2B5EF4-FFF2-40B4-BE49-F238E27FC236}">
                    <a16:creationId xmlns:a16="http://schemas.microsoft.com/office/drawing/2014/main" id="{8F4B2636-7524-E827-CF13-75C4EDA8441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2833202" y="7750048"/>
                <a:ext cx="0" cy="1983292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Прямая соединительная линия 46">
                <a:extLst>
                  <a:ext uri="{FF2B5EF4-FFF2-40B4-BE49-F238E27FC236}">
                    <a16:creationId xmlns:a16="http://schemas.microsoft.com/office/drawing/2014/main" id="{76A53775-F04F-A523-29F2-64998BD651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2473190" y="7526528"/>
                <a:ext cx="0" cy="2206812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Прямая соединительная линия 47">
                <a:extLst>
                  <a:ext uri="{FF2B5EF4-FFF2-40B4-BE49-F238E27FC236}">
                    <a16:creationId xmlns:a16="http://schemas.microsoft.com/office/drawing/2014/main" id="{4782308E-30B3-F617-7975-D72A23BE378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673130" y="8184995"/>
                <a:ext cx="0" cy="1512000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Прямая соединительная линия 48">
                <a:extLst>
                  <a:ext uri="{FF2B5EF4-FFF2-40B4-BE49-F238E27FC236}">
                    <a16:creationId xmlns:a16="http://schemas.microsoft.com/office/drawing/2014/main" id="{34867009-1CC7-B2F3-D6C1-EA6DE3C43BC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853136" y="7911548"/>
                <a:ext cx="0" cy="1821791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Прямая соединительная линия 49">
                <a:extLst>
                  <a:ext uri="{FF2B5EF4-FFF2-40B4-BE49-F238E27FC236}">
                    <a16:creationId xmlns:a16="http://schemas.microsoft.com/office/drawing/2014/main" id="{EA301D86-F707-E434-2EE2-A063F57BA2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56967" y="5249537"/>
                <a:ext cx="0" cy="4483802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Прямая соединительная линия 50">
                <a:extLst>
                  <a:ext uri="{FF2B5EF4-FFF2-40B4-BE49-F238E27FC236}">
                    <a16:creationId xmlns:a16="http://schemas.microsoft.com/office/drawing/2014/main" id="{D17E78B2-4189-BD5E-65D9-D3E5C1BC56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6977" y="5215612"/>
                <a:ext cx="0" cy="4465988"/>
              </a:xfrm>
              <a:prstGeom prst="line">
                <a:avLst/>
              </a:prstGeom>
              <a:ln w="25400" cap="rnd">
                <a:solidFill>
                  <a:schemeClr val="tx1">
                    <a:lumMod val="5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C1866411-5251-3D5D-3F22-FA708BDA570D}"/>
              </a:ext>
            </a:extLst>
          </p:cNvPr>
          <p:cNvSpPr txBox="1"/>
          <p:nvPr/>
        </p:nvSpPr>
        <p:spPr>
          <a:xfrm>
            <a:off x="1133404" y="4493543"/>
            <a:ext cx="10071243" cy="119417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  <a:buClr>
                <a:schemeClr val="dk1"/>
              </a:buClr>
              <a:buSzPts val="1800"/>
            </a:pPr>
            <a:r>
              <a:rPr lang="ru-RU" sz="4000" dirty="0">
                <a:solidFill>
                  <a:schemeClr val="dk1"/>
                </a:solidFill>
                <a:ea typeface="Arial"/>
                <a:cs typeface="Arial"/>
                <a:sym typeface="Arial"/>
              </a:rPr>
              <a:t>представителей бизнеса </a:t>
            </a:r>
            <a:br>
              <a:rPr lang="ru-RU" sz="4000" dirty="0">
                <a:solidFill>
                  <a:schemeClr val="dk1"/>
                </a:solidFill>
                <a:ea typeface="Arial"/>
                <a:cs typeface="Arial"/>
                <a:sym typeface="Arial"/>
              </a:rPr>
            </a:br>
            <a:r>
              <a:rPr lang="ru-RU" sz="4000" dirty="0">
                <a:solidFill>
                  <a:schemeClr val="dk1"/>
                </a:solidFill>
                <a:ea typeface="Arial"/>
                <a:cs typeface="Arial"/>
                <a:sym typeface="Arial"/>
              </a:rPr>
              <a:t>уже используют нейросети</a:t>
            </a:r>
            <a:endParaRPr lang="ru-RU" sz="3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79B0F0-615F-90E5-F5E0-FFFE2F43715C}"/>
              </a:ext>
            </a:extLst>
          </p:cNvPr>
          <p:cNvSpPr txBox="1"/>
          <p:nvPr/>
        </p:nvSpPr>
        <p:spPr>
          <a:xfrm>
            <a:off x="2860427" y="1828007"/>
            <a:ext cx="6617196" cy="30471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R="0" lvl="0" indent="0" algn="ctr" fontAlgn="auto">
              <a:lnSpc>
                <a:spcPct val="8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lang="ru-RU" sz="24500" dirty="0">
                <a:solidFill>
                  <a:schemeClr val="bg1"/>
                </a:solidFill>
                <a:latin typeface="+mj-lt"/>
              </a:rPr>
              <a:t>60</a:t>
            </a:r>
            <a:r>
              <a:rPr lang="en-us" sz="24500" dirty="0">
                <a:solidFill>
                  <a:schemeClr val="bg1"/>
                </a:solidFill>
                <a:latin typeface="+mj-lt"/>
              </a:rPr>
              <a:t>%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5900B9A2-E736-13E5-EF6A-5500B2819F34}"/>
              </a:ext>
            </a:extLst>
          </p:cNvPr>
          <p:cNvSpPr/>
          <p:nvPr/>
        </p:nvSpPr>
        <p:spPr>
          <a:xfrm>
            <a:off x="12345987" y="303213"/>
            <a:ext cx="11734801" cy="13104812"/>
          </a:xfrm>
          <a:prstGeom prst="roundRect">
            <a:avLst>
              <a:gd name="adj" fmla="val 25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ru-RU" sz="320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EF3033A-3667-1CA1-3334-3969D7449A68}"/>
              </a:ext>
            </a:extLst>
          </p:cNvPr>
          <p:cNvSpPr txBox="1"/>
          <p:nvPr/>
        </p:nvSpPr>
        <p:spPr>
          <a:xfrm>
            <a:off x="13177767" y="4493543"/>
            <a:ext cx="9453634" cy="18466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400"/>
              </a:spcAft>
              <a:defRPr/>
            </a:pPr>
            <a:r>
              <a:rPr lang="ru-RU" sz="4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из тех компаний, которые уже применяют ИИ, планируют нарастить рекламные бюджеты в 2026 году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9B3EB2-9A53-1F88-0D67-9D18D00ABE87}"/>
              </a:ext>
            </a:extLst>
          </p:cNvPr>
          <p:cNvSpPr txBox="1"/>
          <p:nvPr/>
        </p:nvSpPr>
        <p:spPr>
          <a:xfrm>
            <a:off x="15128408" y="1828007"/>
            <a:ext cx="6169959" cy="30471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R="0" lvl="0" indent="0" algn="ctr" fontAlgn="auto">
              <a:lnSpc>
                <a:spcPct val="8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lang="ru-RU" sz="24500" dirty="0">
                <a:solidFill>
                  <a:schemeClr val="bg1"/>
                </a:solidFill>
                <a:latin typeface="+mj-lt"/>
              </a:rPr>
              <a:t>43</a:t>
            </a:r>
            <a:r>
              <a:rPr lang="en-us" sz="24500" dirty="0">
                <a:solidFill>
                  <a:schemeClr val="bg1"/>
                </a:solidFill>
                <a:latin typeface="+mj-lt"/>
              </a:rPr>
              <a:t>%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EBDEC97-4817-CFCE-C058-9D860E8C6E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929"/>
          <a:stretch/>
        </p:blipFill>
        <p:spPr>
          <a:xfrm>
            <a:off x="13715820" y="6115590"/>
            <a:ext cx="8995134" cy="7292436"/>
          </a:xfrm>
          <a:prstGeom prst="rect">
            <a:avLst/>
          </a:prstGeom>
        </p:spPr>
      </p:pic>
      <p:sp>
        <p:nvSpPr>
          <p:cNvPr id="13" name="Текст 12">
            <a:extLst>
              <a:ext uri="{FF2B5EF4-FFF2-40B4-BE49-F238E27FC236}">
                <a16:creationId xmlns:a16="http://schemas.microsoft.com/office/drawing/2014/main" id="{64A7AC46-F23C-62E7-3DD4-9788C777A4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00759" y="12369600"/>
            <a:ext cx="9688375" cy="317972"/>
          </a:xfrm>
        </p:spPr>
        <p:txBody>
          <a:bodyPr/>
          <a:lstStyle/>
          <a:p>
            <a:r>
              <a:rPr lang="ru-RU" dirty="0">
                <a:solidFill>
                  <a:schemeClr val="accent1">
                    <a:lumMod val="60000"/>
                    <a:lumOff val="4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Ромир, 2026 г.</a:t>
            </a:r>
          </a:p>
        </p:txBody>
      </p:sp>
    </p:spTree>
    <p:extLst>
      <p:ext uri="{BB962C8B-B14F-4D97-AF65-F5344CB8AC3E}">
        <p14:creationId xmlns:p14="http://schemas.microsoft.com/office/powerpoint/2010/main" val="8177020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5E6E9A-1FE1-DEC1-75FE-B11B910E1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B8ED669-A18B-308D-6594-9BB81DB58C7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" r="4"/>
          <a:stretch/>
        </p:blipFill>
        <p:spPr>
          <a:xfrm>
            <a:off x="-1" y="0"/>
            <a:ext cx="24380313" cy="13715104"/>
          </a:xfrm>
          <a:prstGeom prst="rect">
            <a:avLst/>
          </a:prstGeom>
        </p:spPr>
      </p:pic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352C9020-9F61-70FF-4010-9C2D48FF6122}"/>
              </a:ext>
            </a:extLst>
          </p:cNvPr>
          <p:cNvGrpSpPr/>
          <p:nvPr/>
        </p:nvGrpSpPr>
        <p:grpSpPr>
          <a:xfrm>
            <a:off x="3214861" y="2788793"/>
            <a:ext cx="17952690" cy="6400800"/>
            <a:chOff x="2654298" y="2130425"/>
            <a:chExt cx="17952690" cy="6400800"/>
          </a:xfrm>
        </p:grpSpPr>
        <p:sp>
          <p:nvSpPr>
            <p:cNvPr id="13" name="Скругленный прямоугольник 12">
              <a:extLst>
                <a:ext uri="{FF2B5EF4-FFF2-40B4-BE49-F238E27FC236}">
                  <a16:creationId xmlns:a16="http://schemas.microsoft.com/office/drawing/2014/main" id="{85F78C7A-2928-9B62-415E-6283CE49DD18}"/>
                </a:ext>
              </a:extLst>
            </p:cNvPr>
            <p:cNvSpPr/>
            <p:nvPr/>
          </p:nvSpPr>
          <p:spPr>
            <a:xfrm rot="10800000" flipH="1" flipV="1">
              <a:off x="2654298" y="2130425"/>
              <a:ext cx="17952690" cy="6400800"/>
            </a:xfrm>
            <a:prstGeom prst="roundRect">
              <a:avLst>
                <a:gd name="adj" fmla="val 10317"/>
              </a:avLst>
            </a:prstGeom>
            <a:solidFill>
              <a:schemeClr val="bg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" name="Заголовок 1">
              <a:extLst>
                <a:ext uri="{FF2B5EF4-FFF2-40B4-BE49-F238E27FC236}">
                  <a16:creationId xmlns:a16="http://schemas.microsoft.com/office/drawing/2014/main" id="{E77569EA-1C5B-C64D-F227-1D35B1908B64}"/>
                </a:ext>
              </a:extLst>
            </p:cNvPr>
            <p:cNvSpPr txBox="1">
              <a:spLocks/>
            </p:cNvSpPr>
            <p:nvPr/>
          </p:nvSpPr>
          <p:spPr>
            <a:xfrm>
              <a:off x="3775426" y="2871615"/>
              <a:ext cx="13677687" cy="382630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>
                <a:lnSpc>
                  <a:spcPct val="100000"/>
                </a:lnSpc>
                <a:spcBef>
                  <a:spcPct val="0"/>
                </a:spcBef>
                <a:buNone/>
                <a:defRPr sz="6000">
                  <a:solidFill>
                    <a:srgbClr val="FFFFFF"/>
                  </a:solidFill>
                  <a:latin typeface="YS Text Wide Regular" pitchFamily="2" charset="0"/>
                  <a:cs typeface="YS Text Wide Regular" pitchFamily="2" charset="0"/>
                </a:defRPr>
              </a:lvl1pPr>
            </a:lstStyle>
            <a:p>
              <a:pPr lvl="0">
                <a:lnSpc>
                  <a:spcPct val="84000"/>
                </a:lnSpc>
                <a:defRPr/>
              </a:pPr>
              <a:r>
                <a:rPr lang="ru-RU" sz="14800" dirty="0">
                  <a:solidFill>
                    <a:schemeClr val="bg2"/>
                  </a:solidFill>
                  <a:latin typeface="+mj-lt"/>
                  <a:cs typeface="+mn-cs"/>
                </a:rPr>
                <a:t>Что же со всем</a:t>
              </a:r>
            </a:p>
            <a:p>
              <a:pPr lvl="0">
                <a:lnSpc>
                  <a:spcPct val="84000"/>
                </a:lnSpc>
                <a:defRPr/>
              </a:pPr>
              <a:r>
                <a:rPr lang="ru-RU" sz="14800" dirty="0">
                  <a:solidFill>
                    <a:schemeClr val="bg2"/>
                  </a:solidFill>
                  <a:latin typeface="+mj-lt"/>
                  <a:cs typeface="+mn-cs"/>
                </a:rPr>
                <a:t>этим делать</a:t>
              </a: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BF224B8-8EDF-80AA-E0C4-2D58972CBB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87290">
            <a:off x="14668840" y="3107744"/>
            <a:ext cx="9973594" cy="9973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88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83">
          <a:extLst>
            <a:ext uri="{FF2B5EF4-FFF2-40B4-BE49-F238E27FC236}">
              <a16:creationId xmlns:a16="http://schemas.microsoft.com/office/drawing/2014/main" id="{FAC0AB6D-3458-CE01-0D2C-E377581DF9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>
            <a:extLst>
              <a:ext uri="{FF2B5EF4-FFF2-40B4-BE49-F238E27FC236}">
                <a16:creationId xmlns:a16="http://schemas.microsoft.com/office/drawing/2014/main" id="{A90D0880-8E62-FB0C-CB98-18021484EB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369600"/>
            <a:ext cx="19983600" cy="317972"/>
          </a:xfrm>
        </p:spPr>
        <p:txBody>
          <a:bodyPr/>
          <a:lstStyle/>
          <a:p>
            <a:r>
              <a:rPr lang="ru-RU" dirty="0"/>
              <a:t>Источник АЦ РИР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D744DC6-DE54-8484-31E6-AEAC01153E53}"/>
              </a:ext>
            </a:extLst>
          </p:cNvPr>
          <p:cNvSpPr txBox="1"/>
          <p:nvPr/>
        </p:nvSpPr>
        <p:spPr>
          <a:xfrm>
            <a:off x="8393195" y="2084950"/>
            <a:ext cx="7788561" cy="147732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2">
              <a:buClr>
                <a:srgbClr val="B6B1FF"/>
              </a:buClr>
              <a:buSzPts val="1500"/>
            </a:pPr>
            <a:r>
              <a:rPr lang="ru-RU" sz="4800" kern="0" dirty="0">
                <a:cs typeface="Arial"/>
                <a:sym typeface="Arial"/>
              </a:rPr>
              <a:t>агентств уже используют </a:t>
            </a:r>
            <a:br>
              <a:rPr lang="ru-RU" sz="4800" kern="0" dirty="0">
                <a:cs typeface="Arial"/>
                <a:sym typeface="Arial"/>
              </a:rPr>
            </a:br>
            <a:r>
              <a:rPr lang="ru-RU" sz="4800" kern="0" dirty="0">
                <a:cs typeface="Arial"/>
                <a:sym typeface="Arial"/>
              </a:rPr>
              <a:t>ИИ в работе</a:t>
            </a:r>
            <a:endParaRPr lang="ru-RU" sz="4800" kern="0" dirty="0"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EDC5CD5-CCE3-37EC-5662-83E7B5BE778F}"/>
              </a:ext>
            </a:extLst>
          </p:cNvPr>
          <p:cNvSpPr txBox="1"/>
          <p:nvPr/>
        </p:nvSpPr>
        <p:spPr>
          <a:xfrm>
            <a:off x="1545240" y="1184538"/>
            <a:ext cx="6205225" cy="30471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lang="ru-RU" sz="24500" dirty="0">
                <a:solidFill>
                  <a:schemeClr val="bg1"/>
                </a:solidFill>
                <a:latin typeface="+mj-lt"/>
              </a:rPr>
              <a:t>93%</a:t>
            </a:r>
            <a:endParaRPr lang="en-us" sz="245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3" name="Скругленный прямоугольник 4">
            <a:extLst>
              <a:ext uri="{FF2B5EF4-FFF2-40B4-BE49-F238E27FC236}">
                <a16:creationId xmlns:a16="http://schemas.microsoft.com/office/drawing/2014/main" id="{74D6E15C-A21E-0242-12D4-3324FCEE1567}"/>
              </a:ext>
            </a:extLst>
          </p:cNvPr>
          <p:cNvSpPr/>
          <p:nvPr/>
        </p:nvSpPr>
        <p:spPr bwMode="auto">
          <a:xfrm>
            <a:off x="1449388" y="4658666"/>
            <a:ext cx="6948487" cy="6917383"/>
          </a:xfrm>
          <a:prstGeom prst="roundRect">
            <a:avLst>
              <a:gd name="adj" fmla="val 4194"/>
            </a:avLst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4F69D23-25FE-D4AD-9BDB-0BB714F555DB}"/>
              </a:ext>
            </a:extLst>
          </p:cNvPr>
          <p:cNvSpPr txBox="1"/>
          <p:nvPr/>
        </p:nvSpPr>
        <p:spPr>
          <a:xfrm>
            <a:off x="2112853" y="6942735"/>
            <a:ext cx="5721529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marL="0" lvl="2">
              <a:buClr>
                <a:srgbClr val="B6B1FF"/>
              </a:buClr>
              <a:buSzPts val="1500"/>
            </a:pPr>
            <a:r>
              <a:rPr lang="ru-RU" sz="3600" dirty="0"/>
              <a:t>поиск и анализ информации</a:t>
            </a:r>
            <a:endParaRPr lang="ru-RU" sz="36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55" name="Объект 4">
            <a:extLst>
              <a:ext uri="{FF2B5EF4-FFF2-40B4-BE49-F238E27FC236}">
                <a16:creationId xmlns:a16="http://schemas.microsoft.com/office/drawing/2014/main" id="{D2CE90D7-D454-C5C9-F30D-691E916E6675}"/>
              </a:ext>
            </a:extLst>
          </p:cNvPr>
          <p:cNvSpPr txBox="1">
            <a:spLocks/>
          </p:cNvSpPr>
          <p:nvPr/>
        </p:nvSpPr>
        <p:spPr>
          <a:xfrm>
            <a:off x="2112853" y="5253244"/>
            <a:ext cx="5721529" cy="17804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13000" u="none" baseline="0" dirty="0">
                <a:solidFill>
                  <a:schemeClr val="bg1"/>
                </a:solidFill>
                <a:latin typeface="+mj-lt"/>
                <a:cs typeface="YS Display Regular" pitchFamily="2" charset="0"/>
              </a:rPr>
              <a:t>98%</a:t>
            </a:r>
          </a:p>
        </p:txBody>
      </p:sp>
      <p:sp>
        <p:nvSpPr>
          <p:cNvPr id="56" name="Скругленный прямоугольник 4">
            <a:extLst>
              <a:ext uri="{FF2B5EF4-FFF2-40B4-BE49-F238E27FC236}">
                <a16:creationId xmlns:a16="http://schemas.microsoft.com/office/drawing/2014/main" id="{726B2045-E8D8-9E47-7F56-FB414985779D}"/>
              </a:ext>
            </a:extLst>
          </p:cNvPr>
          <p:cNvSpPr/>
          <p:nvPr/>
        </p:nvSpPr>
        <p:spPr bwMode="auto">
          <a:xfrm>
            <a:off x="8719765" y="4658666"/>
            <a:ext cx="6948487" cy="6917383"/>
          </a:xfrm>
          <a:prstGeom prst="roundRect">
            <a:avLst>
              <a:gd name="adj" fmla="val 4194"/>
            </a:avLst>
          </a:prstGeom>
          <a:noFill/>
          <a:ln w="25400">
            <a:solidFill>
              <a:srgbClr val="ADB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98AE5B1-4378-188F-1461-AAC6980FEEEE}"/>
              </a:ext>
            </a:extLst>
          </p:cNvPr>
          <p:cNvSpPr txBox="1"/>
          <p:nvPr/>
        </p:nvSpPr>
        <p:spPr>
          <a:xfrm>
            <a:off x="9367938" y="6942735"/>
            <a:ext cx="5721529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marL="0" lvl="2">
              <a:buClr>
                <a:srgbClr val="B6B1FF"/>
              </a:buClr>
              <a:buSzPts val="1500"/>
            </a:pPr>
            <a:r>
              <a:rPr lang="ru-RU" sz="3600" dirty="0"/>
              <a:t>написание или доработка текстов, слоганов, сценариев, постов, объявлений</a:t>
            </a:r>
          </a:p>
        </p:txBody>
      </p:sp>
      <p:sp>
        <p:nvSpPr>
          <p:cNvPr id="58" name="Объект 4">
            <a:extLst>
              <a:ext uri="{FF2B5EF4-FFF2-40B4-BE49-F238E27FC236}">
                <a16:creationId xmlns:a16="http://schemas.microsoft.com/office/drawing/2014/main" id="{52A91E36-2107-203D-5402-03DE4A4FB4C1}"/>
              </a:ext>
            </a:extLst>
          </p:cNvPr>
          <p:cNvSpPr txBox="1">
            <a:spLocks/>
          </p:cNvSpPr>
          <p:nvPr/>
        </p:nvSpPr>
        <p:spPr>
          <a:xfrm>
            <a:off x="9367938" y="5253244"/>
            <a:ext cx="5721529" cy="17804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13000" dirty="0">
                <a:solidFill>
                  <a:schemeClr val="bg1"/>
                </a:solidFill>
                <a:latin typeface="+mj-lt"/>
                <a:ea typeface="YS Text Bold" pitchFamily="2" charset="-52"/>
                <a:cs typeface="YS Text Bold" pitchFamily="2" charset="-52"/>
              </a:rPr>
              <a:t>98</a:t>
            </a:r>
            <a:r>
              <a:rPr lang="ru-RU" sz="13000" u="none" baseline="0" dirty="0">
                <a:solidFill>
                  <a:schemeClr val="bg1"/>
                </a:solidFill>
                <a:latin typeface="+mj-lt"/>
                <a:ea typeface="YS Text Bold" pitchFamily="2" charset="-52"/>
                <a:cs typeface="YS Text Bold" pitchFamily="2" charset="-52"/>
              </a:rPr>
              <a:t>%</a:t>
            </a:r>
          </a:p>
        </p:txBody>
      </p:sp>
      <p:sp>
        <p:nvSpPr>
          <p:cNvPr id="59" name="Скругленный прямоугольник 58">
            <a:extLst>
              <a:ext uri="{FF2B5EF4-FFF2-40B4-BE49-F238E27FC236}">
                <a16:creationId xmlns:a16="http://schemas.microsoft.com/office/drawing/2014/main" id="{3899CB0B-8DC4-74F6-88F7-F6E26EFBB265}"/>
              </a:ext>
            </a:extLst>
          </p:cNvPr>
          <p:cNvSpPr/>
          <p:nvPr/>
        </p:nvSpPr>
        <p:spPr bwMode="auto">
          <a:xfrm>
            <a:off x="15990141" y="4658666"/>
            <a:ext cx="6948487" cy="6917383"/>
          </a:xfrm>
          <a:prstGeom prst="roundRect">
            <a:avLst>
              <a:gd name="adj" fmla="val 4194"/>
            </a:avLst>
          </a:prstGeom>
          <a:noFill/>
          <a:ln w="25400">
            <a:solidFill>
              <a:srgbClr val="ADB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us" sz="3200">
              <a:solidFill>
                <a:schemeClr val="accent2"/>
              </a:solidFill>
              <a:sym typeface="Arial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A80DD92-1E1E-C8AA-5590-3FC56115645C}"/>
              </a:ext>
            </a:extLst>
          </p:cNvPr>
          <p:cNvSpPr txBox="1"/>
          <p:nvPr/>
        </p:nvSpPr>
        <p:spPr>
          <a:xfrm>
            <a:off x="16647276" y="6942735"/>
            <a:ext cx="5721529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 marL="0" lvl="2">
              <a:buClr>
                <a:srgbClr val="B6B1FF"/>
              </a:buClr>
              <a:buSzPts val="1500"/>
            </a:pPr>
            <a:r>
              <a:rPr lang="ru-RU" sz="3600" dirty="0"/>
              <a:t>генерация идей для креативных концепций</a:t>
            </a:r>
          </a:p>
        </p:txBody>
      </p:sp>
      <p:sp>
        <p:nvSpPr>
          <p:cNvPr id="61" name="Объект 4">
            <a:extLst>
              <a:ext uri="{FF2B5EF4-FFF2-40B4-BE49-F238E27FC236}">
                <a16:creationId xmlns:a16="http://schemas.microsoft.com/office/drawing/2014/main" id="{2E1E0482-4159-3067-21A9-D6B20327069C}"/>
              </a:ext>
            </a:extLst>
          </p:cNvPr>
          <p:cNvSpPr txBox="1">
            <a:spLocks/>
          </p:cNvSpPr>
          <p:nvPr/>
        </p:nvSpPr>
        <p:spPr>
          <a:xfrm>
            <a:off x="16647276" y="5253244"/>
            <a:ext cx="5721529" cy="16468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>
              <a:lnSpc>
                <a:spcPct val="82000"/>
              </a:lnSpc>
              <a:buClr>
                <a:schemeClr val="lt1"/>
              </a:buClr>
              <a:buSzPts val="4500"/>
            </a:pPr>
            <a:r>
              <a:rPr lang="ru" sz="13000" b="1" dirty="0">
                <a:solidFill>
                  <a:schemeClr val="lt1"/>
                </a:solidFill>
                <a:latin typeface="+mj-lt"/>
                <a:ea typeface="Play"/>
                <a:cs typeface="Play"/>
                <a:sym typeface="Play"/>
              </a:rPr>
              <a:t>95%</a:t>
            </a:r>
          </a:p>
        </p:txBody>
      </p:sp>
      <p:pic>
        <p:nvPicPr>
          <p:cNvPr id="66" name="Рисунок 65">
            <a:extLst>
              <a:ext uri="{FF2B5EF4-FFF2-40B4-BE49-F238E27FC236}">
                <a16:creationId xmlns:a16="http://schemas.microsoft.com/office/drawing/2014/main" id="{F9F033CD-138B-C4C8-D7FB-E2DC29FEF5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222" y="7655045"/>
            <a:ext cx="4794027" cy="4794027"/>
          </a:xfrm>
          <a:prstGeom prst="rect">
            <a:avLst/>
          </a:prstGeom>
        </p:spPr>
      </p:pic>
      <p:sp>
        <p:nvSpPr>
          <p:cNvPr id="67" name="Рисунок 1311">
            <a:extLst>
              <a:ext uri="{FF2B5EF4-FFF2-40B4-BE49-F238E27FC236}">
                <a16:creationId xmlns:a16="http://schemas.microsoft.com/office/drawing/2014/main" id="{B7FB47C4-B3E3-F0B4-51E7-EC2DE714AF13}"/>
              </a:ext>
            </a:extLst>
          </p:cNvPr>
          <p:cNvSpPr/>
          <p:nvPr/>
        </p:nvSpPr>
        <p:spPr>
          <a:xfrm>
            <a:off x="14544781" y="10451844"/>
            <a:ext cx="713563" cy="619017"/>
          </a:xfrm>
          <a:custGeom>
            <a:avLst/>
            <a:gdLst>
              <a:gd name="connsiteX0" fmla="*/ 141345 w 199053"/>
              <a:gd name="connsiteY0" fmla="*/ 27378 h 172679"/>
              <a:gd name="connsiteX1" fmla="*/ 104775 w 199053"/>
              <a:gd name="connsiteY1" fmla="*/ 0 h 172679"/>
              <a:gd name="connsiteX2" fmla="*/ 0 w 199053"/>
              <a:gd name="connsiteY2" fmla="*/ 0 h 172679"/>
              <a:gd name="connsiteX3" fmla="*/ 0 w 199053"/>
              <a:gd name="connsiteY3" fmla="*/ 19050 h 172679"/>
              <a:gd name="connsiteX4" fmla="*/ 19050 w 199053"/>
              <a:gd name="connsiteY4" fmla="*/ 38686 h 172679"/>
              <a:gd name="connsiteX5" fmla="*/ 19050 w 199053"/>
              <a:gd name="connsiteY5" fmla="*/ 134580 h 172679"/>
              <a:gd name="connsiteX6" fmla="*/ 57150 w 199053"/>
              <a:gd name="connsiteY6" fmla="*/ 172680 h 172679"/>
              <a:gd name="connsiteX7" fmla="*/ 161925 w 199053"/>
              <a:gd name="connsiteY7" fmla="*/ 172680 h 172679"/>
              <a:gd name="connsiteX8" fmla="*/ 161925 w 199053"/>
              <a:gd name="connsiteY8" fmla="*/ 153630 h 172679"/>
              <a:gd name="connsiteX9" fmla="*/ 142875 w 199053"/>
              <a:gd name="connsiteY9" fmla="*/ 129231 h 172679"/>
              <a:gd name="connsiteX10" fmla="*/ 142875 w 199053"/>
              <a:gd name="connsiteY10" fmla="*/ 104277 h 172679"/>
              <a:gd name="connsiteX11" fmla="*/ 199053 w 199053"/>
              <a:gd name="connsiteY11" fmla="*/ 48099 h 172679"/>
              <a:gd name="connsiteX12" fmla="*/ 198852 w 199053"/>
              <a:gd name="connsiteY12" fmla="*/ 47897 h 172679"/>
              <a:gd name="connsiteX13" fmla="*/ 183797 w 199053"/>
              <a:gd name="connsiteY13" fmla="*/ 36414 h 172679"/>
              <a:gd name="connsiteX14" fmla="*/ 141345 w 199053"/>
              <a:gd name="connsiteY14" fmla="*/ 27378 h 172679"/>
              <a:gd name="connsiteX15" fmla="*/ 104589 w 199053"/>
              <a:gd name="connsiteY15" fmla="*/ 115534 h 172679"/>
              <a:gd name="connsiteX16" fmla="*/ 169632 w 199053"/>
              <a:gd name="connsiteY16" fmla="*/ 50579 h 172679"/>
              <a:gd name="connsiteX17" fmla="*/ 111191 w 199053"/>
              <a:gd name="connsiteY17" fmla="*/ 61486 h 172679"/>
              <a:gd name="connsiteX18" fmla="*/ 37914 w 199053"/>
              <a:gd name="connsiteY18" fmla="*/ 134584 h 172679"/>
              <a:gd name="connsiteX19" fmla="*/ 56964 w 199053"/>
              <a:gd name="connsiteY19" fmla="*/ 134584 h 172679"/>
              <a:gd name="connsiteX20" fmla="*/ 76014 w 199053"/>
              <a:gd name="connsiteY20" fmla="*/ 115534 h 172679"/>
              <a:gd name="connsiteX21" fmla="*/ 104589 w 199053"/>
              <a:gd name="connsiteY21" fmla="*/ 115534 h 172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99053" h="172679">
                <a:moveTo>
                  <a:pt x="141345" y="27378"/>
                </a:moveTo>
                <a:cubicBezTo>
                  <a:pt x="136714" y="11556"/>
                  <a:pt x="122094" y="0"/>
                  <a:pt x="104775" y="0"/>
                </a:cubicBezTo>
                <a:lnTo>
                  <a:pt x="0" y="0"/>
                </a:lnTo>
                <a:lnTo>
                  <a:pt x="0" y="19050"/>
                </a:lnTo>
                <a:cubicBezTo>
                  <a:pt x="9974" y="21544"/>
                  <a:pt x="19050" y="26967"/>
                  <a:pt x="19050" y="38686"/>
                </a:cubicBezTo>
                <a:lnTo>
                  <a:pt x="19050" y="134580"/>
                </a:lnTo>
                <a:cubicBezTo>
                  <a:pt x="19050" y="155622"/>
                  <a:pt x="36108" y="172680"/>
                  <a:pt x="57150" y="172680"/>
                </a:cubicBezTo>
                <a:lnTo>
                  <a:pt x="161925" y="172680"/>
                </a:lnTo>
                <a:lnTo>
                  <a:pt x="161925" y="153630"/>
                </a:lnTo>
                <a:cubicBezTo>
                  <a:pt x="150729" y="150831"/>
                  <a:pt x="142875" y="140772"/>
                  <a:pt x="142875" y="129231"/>
                </a:cubicBezTo>
                <a:lnTo>
                  <a:pt x="142875" y="104277"/>
                </a:lnTo>
                <a:lnTo>
                  <a:pt x="199053" y="48099"/>
                </a:lnTo>
                <a:lnTo>
                  <a:pt x="198852" y="47897"/>
                </a:lnTo>
                <a:cubicBezTo>
                  <a:pt x="194250" y="43314"/>
                  <a:pt x="189181" y="39487"/>
                  <a:pt x="183797" y="36414"/>
                </a:cubicBezTo>
                <a:cubicBezTo>
                  <a:pt x="170758" y="28971"/>
                  <a:pt x="155877" y="25959"/>
                  <a:pt x="141345" y="27378"/>
                </a:cubicBezTo>
                <a:close/>
                <a:moveTo>
                  <a:pt x="104589" y="115534"/>
                </a:moveTo>
                <a:lnTo>
                  <a:pt x="169632" y="50579"/>
                </a:lnTo>
                <a:cubicBezTo>
                  <a:pt x="150356" y="42041"/>
                  <a:pt x="126990" y="45674"/>
                  <a:pt x="111191" y="61486"/>
                </a:cubicBezTo>
                <a:lnTo>
                  <a:pt x="37914" y="134584"/>
                </a:lnTo>
                <a:lnTo>
                  <a:pt x="56964" y="134584"/>
                </a:lnTo>
                <a:lnTo>
                  <a:pt x="76014" y="115534"/>
                </a:lnTo>
                <a:lnTo>
                  <a:pt x="104589" y="115534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8" name="Рисунок 1035">
            <a:extLst>
              <a:ext uri="{FF2B5EF4-FFF2-40B4-BE49-F238E27FC236}">
                <a16:creationId xmlns:a16="http://schemas.microsoft.com/office/drawing/2014/main" id="{E2463F08-4B0D-2CC7-EEC0-23D7918EC947}"/>
              </a:ext>
            </a:extLst>
          </p:cNvPr>
          <p:cNvSpPr/>
          <p:nvPr/>
        </p:nvSpPr>
        <p:spPr>
          <a:xfrm>
            <a:off x="21914108" y="10319668"/>
            <a:ext cx="614612" cy="751193"/>
          </a:xfrm>
          <a:custGeom>
            <a:avLst/>
            <a:gdLst>
              <a:gd name="connsiteX0" fmla="*/ 114300 w 171450"/>
              <a:gd name="connsiteY0" fmla="*/ 0 h 209550"/>
              <a:gd name="connsiteX1" fmla="*/ 100013 w 171450"/>
              <a:gd name="connsiteY1" fmla="*/ 0 h 209550"/>
              <a:gd name="connsiteX2" fmla="*/ 0 w 171450"/>
              <a:gd name="connsiteY2" fmla="*/ 133350 h 209550"/>
              <a:gd name="connsiteX3" fmla="*/ 61913 w 171450"/>
              <a:gd name="connsiteY3" fmla="*/ 133350 h 209550"/>
              <a:gd name="connsiteX4" fmla="*/ 57150 w 171450"/>
              <a:gd name="connsiteY4" fmla="*/ 209550 h 209550"/>
              <a:gd name="connsiteX5" fmla="*/ 71438 w 171450"/>
              <a:gd name="connsiteY5" fmla="*/ 209550 h 209550"/>
              <a:gd name="connsiteX6" fmla="*/ 171450 w 171450"/>
              <a:gd name="connsiteY6" fmla="*/ 76200 h 209550"/>
              <a:gd name="connsiteX7" fmla="*/ 109538 w 171450"/>
              <a:gd name="connsiteY7" fmla="*/ 76200 h 209550"/>
              <a:gd name="connsiteX8" fmla="*/ 114300 w 171450"/>
              <a:gd name="connsiteY8" fmla="*/ 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1450" h="209550">
                <a:moveTo>
                  <a:pt x="114300" y="0"/>
                </a:moveTo>
                <a:lnTo>
                  <a:pt x="100013" y="0"/>
                </a:lnTo>
                <a:lnTo>
                  <a:pt x="0" y="133350"/>
                </a:lnTo>
                <a:lnTo>
                  <a:pt x="61913" y="133350"/>
                </a:lnTo>
                <a:lnTo>
                  <a:pt x="57150" y="209550"/>
                </a:lnTo>
                <a:lnTo>
                  <a:pt x="71438" y="209550"/>
                </a:lnTo>
                <a:lnTo>
                  <a:pt x="171450" y="76200"/>
                </a:lnTo>
                <a:lnTo>
                  <a:pt x="109538" y="76200"/>
                </a:lnTo>
                <a:lnTo>
                  <a:pt x="114300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21237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BC82D0-5E3F-61A2-0AD1-E9EB2BA5DA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13200C05-2E71-4B86-C34B-BFFAA49A215B}"/>
              </a:ext>
            </a:extLst>
          </p:cNvPr>
          <p:cNvSpPr txBox="1">
            <a:spLocks/>
          </p:cNvSpPr>
          <p:nvPr/>
        </p:nvSpPr>
        <p:spPr>
          <a:xfrm>
            <a:off x="2348695" y="5026633"/>
            <a:ext cx="19685022" cy="366273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lnSpc>
                <a:spcPct val="82000"/>
              </a:lnSpc>
              <a:spcBef>
                <a:spcPct val="0"/>
              </a:spcBef>
              <a:buNone/>
              <a:defRPr sz="12000">
                <a:solidFill>
                  <a:schemeClr val="bg2"/>
                </a:solidFill>
                <a:latin typeface="YS Display Regular" pitchFamily="2" charset="0"/>
              </a:defRPr>
            </a:lvl1pPr>
          </a:lstStyle>
          <a:p>
            <a:pPr algn="ctr">
              <a:lnSpc>
                <a:spcPct val="80000"/>
              </a:lnSpc>
              <a:buClr>
                <a:schemeClr val="lt1"/>
              </a:buClr>
              <a:buSzPts val="5600"/>
            </a:pPr>
            <a:r>
              <a:rPr lang="ru-RU" sz="14800" dirty="0">
                <a:solidFill>
                  <a:schemeClr val="bg1"/>
                </a:solidFill>
                <a:latin typeface="+mj-lt"/>
                <a:sym typeface="Play"/>
              </a:rPr>
              <a:t>Работать всё же</a:t>
            </a:r>
            <a:br>
              <a:rPr lang="ru-RU" sz="14800" dirty="0">
                <a:solidFill>
                  <a:schemeClr val="bg1"/>
                </a:solidFill>
                <a:latin typeface="+mj-lt"/>
                <a:sym typeface="Play"/>
              </a:rPr>
            </a:br>
            <a:r>
              <a:rPr lang="ru-RU" sz="14800" dirty="0">
                <a:solidFill>
                  <a:schemeClr val="accent3"/>
                </a:solidFill>
                <a:latin typeface="+mj-lt"/>
                <a:sym typeface="Play"/>
              </a:rPr>
              <a:t>придётся!</a:t>
            </a:r>
            <a:endParaRPr lang="ru-RU" sz="148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27951D2B-DAF0-A6AB-CC61-B6CC817D78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99406" y="12369600"/>
            <a:ext cx="19983600" cy="317972"/>
          </a:xfrm>
        </p:spPr>
        <p:txBody>
          <a:bodyPr/>
          <a:lstStyle/>
          <a:p>
            <a:pPr algn="ctr"/>
            <a:r>
              <a:rPr lang="ru-RU" dirty="0"/>
              <a:t>Исследование АРИР, июнь 2026 г.</a:t>
            </a:r>
          </a:p>
        </p:txBody>
      </p:sp>
    </p:spTree>
    <p:extLst>
      <p:ext uri="{BB962C8B-B14F-4D97-AF65-F5344CB8AC3E}">
        <p14:creationId xmlns:p14="http://schemas.microsoft.com/office/powerpoint/2010/main" val="4439170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8BD33B-6FDC-2265-AF13-D152F5D5D8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3A7684B-A833-3B44-1D2D-B3CA360C94E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89" t="20059" r="12789" b="613"/>
          <a:stretch>
            <a:fillRect/>
          </a:stretch>
        </p:blipFill>
        <p:spPr>
          <a:xfrm>
            <a:off x="0" y="0"/>
            <a:ext cx="24382412" cy="13716000"/>
          </a:xfrm>
          <a:prstGeom prst="rect">
            <a:avLst/>
          </a:prstGeom>
        </p:spPr>
      </p:pic>
      <p:sp>
        <p:nvSpPr>
          <p:cNvPr id="2" name="Текст 1">
            <a:extLst>
              <a:ext uri="{FF2B5EF4-FFF2-40B4-BE49-F238E27FC236}">
                <a16:creationId xmlns:a16="http://schemas.microsoft.com/office/drawing/2014/main" id="{88EE9AA0-C064-C3A8-6072-71C6A767D8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40000" y="1652245"/>
            <a:ext cx="14205137" cy="1231106"/>
          </a:xfrm>
        </p:spPr>
        <p:txBody>
          <a:bodyPr/>
          <a:lstStyle/>
          <a:p>
            <a:r>
              <a:rPr lang="ru-RU" dirty="0"/>
              <a:t>Директор по работе с агентствами </a:t>
            </a:r>
            <a:br>
              <a:rPr lang="ru-RU" dirty="0"/>
            </a:br>
            <a:r>
              <a:rPr lang="ru-RU" dirty="0"/>
              <a:t>и партнёрами Рекламой сети Яндекс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C27B883-1012-705A-51A4-6C44E4E937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042075"/>
            <a:ext cx="14205137" cy="615553"/>
          </a:xfrm>
        </p:spPr>
        <p:txBody>
          <a:bodyPr/>
          <a:lstStyle/>
          <a:p>
            <a:r>
              <a:rPr lang="ru-RU" dirty="0"/>
              <a:t>Виктория </a:t>
            </a:r>
            <a:r>
              <a:rPr lang="ru-RU" dirty="0" err="1"/>
              <a:t>Кинаш</a:t>
            </a:r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B0A2BAA-1400-34AC-B958-B152E85C7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5055018"/>
            <a:ext cx="21492000" cy="7306808"/>
          </a:xfrm>
        </p:spPr>
        <p:txBody>
          <a:bodyPr/>
          <a:lstStyle/>
          <a:p>
            <a:r>
              <a:rPr lang="ru" dirty="0"/>
              <a:t>ИИ уже </a:t>
            </a:r>
            <a:br>
              <a:rPr lang="ru" dirty="0"/>
            </a:br>
            <a:r>
              <a:rPr lang="ru" dirty="0"/>
              <a:t>не преимущество.</a:t>
            </a:r>
            <a:br>
              <a:rPr lang="ru" dirty="0"/>
            </a:br>
            <a:r>
              <a:rPr lang="ru" dirty="0"/>
              <a:t>Преимущество — </a:t>
            </a:r>
            <a:br>
              <a:rPr lang="ru" dirty="0"/>
            </a:br>
            <a:r>
              <a:rPr lang="ru" dirty="0"/>
              <a:t>уметь им управлять</a:t>
            </a:r>
            <a:endParaRPr lang="ru-RU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44723072-EBB9-4DC6-F826-263B49B1AE0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708481" y="1032328"/>
            <a:ext cx="3240000" cy="727182"/>
          </a:xfrm>
          <a:prstGeom prst="rect">
            <a:avLst/>
          </a:prstGeom>
        </p:spPr>
      </p:pic>
      <p:pic>
        <p:nvPicPr>
          <p:cNvPr id="8" name="Google Shape;19;p1" title="logo 1.png">
            <a:extLst>
              <a:ext uri="{FF2B5EF4-FFF2-40B4-BE49-F238E27FC236}">
                <a16:creationId xmlns:a16="http://schemas.microsoft.com/office/drawing/2014/main" id="{D436FB6C-70C5-71FB-831F-0D0C560AF32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9708481" y="2433637"/>
            <a:ext cx="3240000" cy="347774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586204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29ADA20-8365-4511-9E41-2A70838C6CA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" r="4"/>
          <a:stretch/>
        </p:blipFill>
        <p:spPr>
          <a:xfrm>
            <a:off x="-1" y="0"/>
            <a:ext cx="24380313" cy="13715104"/>
          </a:xfrm>
          <a:prstGeom prst="rect">
            <a:avLst/>
          </a:prstGeom>
        </p:spPr>
      </p:pic>
      <p:sp>
        <p:nvSpPr>
          <p:cNvPr id="7" name="Текст 6">
            <a:extLst>
              <a:ext uri="{FF2B5EF4-FFF2-40B4-BE49-F238E27FC236}">
                <a16:creationId xmlns:a16="http://schemas.microsoft.com/office/drawing/2014/main" id="{C56582FE-B860-40CC-96F7-FD047915AE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C79F7C8-958E-4634-BDAC-79E2C3B4097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311"/>
          <a:stretch>
            <a:fillRect/>
          </a:stretch>
        </p:blipFill>
        <p:spPr>
          <a:xfrm rot="21368313" flipH="1">
            <a:off x="-3619966" y="7034889"/>
            <a:ext cx="8617950" cy="8913016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40A8B85-D22D-4DA9-801A-97B15692E23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629" b="-1"/>
          <a:stretch>
            <a:fillRect/>
          </a:stretch>
        </p:blipFill>
        <p:spPr>
          <a:xfrm>
            <a:off x="13702229" y="0"/>
            <a:ext cx="11646674" cy="4702015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697ED467-3472-D75C-46D7-C34238D9D843}"/>
              </a:ext>
            </a:extLst>
          </p:cNvPr>
          <p:cNvSpPr txBox="1">
            <a:spLocks/>
          </p:cNvSpPr>
          <p:nvPr/>
        </p:nvSpPr>
        <p:spPr>
          <a:xfrm>
            <a:off x="2348695" y="5026633"/>
            <a:ext cx="19685022" cy="366273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lnSpc>
                <a:spcPct val="82000"/>
              </a:lnSpc>
              <a:spcBef>
                <a:spcPct val="0"/>
              </a:spcBef>
              <a:buNone/>
              <a:defRPr sz="12000">
                <a:solidFill>
                  <a:schemeClr val="bg2"/>
                </a:solidFill>
                <a:latin typeface="YS Display Regular" pitchFamily="2" charset="0"/>
              </a:defRPr>
            </a:lvl1pPr>
          </a:lstStyle>
          <a:p>
            <a:pPr algn="ctr">
              <a:lnSpc>
                <a:spcPct val="80000"/>
              </a:lnSpc>
              <a:buClr>
                <a:schemeClr val="lt1"/>
              </a:buClr>
              <a:buSzPts val="5600"/>
            </a:pPr>
            <a:r>
              <a:rPr lang="ru-RU" sz="14800" dirty="0">
                <a:solidFill>
                  <a:schemeClr val="bg1"/>
                </a:solidFill>
                <a:latin typeface="+mj-lt"/>
                <a:sym typeface="Play"/>
              </a:rPr>
              <a:t>Кто владеет ИИ,</a:t>
            </a:r>
            <a:br>
              <a:rPr lang="ru-RU" sz="14800" dirty="0">
                <a:solidFill>
                  <a:schemeClr val="bg1"/>
                </a:solidFill>
                <a:latin typeface="+mj-lt"/>
                <a:sym typeface="Play"/>
              </a:rPr>
            </a:br>
            <a:r>
              <a:rPr lang="ru-RU" sz="14800" dirty="0">
                <a:solidFill>
                  <a:schemeClr val="accent3"/>
                </a:solidFill>
                <a:latin typeface="+mj-lt"/>
                <a:sym typeface="Play"/>
              </a:rPr>
              <a:t>тот владеет миром</a:t>
            </a:r>
            <a:endParaRPr lang="ru-RU" sz="14800" dirty="0">
              <a:solidFill>
                <a:schemeClr val="accent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947692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2EA0DD-5F3C-5E2A-1CEA-815E6C7A0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Скругленный прямоугольник 4">
            <a:extLst>
              <a:ext uri="{FF2B5EF4-FFF2-40B4-BE49-F238E27FC236}">
                <a16:creationId xmlns:a16="http://schemas.microsoft.com/office/drawing/2014/main" id="{054BAA24-C35F-D9A5-1402-7E59A3B97F5C}"/>
              </a:ext>
            </a:extLst>
          </p:cNvPr>
          <p:cNvSpPr/>
          <p:nvPr/>
        </p:nvSpPr>
        <p:spPr>
          <a:xfrm>
            <a:off x="326073" y="10332691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29" name="Title 18">
            <a:extLst>
              <a:ext uri="{FF2B5EF4-FFF2-40B4-BE49-F238E27FC236}">
                <a16:creationId xmlns:a16="http://schemas.microsoft.com/office/drawing/2014/main" id="{DF6A8ABF-3697-D274-B423-03585D4F2D0B}"/>
              </a:ext>
            </a:extLst>
          </p:cNvPr>
          <p:cNvSpPr txBox="1">
            <a:spLocks/>
          </p:cNvSpPr>
          <p:nvPr/>
        </p:nvSpPr>
        <p:spPr>
          <a:xfrm>
            <a:off x="1441450" y="11229353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агент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34" name="Скругленный прямоугольник 4">
            <a:extLst>
              <a:ext uri="{FF2B5EF4-FFF2-40B4-BE49-F238E27FC236}">
                <a16:creationId xmlns:a16="http://schemas.microsoft.com/office/drawing/2014/main" id="{3F7BF58F-B648-7860-4A94-A0160D34D2B1}"/>
              </a:ext>
            </a:extLst>
          </p:cNvPr>
          <p:cNvSpPr/>
          <p:nvPr/>
        </p:nvSpPr>
        <p:spPr>
          <a:xfrm>
            <a:off x="326073" y="347844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35" name="Title 18">
            <a:extLst>
              <a:ext uri="{FF2B5EF4-FFF2-40B4-BE49-F238E27FC236}">
                <a16:creationId xmlns:a16="http://schemas.microsoft.com/office/drawing/2014/main" id="{4104D34B-35A3-5E25-3568-5092562EB708}"/>
              </a:ext>
            </a:extLst>
          </p:cNvPr>
          <p:cNvSpPr txBox="1">
            <a:spLocks/>
          </p:cNvSpPr>
          <p:nvPr/>
        </p:nvSpPr>
        <p:spPr>
          <a:xfrm>
            <a:off x="1441450" y="1244506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ИИ как технология</a:t>
            </a:r>
            <a:endParaRPr lang="en-001" dirty="0"/>
          </a:p>
        </p:txBody>
      </p:sp>
      <p:sp>
        <p:nvSpPr>
          <p:cNvPr id="37" name="Скругленный прямоугольник 4">
            <a:extLst>
              <a:ext uri="{FF2B5EF4-FFF2-40B4-BE49-F238E27FC236}">
                <a16:creationId xmlns:a16="http://schemas.microsoft.com/office/drawing/2014/main" id="{BD0DC121-A4F6-93EF-7C4B-A690528B34FC}"/>
              </a:ext>
            </a:extLst>
          </p:cNvPr>
          <p:cNvSpPr/>
          <p:nvPr/>
        </p:nvSpPr>
        <p:spPr>
          <a:xfrm>
            <a:off x="326073" y="3676126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38" name="Title 18">
            <a:extLst>
              <a:ext uri="{FF2B5EF4-FFF2-40B4-BE49-F238E27FC236}">
                <a16:creationId xmlns:a16="http://schemas.microsoft.com/office/drawing/2014/main" id="{BBCE9134-466A-AD14-1E84-A6A5F8E7A0A2}"/>
              </a:ext>
            </a:extLst>
          </p:cNvPr>
          <p:cNvSpPr txBox="1">
            <a:spLocks/>
          </p:cNvSpPr>
          <p:nvPr/>
        </p:nvSpPr>
        <p:spPr>
          <a:xfrm>
            <a:off x="1441450" y="4572788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инструмент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40" name="Скругленный прямоугольник 4">
            <a:extLst>
              <a:ext uri="{FF2B5EF4-FFF2-40B4-BE49-F238E27FC236}">
                <a16:creationId xmlns:a16="http://schemas.microsoft.com/office/drawing/2014/main" id="{412BD98C-456D-17D5-44FF-2821387F5CEB}"/>
              </a:ext>
            </a:extLst>
          </p:cNvPr>
          <p:cNvSpPr/>
          <p:nvPr/>
        </p:nvSpPr>
        <p:spPr>
          <a:xfrm>
            <a:off x="326073" y="7004408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41" name="Title 18">
            <a:extLst>
              <a:ext uri="{FF2B5EF4-FFF2-40B4-BE49-F238E27FC236}">
                <a16:creationId xmlns:a16="http://schemas.microsoft.com/office/drawing/2014/main" id="{C087B1FD-AEB8-1221-C703-C4398AD30757}"/>
              </a:ext>
            </a:extLst>
          </p:cNvPr>
          <p:cNvSpPr txBox="1">
            <a:spLocks/>
          </p:cNvSpPr>
          <p:nvPr/>
        </p:nvSpPr>
        <p:spPr>
          <a:xfrm>
            <a:off x="1441450" y="7901070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поверхность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46" name="Объект 4">
            <a:extLst>
              <a:ext uri="{FF2B5EF4-FFF2-40B4-BE49-F238E27FC236}">
                <a16:creationId xmlns:a16="http://schemas.microsoft.com/office/drawing/2014/main" id="{5860594C-2237-FBC0-86A7-1E782988B29D}"/>
              </a:ext>
            </a:extLst>
          </p:cNvPr>
          <p:cNvSpPr txBox="1">
            <a:spLocks/>
          </p:cNvSpPr>
          <p:nvPr/>
        </p:nvSpPr>
        <p:spPr>
          <a:xfrm>
            <a:off x="18963802" y="1147851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algn="ctr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23000" dirty="0">
                <a:ln w="25400">
                  <a:solidFill>
                    <a:schemeClr val="accent3"/>
                  </a:solidFill>
                </a:ln>
                <a:noFill/>
                <a:latin typeface="+mj-lt"/>
              </a:rPr>
              <a:t>01</a:t>
            </a:r>
          </a:p>
        </p:txBody>
      </p:sp>
      <p:sp>
        <p:nvSpPr>
          <p:cNvPr id="48" name="Объект 4">
            <a:extLst>
              <a:ext uri="{FF2B5EF4-FFF2-40B4-BE49-F238E27FC236}">
                <a16:creationId xmlns:a16="http://schemas.microsoft.com/office/drawing/2014/main" id="{C10B3FF8-7939-3103-F1C4-A017BCA7A75C}"/>
              </a:ext>
            </a:extLst>
          </p:cNvPr>
          <p:cNvSpPr txBox="1">
            <a:spLocks/>
          </p:cNvSpPr>
          <p:nvPr/>
        </p:nvSpPr>
        <p:spPr>
          <a:xfrm>
            <a:off x="18963802" y="4476133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algn="ctr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23000" dirty="0">
                <a:ln w="25400">
                  <a:solidFill>
                    <a:srgbClr val="324164"/>
                  </a:solidFill>
                </a:ln>
                <a:noFill/>
                <a:latin typeface="+mj-lt"/>
              </a:rPr>
              <a:t>02</a:t>
            </a:r>
          </a:p>
        </p:txBody>
      </p:sp>
      <p:sp>
        <p:nvSpPr>
          <p:cNvPr id="50" name="Объект 4">
            <a:extLst>
              <a:ext uri="{FF2B5EF4-FFF2-40B4-BE49-F238E27FC236}">
                <a16:creationId xmlns:a16="http://schemas.microsoft.com/office/drawing/2014/main" id="{1C66E719-8EF4-9250-2EC1-99E0F4FE5705}"/>
              </a:ext>
            </a:extLst>
          </p:cNvPr>
          <p:cNvSpPr txBox="1">
            <a:spLocks/>
          </p:cNvSpPr>
          <p:nvPr/>
        </p:nvSpPr>
        <p:spPr>
          <a:xfrm>
            <a:off x="18963802" y="7804415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algn="ctr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23000" dirty="0">
                <a:ln w="25400">
                  <a:solidFill>
                    <a:srgbClr val="324164"/>
                  </a:solidFill>
                </a:ln>
                <a:noFill/>
                <a:latin typeface="+mj-lt"/>
              </a:rPr>
              <a:t>03</a:t>
            </a:r>
          </a:p>
        </p:txBody>
      </p:sp>
      <p:sp>
        <p:nvSpPr>
          <p:cNvPr id="52" name="Объект 4">
            <a:extLst>
              <a:ext uri="{FF2B5EF4-FFF2-40B4-BE49-F238E27FC236}">
                <a16:creationId xmlns:a16="http://schemas.microsoft.com/office/drawing/2014/main" id="{99AECF1E-49C1-B488-F588-A900BE3F2C05}"/>
              </a:ext>
            </a:extLst>
          </p:cNvPr>
          <p:cNvSpPr txBox="1">
            <a:spLocks/>
          </p:cNvSpPr>
          <p:nvPr/>
        </p:nvSpPr>
        <p:spPr>
          <a:xfrm>
            <a:off x="18963802" y="11132698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algn="ctr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23000" dirty="0">
                <a:ln w="25400">
                  <a:solidFill>
                    <a:srgbClr val="324164"/>
                  </a:solidFill>
                </a:ln>
                <a:noFill/>
                <a:latin typeface="+mj-lt"/>
              </a:rPr>
              <a:t>04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2373E7D6-0327-6D9F-6262-17FFB1322797}"/>
              </a:ext>
            </a:extLst>
          </p:cNvPr>
          <p:cNvSpPr/>
          <p:nvPr/>
        </p:nvSpPr>
        <p:spPr>
          <a:xfrm>
            <a:off x="20306913" y="3397206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B9EC3C3A-D8FB-41CC-FD1D-7E505C330A57}"/>
              </a:ext>
            </a:extLst>
          </p:cNvPr>
          <p:cNvSpPr/>
          <p:nvPr/>
        </p:nvSpPr>
        <p:spPr>
          <a:xfrm>
            <a:off x="20306913" y="6725488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67AF4950-9EDA-54A7-AB3A-901EA99B1343}"/>
              </a:ext>
            </a:extLst>
          </p:cNvPr>
          <p:cNvSpPr/>
          <p:nvPr/>
        </p:nvSpPr>
        <p:spPr>
          <a:xfrm>
            <a:off x="20306913" y="10059762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3826B617-6358-A2C6-8BD0-4FE6316DDDE5}"/>
              </a:ext>
            </a:extLst>
          </p:cNvPr>
          <p:cNvSpPr/>
          <p:nvPr/>
        </p:nvSpPr>
        <p:spPr>
          <a:xfrm>
            <a:off x="20306913" y="13388335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53958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8">
          <a:extLst>
            <a:ext uri="{FF2B5EF4-FFF2-40B4-BE49-F238E27FC236}">
              <a16:creationId xmlns:a16="http://schemas.microsoft.com/office/drawing/2014/main" id="{C3707B0D-CA75-BFF7-B9B3-24B577F43F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0" name="Google Shape;770;p40">
            <a:extLst>
              <a:ext uri="{FF2B5EF4-FFF2-40B4-BE49-F238E27FC236}">
                <a16:creationId xmlns:a16="http://schemas.microsoft.com/office/drawing/2014/main" id="{1D9AFEEE-2BF7-FF35-E111-D2FCB6BE7D6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439999" y="12326132"/>
            <a:ext cx="19983611" cy="36106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spAutoFit/>
          </a:bodyPr>
          <a:lstStyle/>
          <a:p>
            <a:pPr marL="0" indent="0"/>
            <a:r>
              <a:rPr lang="ru-RU" dirty="0"/>
              <a:t>Данные Яндекса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2F0B9B2F-DB34-2C50-7047-C75D4FF724CF}"/>
              </a:ext>
            </a:extLst>
          </p:cNvPr>
          <p:cNvGrpSpPr/>
          <p:nvPr/>
        </p:nvGrpSpPr>
        <p:grpSpPr>
          <a:xfrm>
            <a:off x="12391343" y="1252679"/>
            <a:ext cx="10878777" cy="14957139"/>
            <a:chOff x="15395799" y="303212"/>
            <a:chExt cx="12684995" cy="17440494"/>
          </a:xfrm>
        </p:grpSpPr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633F8E11-5BEB-7823-CA69-C905E7719A6C}"/>
                </a:ext>
              </a:extLst>
            </p:cNvPr>
            <p:cNvGrpSpPr/>
            <p:nvPr/>
          </p:nvGrpSpPr>
          <p:grpSpPr>
            <a:xfrm>
              <a:off x="16136624" y="828281"/>
              <a:ext cx="11944170" cy="16915425"/>
              <a:chOff x="16136624" y="828281"/>
              <a:chExt cx="11944170" cy="16915425"/>
            </a:xfrm>
          </p:grpSpPr>
          <p:sp>
            <p:nvSpPr>
              <p:cNvPr id="4" name="Скругленный прямоугольник 3">
                <a:extLst>
                  <a:ext uri="{FF2B5EF4-FFF2-40B4-BE49-F238E27FC236}">
                    <a16:creationId xmlns:a16="http://schemas.microsoft.com/office/drawing/2014/main" id="{92853217-A109-6135-0D17-A658FC85CFC4}"/>
                  </a:ext>
                </a:extLst>
              </p:cNvPr>
              <p:cNvSpPr/>
              <p:nvPr/>
            </p:nvSpPr>
            <p:spPr>
              <a:xfrm rot="447101">
                <a:off x="16136624" y="828281"/>
                <a:ext cx="8711148" cy="13104812"/>
              </a:xfrm>
              <a:prstGeom prst="roundRect">
                <a:avLst>
                  <a:gd name="adj" fmla="val 6147"/>
                </a:avLst>
              </a:prstGeom>
              <a:solidFill>
                <a:schemeClr val="accent1"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>
                  <a:lnSpc>
                    <a:spcPct val="104000"/>
                  </a:lnSpc>
                  <a:spcAft>
                    <a:spcPts val="2400"/>
                  </a:spcAft>
                </a:pPr>
                <a:endParaRPr lang="ru-RU" sz="2800" dirty="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9" name="Скругленный прямоугольник 8">
                <a:extLst>
                  <a:ext uri="{FF2B5EF4-FFF2-40B4-BE49-F238E27FC236}">
                    <a16:creationId xmlns:a16="http://schemas.microsoft.com/office/drawing/2014/main" id="{4A67F18F-4E4F-3B7D-2D30-C793364C563E}"/>
                  </a:ext>
                </a:extLst>
              </p:cNvPr>
              <p:cNvSpPr/>
              <p:nvPr/>
            </p:nvSpPr>
            <p:spPr>
              <a:xfrm rot="687818">
                <a:off x="16967897" y="1410172"/>
                <a:ext cx="8711148" cy="13104812"/>
              </a:xfrm>
              <a:prstGeom prst="roundRect">
                <a:avLst>
                  <a:gd name="adj" fmla="val 6147"/>
                </a:avLst>
              </a:prstGeom>
              <a:solidFill>
                <a:schemeClr val="accent1"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>
                  <a:lnSpc>
                    <a:spcPct val="104000"/>
                  </a:lnSpc>
                  <a:spcAft>
                    <a:spcPts val="2400"/>
                  </a:spcAft>
                </a:pPr>
                <a:endParaRPr lang="ru-RU" sz="2800" dirty="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0" name="Скругленный прямоугольник 9">
                <a:extLst>
                  <a:ext uri="{FF2B5EF4-FFF2-40B4-BE49-F238E27FC236}">
                    <a16:creationId xmlns:a16="http://schemas.microsoft.com/office/drawing/2014/main" id="{240683F7-73C8-D8C1-3A1B-CB9B1097D6E3}"/>
                  </a:ext>
                </a:extLst>
              </p:cNvPr>
              <p:cNvSpPr/>
              <p:nvPr/>
            </p:nvSpPr>
            <p:spPr>
              <a:xfrm rot="951621">
                <a:off x="17666414" y="2383375"/>
                <a:ext cx="8711148" cy="13104812"/>
              </a:xfrm>
              <a:prstGeom prst="roundRect">
                <a:avLst>
                  <a:gd name="adj" fmla="val 6147"/>
                </a:avLst>
              </a:prstGeom>
              <a:solidFill>
                <a:schemeClr val="accent1"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>
                  <a:lnSpc>
                    <a:spcPct val="104000"/>
                  </a:lnSpc>
                  <a:spcAft>
                    <a:spcPts val="2400"/>
                  </a:spcAft>
                </a:pPr>
                <a:endParaRPr lang="ru-RU" sz="2800" dirty="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1" name="Скругленный прямоугольник 10">
                <a:extLst>
                  <a:ext uri="{FF2B5EF4-FFF2-40B4-BE49-F238E27FC236}">
                    <a16:creationId xmlns:a16="http://schemas.microsoft.com/office/drawing/2014/main" id="{5C10DC03-9D2D-4C35-A020-CDB5D6A8A680}"/>
                  </a:ext>
                </a:extLst>
              </p:cNvPr>
              <p:cNvSpPr/>
              <p:nvPr/>
            </p:nvSpPr>
            <p:spPr>
              <a:xfrm rot="1165601">
                <a:off x="18630602" y="3297776"/>
                <a:ext cx="8711148" cy="13104812"/>
              </a:xfrm>
              <a:prstGeom prst="roundRect">
                <a:avLst>
                  <a:gd name="adj" fmla="val 6147"/>
                </a:avLst>
              </a:prstGeom>
              <a:solidFill>
                <a:schemeClr val="accent1"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>
                  <a:lnSpc>
                    <a:spcPct val="104000"/>
                  </a:lnSpc>
                  <a:spcAft>
                    <a:spcPts val="2400"/>
                  </a:spcAft>
                </a:pPr>
                <a:endParaRPr lang="ru-RU" sz="2800" dirty="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2" name="Скругленный прямоугольник 11">
                <a:extLst>
                  <a:ext uri="{FF2B5EF4-FFF2-40B4-BE49-F238E27FC236}">
                    <a16:creationId xmlns:a16="http://schemas.microsoft.com/office/drawing/2014/main" id="{F3A1C198-307C-7A31-69FE-259DDB2389F2}"/>
                  </a:ext>
                </a:extLst>
              </p:cNvPr>
              <p:cNvSpPr/>
              <p:nvPr/>
            </p:nvSpPr>
            <p:spPr>
              <a:xfrm rot="1432102">
                <a:off x="19369646" y="4638894"/>
                <a:ext cx="8711148" cy="13104812"/>
              </a:xfrm>
              <a:prstGeom prst="roundRect">
                <a:avLst>
                  <a:gd name="adj" fmla="val 6147"/>
                </a:avLst>
              </a:prstGeom>
              <a:solidFill>
                <a:schemeClr val="accent1"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>
                  <a:lnSpc>
                    <a:spcPct val="104000"/>
                  </a:lnSpc>
                  <a:spcAft>
                    <a:spcPts val="2400"/>
                  </a:spcAft>
                </a:pPr>
                <a:endParaRPr lang="ru-RU" sz="2800" dirty="0">
                  <a:solidFill>
                    <a:schemeClr val="tx1"/>
                  </a:solidFill>
                  <a:sym typeface="Arial"/>
                </a:endParaRPr>
              </a:p>
            </p:txBody>
          </p: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125F8F1-A325-711B-E499-8A9A5CFA1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t="434" r="6" b="470"/>
            <a:stretch>
              <a:fillRect/>
            </a:stretch>
          </p:blipFill>
          <p:spPr>
            <a:xfrm>
              <a:off x="15395799" y="303212"/>
              <a:ext cx="8711148" cy="13104813"/>
            </a:xfrm>
            <a:prstGeom prst="roundRect">
              <a:avLst>
                <a:gd name="adj" fmla="val 6088"/>
              </a:avLst>
            </a:prstGeom>
            <a:ln w="25400">
              <a:noFill/>
            </a:ln>
          </p:spPr>
        </p:pic>
      </p:grp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C47F02F8-6198-812F-7F12-6D46032BED6E}"/>
              </a:ext>
            </a:extLst>
          </p:cNvPr>
          <p:cNvSpPr/>
          <p:nvPr/>
        </p:nvSpPr>
        <p:spPr>
          <a:xfrm>
            <a:off x="1465234" y="5208175"/>
            <a:ext cx="9642531" cy="4843876"/>
          </a:xfrm>
          <a:prstGeom prst="roundRect">
            <a:avLst>
              <a:gd name="adj" fmla="val 855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4000" rIns="0" bIns="0" rtlCol="0" anchor="ctr" anchorCtr="0"/>
          <a:lstStyle/>
          <a:p>
            <a:pPr algn="ctr">
              <a:lnSpc>
                <a:spcPct val="80000"/>
              </a:lnSpc>
              <a:spcAft>
                <a:spcPts val="2400"/>
              </a:spcAft>
              <a:defRPr/>
            </a:pPr>
            <a:endParaRPr lang="en-us" sz="150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7C65B04-7010-5279-C9CA-BC580860B2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7671">
            <a:off x="5230074" y="355283"/>
            <a:ext cx="7416301" cy="7416301"/>
          </a:xfrm>
          <a:prstGeom prst="rect">
            <a:avLst/>
          </a:prstGeom>
        </p:spPr>
      </p:pic>
      <p:sp>
        <p:nvSpPr>
          <p:cNvPr id="2" name="Google Shape;772;p40">
            <a:extLst>
              <a:ext uri="{FF2B5EF4-FFF2-40B4-BE49-F238E27FC236}">
                <a16:creationId xmlns:a16="http://schemas.microsoft.com/office/drawing/2014/main" id="{E2774C31-4EEF-2764-F1DF-64EC7781673D}"/>
              </a:ext>
            </a:extLst>
          </p:cNvPr>
          <p:cNvSpPr txBox="1"/>
          <p:nvPr/>
        </p:nvSpPr>
        <p:spPr>
          <a:xfrm>
            <a:off x="2352675" y="8145775"/>
            <a:ext cx="7559675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3200" b="0" i="0" u="none" strike="noStrike" cap="none" dirty="0">
                <a:solidFill>
                  <a:schemeClr val="accent1">
                    <a:lumMod val="40000"/>
                    <a:lumOff val="60000"/>
                  </a:schemeClr>
                </a:solidFill>
                <a:ea typeface="Arial"/>
                <a:cs typeface="Arial"/>
                <a:sym typeface="Arial"/>
              </a:rPr>
              <a:t>требуется ИИ, чтобы принять решение о показе этой рекламы именно вам</a:t>
            </a:r>
            <a:endParaRPr sz="32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DE3247-C7A5-C567-2E47-28FBB1948D05}"/>
              </a:ext>
            </a:extLst>
          </p:cNvPr>
          <p:cNvSpPr txBox="1"/>
          <p:nvPr/>
        </p:nvSpPr>
        <p:spPr>
          <a:xfrm>
            <a:off x="2272707" y="5901031"/>
            <a:ext cx="7325741" cy="257974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  <a:spcAft>
                <a:spcPts val="2400"/>
              </a:spcAft>
              <a:defRPr/>
            </a:pPr>
            <a:r>
              <a:rPr lang="ru-RU" sz="20000" dirty="0">
                <a:solidFill>
                  <a:schemeClr val="bg1"/>
                </a:solidFill>
                <a:latin typeface="+mj-lt"/>
              </a:rPr>
              <a:t>200</a:t>
            </a:r>
            <a:r>
              <a:rPr lang="ru-RU" sz="960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2000" dirty="0">
                <a:solidFill>
                  <a:schemeClr val="bg1"/>
                </a:solidFill>
                <a:latin typeface="+mj-lt"/>
              </a:rPr>
              <a:t>мс</a:t>
            </a:r>
            <a:endParaRPr lang="en-us" sz="12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494978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C19A98-C4F8-39D9-B9AD-9380F1EE2A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073714F-54A7-5F8F-1603-8B736DB3D0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40" t="2245" r="1159" b="2245"/>
          <a:stretch/>
        </p:blipFill>
        <p:spPr>
          <a:xfrm>
            <a:off x="325688" y="307975"/>
            <a:ext cx="23774400" cy="13100051"/>
          </a:xfrm>
          <a:custGeom>
            <a:avLst/>
            <a:gdLst>
              <a:gd name="csX0" fmla="*/ 442258 w 23774400"/>
              <a:gd name="csY0" fmla="*/ 0 h 13100051"/>
              <a:gd name="csX1" fmla="*/ 23332142 w 23774400"/>
              <a:gd name="csY1" fmla="*/ 0 h 13100051"/>
              <a:gd name="csX2" fmla="*/ 23774400 w 23774400"/>
              <a:gd name="csY2" fmla="*/ 442258 h 13100051"/>
              <a:gd name="csX3" fmla="*/ 23774400 w 23774400"/>
              <a:gd name="csY3" fmla="*/ 12657793 h 13100051"/>
              <a:gd name="csX4" fmla="*/ 23332142 w 23774400"/>
              <a:gd name="csY4" fmla="*/ 13100051 h 13100051"/>
              <a:gd name="csX5" fmla="*/ 442258 w 23774400"/>
              <a:gd name="csY5" fmla="*/ 13100051 h 13100051"/>
              <a:gd name="csX6" fmla="*/ 0 w 23774400"/>
              <a:gd name="csY6" fmla="*/ 12657793 h 13100051"/>
              <a:gd name="csX7" fmla="*/ 0 w 23774400"/>
              <a:gd name="csY7" fmla="*/ 442258 h 13100051"/>
              <a:gd name="csX8" fmla="*/ 442258 w 23774400"/>
              <a:gd name="csY8" fmla="*/ 0 h 1310005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</a:cxnLst>
            <a:rect l="l" t="t" r="r" b="b"/>
            <a:pathLst>
              <a:path w="23774400" h="13100051">
                <a:moveTo>
                  <a:pt x="442258" y="0"/>
                </a:moveTo>
                <a:lnTo>
                  <a:pt x="23332142" y="0"/>
                </a:lnTo>
                <a:cubicBezTo>
                  <a:pt x="23576394" y="0"/>
                  <a:pt x="23774400" y="198006"/>
                  <a:pt x="23774400" y="442258"/>
                </a:cubicBezTo>
                <a:lnTo>
                  <a:pt x="23774400" y="12657793"/>
                </a:lnTo>
                <a:cubicBezTo>
                  <a:pt x="23774400" y="12902045"/>
                  <a:pt x="23576394" y="13100051"/>
                  <a:pt x="23332142" y="13100051"/>
                </a:cubicBezTo>
                <a:lnTo>
                  <a:pt x="442258" y="13100051"/>
                </a:lnTo>
                <a:cubicBezTo>
                  <a:pt x="198007" y="13100051"/>
                  <a:pt x="0" y="12902045"/>
                  <a:pt x="0" y="12657793"/>
                </a:cubicBezTo>
                <a:lnTo>
                  <a:pt x="0" y="442258"/>
                </a:lnTo>
                <a:cubicBezTo>
                  <a:pt x="0" y="198006"/>
                  <a:pt x="198007" y="0"/>
                  <a:pt x="442258" y="0"/>
                </a:cubicBez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7DF741F-3196-0023-B99C-0CD0BC513452}"/>
              </a:ext>
            </a:extLst>
          </p:cNvPr>
          <p:cNvSpPr txBox="1"/>
          <p:nvPr/>
        </p:nvSpPr>
        <p:spPr>
          <a:xfrm>
            <a:off x="1196053" y="1485514"/>
            <a:ext cx="13978186" cy="5372817"/>
          </a:xfrm>
          <a:prstGeom prst="rect">
            <a:avLst/>
          </a:prstGeom>
        </p:spPr>
        <p:txBody>
          <a:bodyPr wrap="none" lIns="0" tIns="0" rIns="0" bIns="0" rtlCol="0" anchor="b" anchorCtr="0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43200" dirty="0">
                <a:solidFill>
                  <a:schemeClr val="bg1"/>
                </a:solidFill>
                <a:latin typeface="+mj-lt"/>
              </a:rPr>
              <a:t>+38%</a:t>
            </a:r>
          </a:p>
        </p:txBody>
      </p:sp>
      <p:sp>
        <p:nvSpPr>
          <p:cNvPr id="3" name="Заголовок 4">
            <a:extLst>
              <a:ext uri="{FF2B5EF4-FFF2-40B4-BE49-F238E27FC236}">
                <a16:creationId xmlns:a16="http://schemas.microsoft.com/office/drawing/2014/main" id="{1D38C7A1-1894-0180-1468-2EBAABFF552A}"/>
              </a:ext>
            </a:extLst>
          </p:cNvPr>
          <p:cNvSpPr txBox="1">
            <a:spLocks/>
          </p:cNvSpPr>
          <p:nvPr/>
        </p:nvSpPr>
        <p:spPr>
          <a:xfrm>
            <a:off x="1471461" y="6442596"/>
            <a:ext cx="11390068" cy="143295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lnSpc>
                <a:spcPct val="86000"/>
              </a:lnSpc>
              <a:spcBef>
                <a:spcPts val="0"/>
              </a:spcBef>
              <a:spcAft>
                <a:spcPts val="4000"/>
              </a:spcAft>
              <a:buNone/>
              <a:defRPr sz="4800" spc="0">
                <a:solidFill>
                  <a:schemeClr val="tx2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97000"/>
              </a:lnSpc>
              <a:spcAft>
                <a:spcPts val="2400"/>
              </a:spcAft>
            </a:pPr>
            <a:r>
              <a:rPr lang="ru-RU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ост общей эффективности Директа благодаря использованию нейросетей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5A07DA64-7E03-868E-8DBC-3763F20CF1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369600"/>
            <a:ext cx="19983600" cy="317972"/>
          </a:xfrm>
        </p:spPr>
        <p:txBody>
          <a:bodyPr/>
          <a:lstStyle/>
          <a:p>
            <a:r>
              <a:rPr lang="ru-RU" dirty="0"/>
              <a:t>Данные Яндекса, 2025 </a:t>
            </a:r>
            <a:r>
              <a:rPr lang="ru-RU" sz="2000" dirty="0"/>
              <a:t>г.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D5790E7-689B-3BD6-172A-BD4ED7D863F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15" t="2456" r="16156" b="15724"/>
          <a:stretch>
            <a:fillRect/>
          </a:stretch>
        </p:blipFill>
        <p:spPr>
          <a:xfrm rot="20521831">
            <a:off x="9015345" y="362446"/>
            <a:ext cx="16497207" cy="14798453"/>
          </a:xfrm>
          <a:custGeom>
            <a:avLst/>
            <a:gdLst>
              <a:gd name="csX0" fmla="*/ 3613006 w 16497207"/>
              <a:gd name="csY0" fmla="*/ 2 h 14798453"/>
              <a:gd name="csX1" fmla="*/ 16497207 w 16497207"/>
              <a:gd name="csY1" fmla="*/ 4193661 h 14798453"/>
              <a:gd name="csX2" fmla="*/ 13133189 w 16497207"/>
              <a:gd name="csY2" fmla="*/ 14565836 h 14798453"/>
              <a:gd name="csX3" fmla="*/ 12709582 w 16497207"/>
              <a:gd name="csY3" fmla="*/ 14781960 h 14798453"/>
              <a:gd name="csX4" fmla="*/ 1 w 16497207"/>
              <a:gd name="csY4" fmla="*/ 10659850 h 14798453"/>
              <a:gd name="csX5" fmla="*/ 0 w 16497207"/>
              <a:gd name="csY5" fmla="*/ 0 h 1479845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6497207" h="14798453">
                <a:moveTo>
                  <a:pt x="3613006" y="2"/>
                </a:moveTo>
                <a:lnTo>
                  <a:pt x="16497207" y="4193661"/>
                </a:lnTo>
                <a:lnTo>
                  <a:pt x="13133189" y="14565836"/>
                </a:lnTo>
                <a:cubicBezTo>
                  <a:pt x="13075894" y="14742493"/>
                  <a:pt x="12886239" y="14839256"/>
                  <a:pt x="12709582" y="14781960"/>
                </a:cubicBezTo>
                <a:lnTo>
                  <a:pt x="1" y="10659850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333413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FBF024-4B59-9594-7F31-64FBFB5313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Изображение выглядит как снимок экрана, синий, темнота, фиолетовый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4C148006-FC32-260C-41A0-07B2CC631E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55" b="2351"/>
          <a:stretch>
            <a:fillRect/>
          </a:stretch>
        </p:blipFill>
        <p:spPr>
          <a:xfrm>
            <a:off x="-1" y="446"/>
            <a:ext cx="24382414" cy="13715554"/>
          </a:xfrm>
          <a:prstGeom prst="rect">
            <a:avLst/>
          </a:prstGeom>
        </p:spPr>
      </p:pic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4BEEF991-8DE0-3198-92FA-CEBA5B7A2994}"/>
              </a:ext>
            </a:extLst>
          </p:cNvPr>
          <p:cNvSpPr txBox="1">
            <a:spLocks/>
          </p:cNvSpPr>
          <p:nvPr/>
        </p:nvSpPr>
        <p:spPr>
          <a:xfrm>
            <a:off x="3300711" y="3296633"/>
            <a:ext cx="17212963" cy="620490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6000">
                <a:solidFill>
                  <a:srgbClr val="FFFFFF"/>
                </a:solidFill>
                <a:latin typeface="YS Text Wide Regular" pitchFamily="2" charset="0"/>
                <a:cs typeface="YS Text Wide Regular" pitchFamily="2" charset="0"/>
              </a:defRPr>
            </a:lvl1pPr>
          </a:lstStyle>
          <a:p>
            <a:pPr lvl="0">
              <a:lnSpc>
                <a:spcPct val="84000"/>
              </a:lnSpc>
              <a:spcAft>
                <a:spcPts val="2400"/>
              </a:spcAft>
              <a:defRPr/>
            </a:pPr>
            <a:r>
              <a:rPr lang="ru-RU" sz="9600" dirty="0">
                <a:solidFill>
                  <a:schemeClr val="bg1"/>
                </a:solidFill>
                <a:latin typeface="+mj-lt"/>
                <a:cs typeface="+mn-cs"/>
              </a:rPr>
              <a:t>Яндекс повысил эффективность рекламы </a:t>
            </a:r>
            <a:br>
              <a:rPr lang="ru-RU" sz="9600" dirty="0">
                <a:solidFill>
                  <a:schemeClr val="bg1"/>
                </a:solidFill>
                <a:latin typeface="+mj-lt"/>
                <a:cs typeface="+mn-cs"/>
              </a:rPr>
            </a:br>
            <a:r>
              <a:rPr lang="ru-RU" sz="9600" dirty="0">
                <a:solidFill>
                  <a:schemeClr val="bg1"/>
                </a:solidFill>
                <a:latin typeface="+mj-lt"/>
                <a:cs typeface="+mn-cs"/>
              </a:rPr>
              <a:t>за счёт крупнейшего обновления своих рекомендательных систем</a:t>
            </a: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582814C4-1D98-956E-9287-2A9714E8BB06}"/>
              </a:ext>
            </a:extLst>
          </p:cNvPr>
          <p:cNvSpPr txBox="1">
            <a:spLocks/>
          </p:cNvSpPr>
          <p:nvPr/>
        </p:nvSpPr>
        <p:spPr>
          <a:xfrm>
            <a:off x="3300712" y="1914604"/>
            <a:ext cx="6889819" cy="7670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89000"/>
              </a:lnSpc>
              <a:spcAft>
                <a:spcPts val="2400"/>
              </a:spcAft>
              <a:defRPr sz="5600"/>
            </a:lvl1pPr>
          </a:lstStyle>
          <a:p>
            <a:pPr marL="0" marR="0" lvl="0" indent="0" defTabSz="45720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14 апреля 2026 г.</a:t>
            </a:r>
          </a:p>
        </p:txBody>
      </p:sp>
    </p:spTree>
    <p:extLst>
      <p:ext uri="{BB962C8B-B14F-4D97-AF65-F5344CB8AC3E}">
        <p14:creationId xmlns:p14="http://schemas.microsoft.com/office/powerpoint/2010/main" val="1126906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6D9F72-0B5A-76C6-BAF6-485370DEBE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E15A174A-FF87-77E4-15A9-F049E6B08B33}"/>
              </a:ext>
            </a:extLst>
          </p:cNvPr>
          <p:cNvSpPr/>
          <p:nvPr/>
        </p:nvSpPr>
        <p:spPr>
          <a:xfrm>
            <a:off x="279832" y="303642"/>
            <a:ext cx="11738798" cy="6397207"/>
          </a:xfrm>
          <a:prstGeom prst="roundRect">
            <a:avLst>
              <a:gd name="adj" fmla="val 478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71">
              <a:defRPr/>
            </a:pPr>
            <a:endParaRPr lang="ru-RU" sz="3200" dirty="0">
              <a:solidFill>
                <a:srgbClr val="46557D"/>
              </a:solidFill>
              <a:latin typeface="YS Text Regular"/>
            </a:endParaRPr>
          </a:p>
        </p:txBody>
      </p:sp>
      <p:sp>
        <p:nvSpPr>
          <p:cNvPr id="11" name="TextBox 15">
            <a:extLst>
              <a:ext uri="{FF2B5EF4-FFF2-40B4-BE49-F238E27FC236}">
                <a16:creationId xmlns:a16="http://schemas.microsoft.com/office/drawing/2014/main" id="{3198864B-36EB-F1EB-BEAE-35292E521EB6}"/>
              </a:ext>
            </a:extLst>
          </p:cNvPr>
          <p:cNvSpPr txBox="1"/>
          <p:nvPr/>
        </p:nvSpPr>
        <p:spPr bwMode="auto">
          <a:xfrm>
            <a:off x="1516579" y="2870819"/>
            <a:ext cx="796017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2">
              <a:spcAft>
                <a:spcPts val="2400"/>
              </a:spcAft>
              <a:buClr>
                <a:srgbClr val="B6B1FF"/>
              </a:buClr>
              <a:buSzPts val="1500"/>
              <a:defRPr/>
            </a:pPr>
            <a:r>
              <a:rPr lang="ru-RU" sz="4000" dirty="0">
                <a:sym typeface="Arial"/>
              </a:rPr>
              <a:t>действий пользователя </a:t>
            </a:r>
            <a:br>
              <a:rPr lang="ru-RU" sz="4000" dirty="0">
                <a:sym typeface="Arial"/>
              </a:rPr>
            </a:br>
            <a:r>
              <a:rPr lang="ru-RU" sz="4000" dirty="0">
                <a:sym typeface="Arial"/>
              </a:rPr>
              <a:t>помнили алгоритмы </a:t>
            </a:r>
            <a:br>
              <a:rPr lang="ru-RU" sz="4000" dirty="0">
                <a:sym typeface="Arial"/>
              </a:rPr>
            </a:br>
            <a:r>
              <a:rPr lang="ru-RU" sz="4000" dirty="0">
                <a:sym typeface="Arial"/>
              </a:rPr>
              <a:t>до внедрения </a:t>
            </a:r>
            <a:r>
              <a:rPr lang="en" sz="4000" dirty="0">
                <a:sym typeface="Arial"/>
              </a:rPr>
              <a:t>ARGUS</a:t>
            </a:r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9863884C-EC64-5398-6C2C-C46E1C2CCA9B}"/>
              </a:ext>
            </a:extLst>
          </p:cNvPr>
          <p:cNvSpPr txBox="1"/>
          <p:nvPr/>
        </p:nvSpPr>
        <p:spPr bwMode="auto">
          <a:xfrm flipH="1">
            <a:off x="1516579" y="796260"/>
            <a:ext cx="8892122" cy="21543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457171">
              <a:defRPr/>
            </a:pPr>
            <a:r>
              <a:rPr lang="ru-RU" sz="13999" dirty="0">
                <a:solidFill>
                  <a:srgbClr val="FFFFFF"/>
                </a:solidFill>
                <a:latin typeface="YS Display Bold"/>
              </a:rPr>
              <a:t>256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E1FBB050-3901-3816-E209-F48E385070C7}"/>
              </a:ext>
            </a:extLst>
          </p:cNvPr>
          <p:cNvGrpSpPr/>
          <p:nvPr/>
        </p:nvGrpSpPr>
        <p:grpSpPr>
          <a:xfrm>
            <a:off x="279832" y="5443448"/>
            <a:ext cx="12915821" cy="7973075"/>
            <a:chOff x="279832" y="5443448"/>
            <a:chExt cx="12915821" cy="7973075"/>
          </a:xfrm>
        </p:grpSpPr>
        <p:sp>
          <p:nvSpPr>
            <p:cNvPr id="6" name="Скругленный прямоугольник 5">
              <a:extLst>
                <a:ext uri="{FF2B5EF4-FFF2-40B4-BE49-F238E27FC236}">
                  <a16:creationId xmlns:a16="http://schemas.microsoft.com/office/drawing/2014/main" id="{FAC7D622-2629-0B26-0BF2-4E64F29BCF0E}"/>
                </a:ext>
              </a:extLst>
            </p:cNvPr>
            <p:cNvSpPr/>
            <p:nvPr/>
          </p:nvSpPr>
          <p:spPr>
            <a:xfrm>
              <a:off x="279832" y="7019316"/>
              <a:ext cx="11738798" cy="6397207"/>
            </a:xfrm>
            <a:prstGeom prst="roundRect">
              <a:avLst>
                <a:gd name="adj" fmla="val 4429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457171">
                <a:defRPr/>
              </a:pPr>
              <a:endParaRPr lang="ru-RU" sz="3200" dirty="0">
                <a:solidFill>
                  <a:srgbClr val="46557D"/>
                </a:solidFill>
                <a:latin typeface="YS Text Regular"/>
              </a:endParaRPr>
            </a:p>
          </p:txBody>
        </p:sp>
        <p:sp>
          <p:nvSpPr>
            <p:cNvPr id="20" name="TextBox 15">
              <a:extLst>
                <a:ext uri="{FF2B5EF4-FFF2-40B4-BE49-F238E27FC236}">
                  <a16:creationId xmlns:a16="http://schemas.microsoft.com/office/drawing/2014/main" id="{D25DA0D4-BDD4-9B4B-EECF-B3BDDE8D5311}"/>
                </a:ext>
              </a:extLst>
            </p:cNvPr>
            <p:cNvSpPr txBox="1"/>
            <p:nvPr/>
          </p:nvSpPr>
          <p:spPr bwMode="auto">
            <a:xfrm>
              <a:off x="1516579" y="9528269"/>
              <a:ext cx="7960178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828595">
                <a:spcAft>
                  <a:spcPts val="600"/>
                </a:spcAft>
                <a:buClr>
                  <a:schemeClr val="dk1"/>
                </a:buClr>
                <a:buSzPts val="1200"/>
                <a:defRPr/>
              </a:pPr>
              <a:r>
                <a:rPr lang="ru-RU" sz="4000" dirty="0">
                  <a:cs typeface="Arial Black"/>
                  <a:sym typeface="Arial"/>
                </a:rPr>
                <a:t>действий пользователя </a:t>
              </a:r>
              <a:br>
                <a:rPr lang="ru-RU" sz="4000" dirty="0">
                  <a:cs typeface="Arial Black"/>
                  <a:sym typeface="Arial"/>
                </a:rPr>
              </a:br>
              <a:r>
                <a:rPr lang="ru-RU" sz="4000" dirty="0">
                  <a:cs typeface="Arial Black"/>
                  <a:sym typeface="Arial"/>
                </a:rPr>
                <a:t>помнят алгоритмы сейчас</a:t>
              </a:r>
              <a:endParaRPr lang="en" sz="4000" dirty="0">
                <a:cs typeface="Arial Black"/>
                <a:sym typeface="Arial"/>
              </a:endParaRPr>
            </a:p>
          </p:txBody>
        </p:sp>
        <p:sp>
          <p:nvSpPr>
            <p:cNvPr id="22" name="TextBox 14">
              <a:extLst>
                <a:ext uri="{FF2B5EF4-FFF2-40B4-BE49-F238E27FC236}">
                  <a16:creationId xmlns:a16="http://schemas.microsoft.com/office/drawing/2014/main" id="{C1206565-5FE2-9028-29C3-E4926558FE5E}"/>
                </a:ext>
              </a:extLst>
            </p:cNvPr>
            <p:cNvSpPr txBox="1"/>
            <p:nvPr/>
          </p:nvSpPr>
          <p:spPr bwMode="auto">
            <a:xfrm flipH="1">
              <a:off x="1516578" y="7481417"/>
              <a:ext cx="8892122" cy="215430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defTabSz="457171">
                <a:defRPr/>
              </a:pPr>
              <a:r>
                <a:rPr lang="ru-RU" sz="7200" dirty="0">
                  <a:solidFill>
                    <a:srgbClr val="FFFFFF"/>
                  </a:solidFill>
                  <a:latin typeface="YS Display Bold"/>
                </a:rPr>
                <a:t>до</a:t>
              </a:r>
              <a:r>
                <a:rPr lang="ru-RU" sz="13999" dirty="0">
                  <a:solidFill>
                    <a:srgbClr val="FFFFFF"/>
                  </a:solidFill>
                  <a:latin typeface="YS Display Bold"/>
                </a:rPr>
                <a:t> 8 000</a:t>
              </a: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FE782609-AB65-8661-AD19-CC6986E9D5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5322" y="5443448"/>
              <a:ext cx="6030331" cy="6030331"/>
            </a:xfrm>
            <a:prstGeom prst="rect">
              <a:avLst/>
            </a:prstGeom>
          </p:spPr>
        </p:pic>
      </p:grpSp>
      <p:sp>
        <p:nvSpPr>
          <p:cNvPr id="13" name="Текст 12">
            <a:extLst>
              <a:ext uri="{FF2B5EF4-FFF2-40B4-BE49-F238E27FC236}">
                <a16:creationId xmlns:a16="http://schemas.microsoft.com/office/drawing/2014/main" id="{4A4AFEC6-2D00-D97D-4E60-24BF762C480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369600"/>
            <a:ext cx="19983600" cy="317972"/>
          </a:xfrm>
        </p:spPr>
        <p:txBody>
          <a:bodyPr/>
          <a:lstStyle/>
          <a:p>
            <a:r>
              <a:rPr lang="ru-RU" dirty="0"/>
              <a:t>Данные Яндекса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F06178EA-9784-B6FF-D46A-DC6FCD99D74A}"/>
              </a:ext>
            </a:extLst>
          </p:cNvPr>
          <p:cNvGrpSpPr/>
          <p:nvPr/>
        </p:nvGrpSpPr>
        <p:grpSpPr>
          <a:xfrm>
            <a:off x="12371882" y="311711"/>
            <a:ext cx="11734801" cy="13104812"/>
            <a:chOff x="12371882" y="311711"/>
            <a:chExt cx="11734801" cy="13104812"/>
          </a:xfrm>
        </p:grpSpPr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F5EC7A41-B516-6E5D-C7B1-2BAAB0610748}"/>
                </a:ext>
              </a:extLst>
            </p:cNvPr>
            <p:cNvSpPr/>
            <p:nvPr/>
          </p:nvSpPr>
          <p:spPr>
            <a:xfrm>
              <a:off x="12371882" y="311711"/>
              <a:ext cx="11734801" cy="13104812"/>
            </a:xfrm>
            <a:prstGeom prst="roundRect">
              <a:avLst>
                <a:gd name="adj" fmla="val 2566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endParaRPr lang="ru-RU" sz="320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DA11A6E-993C-0BA8-E1DF-7C8B99311903}"/>
                </a:ext>
              </a:extLst>
            </p:cNvPr>
            <p:cNvSpPr txBox="1"/>
            <p:nvPr/>
          </p:nvSpPr>
          <p:spPr>
            <a:xfrm>
              <a:off x="13589209" y="3974687"/>
              <a:ext cx="7788561" cy="738664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0" lvl="2">
                <a:spcAft>
                  <a:spcPts val="2400"/>
                </a:spcAft>
                <a:buClr>
                  <a:srgbClr val="B6B1FF"/>
                </a:buClr>
                <a:buSzPts val="1500"/>
                <a:defRPr/>
              </a:pPr>
              <a:r>
                <a:rPr lang="ru-RU" sz="4800" dirty="0">
                  <a:solidFill>
                    <a:schemeClr val="accent1">
                      <a:lumMod val="40000"/>
                      <a:lumOff val="60000"/>
                    </a:schemeClr>
                  </a:solidFill>
                  <a:sym typeface="Arial"/>
                </a:rPr>
                <a:t>рост глубины памяти</a:t>
              </a:r>
              <a:endParaRPr lang="en" sz="4800" dirty="0">
                <a:solidFill>
                  <a:schemeClr val="accent1">
                    <a:lumMod val="40000"/>
                    <a:lumOff val="60000"/>
                  </a:schemeClr>
                </a:solidFill>
                <a:sym typeface="Arial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50A7A85-565B-28DA-9A1D-2A425604A9F3}"/>
                </a:ext>
              </a:extLst>
            </p:cNvPr>
            <p:cNvSpPr txBox="1"/>
            <p:nvPr/>
          </p:nvSpPr>
          <p:spPr>
            <a:xfrm>
              <a:off x="13490805" y="1193036"/>
              <a:ext cx="5499904" cy="3047116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4500" dirty="0">
                  <a:solidFill>
                    <a:schemeClr val="bg1"/>
                  </a:solidFill>
                  <a:latin typeface="+mj-lt"/>
                </a:rPr>
                <a:t>×30</a:t>
              </a:r>
            </a:p>
          </p:txBody>
        </p:sp>
        <p:pic>
          <p:nvPicPr>
            <p:cNvPr id="2" name="Рисунок 1" descr="Изображение выглядит как Цвет электрик, дизайн&#10;&#10;Контент, сгенерированный ИИ, может содержать ошибки.">
              <a:extLst>
                <a:ext uri="{FF2B5EF4-FFF2-40B4-BE49-F238E27FC236}">
                  <a16:creationId xmlns:a16="http://schemas.microsoft.com/office/drawing/2014/main" id="{5E730C19-A96E-9C57-9AF6-A5835FA3D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006312" y="4713351"/>
              <a:ext cx="10504022" cy="87031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4013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678DC-C1C3-75F0-EA97-36BF85CBC8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Скругленный прямоугольник 4">
            <a:extLst>
              <a:ext uri="{FF2B5EF4-FFF2-40B4-BE49-F238E27FC236}">
                <a16:creationId xmlns:a16="http://schemas.microsoft.com/office/drawing/2014/main" id="{FBE071F7-F522-B48E-87B3-ABBDE8449CEC}"/>
              </a:ext>
            </a:extLst>
          </p:cNvPr>
          <p:cNvSpPr/>
          <p:nvPr/>
        </p:nvSpPr>
        <p:spPr>
          <a:xfrm>
            <a:off x="326073" y="10332691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29" name="Title 18">
            <a:extLst>
              <a:ext uri="{FF2B5EF4-FFF2-40B4-BE49-F238E27FC236}">
                <a16:creationId xmlns:a16="http://schemas.microsoft.com/office/drawing/2014/main" id="{FFFC8E89-384A-EE3D-B269-A000D006AF26}"/>
              </a:ext>
            </a:extLst>
          </p:cNvPr>
          <p:cNvSpPr txBox="1">
            <a:spLocks/>
          </p:cNvSpPr>
          <p:nvPr/>
        </p:nvSpPr>
        <p:spPr>
          <a:xfrm>
            <a:off x="1441450" y="11229353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агент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34" name="Скругленный прямоугольник 4">
            <a:extLst>
              <a:ext uri="{FF2B5EF4-FFF2-40B4-BE49-F238E27FC236}">
                <a16:creationId xmlns:a16="http://schemas.microsoft.com/office/drawing/2014/main" id="{B8388D2D-F9B2-11BC-E53F-3653FCD6A9C5}"/>
              </a:ext>
            </a:extLst>
          </p:cNvPr>
          <p:cNvSpPr/>
          <p:nvPr/>
        </p:nvSpPr>
        <p:spPr>
          <a:xfrm>
            <a:off x="326073" y="347844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35" name="Title 18">
            <a:extLst>
              <a:ext uri="{FF2B5EF4-FFF2-40B4-BE49-F238E27FC236}">
                <a16:creationId xmlns:a16="http://schemas.microsoft.com/office/drawing/2014/main" id="{5590D601-63AA-9324-1B28-4F246DF42A87}"/>
              </a:ext>
            </a:extLst>
          </p:cNvPr>
          <p:cNvSpPr txBox="1">
            <a:spLocks/>
          </p:cNvSpPr>
          <p:nvPr/>
        </p:nvSpPr>
        <p:spPr>
          <a:xfrm>
            <a:off x="1441450" y="1244506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технология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37" name="Скругленный прямоугольник 4">
            <a:extLst>
              <a:ext uri="{FF2B5EF4-FFF2-40B4-BE49-F238E27FC236}">
                <a16:creationId xmlns:a16="http://schemas.microsoft.com/office/drawing/2014/main" id="{E7B8266F-E736-DEC6-7A60-645F773A859A}"/>
              </a:ext>
            </a:extLst>
          </p:cNvPr>
          <p:cNvSpPr/>
          <p:nvPr/>
        </p:nvSpPr>
        <p:spPr>
          <a:xfrm>
            <a:off x="326073" y="3676126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38" name="Title 18">
            <a:extLst>
              <a:ext uri="{FF2B5EF4-FFF2-40B4-BE49-F238E27FC236}">
                <a16:creationId xmlns:a16="http://schemas.microsoft.com/office/drawing/2014/main" id="{79D42A8E-7A61-F54B-5366-03C46FDB74E9}"/>
              </a:ext>
            </a:extLst>
          </p:cNvPr>
          <p:cNvSpPr txBox="1">
            <a:spLocks/>
          </p:cNvSpPr>
          <p:nvPr/>
        </p:nvSpPr>
        <p:spPr>
          <a:xfrm>
            <a:off x="1441450" y="4572788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2000"/>
              </a:lnSpc>
              <a:spcBef>
                <a:spcPct val="0"/>
              </a:spcBef>
              <a:buNone/>
              <a:defRPr sz="9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ИИ </a:t>
            </a:r>
            <a:r>
              <a:rPr lang="ru-RU"/>
              <a:t>как инструмент</a:t>
            </a:r>
            <a:endParaRPr lang="en-001" dirty="0"/>
          </a:p>
        </p:txBody>
      </p:sp>
      <p:sp>
        <p:nvSpPr>
          <p:cNvPr id="40" name="Скругленный прямоугольник 4">
            <a:extLst>
              <a:ext uri="{FF2B5EF4-FFF2-40B4-BE49-F238E27FC236}">
                <a16:creationId xmlns:a16="http://schemas.microsoft.com/office/drawing/2014/main" id="{25D54074-0839-A416-75B3-97D01244E7D8}"/>
              </a:ext>
            </a:extLst>
          </p:cNvPr>
          <p:cNvSpPr/>
          <p:nvPr/>
        </p:nvSpPr>
        <p:spPr>
          <a:xfrm>
            <a:off x="326073" y="7004408"/>
            <a:ext cx="23749952" cy="3049362"/>
          </a:xfrm>
          <a:prstGeom prst="roundRect">
            <a:avLst>
              <a:gd name="adj" fmla="val 1376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latin typeface="YS Text Regular" pitchFamily="2" charset="0"/>
              <a:sym typeface="Arial"/>
            </a:endParaRPr>
          </a:p>
        </p:txBody>
      </p:sp>
      <p:sp>
        <p:nvSpPr>
          <p:cNvPr id="41" name="Title 18">
            <a:extLst>
              <a:ext uri="{FF2B5EF4-FFF2-40B4-BE49-F238E27FC236}">
                <a16:creationId xmlns:a16="http://schemas.microsoft.com/office/drawing/2014/main" id="{171ADA30-DCF1-DF0D-CD61-0112F102A96A}"/>
              </a:ext>
            </a:extLst>
          </p:cNvPr>
          <p:cNvSpPr txBox="1">
            <a:spLocks/>
          </p:cNvSpPr>
          <p:nvPr/>
        </p:nvSpPr>
        <p:spPr>
          <a:xfrm>
            <a:off x="1441450" y="7901070"/>
            <a:ext cx="21492000" cy="1216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96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>
                    <a:alpha val="10000"/>
                  </a:schemeClr>
                </a:solidFill>
              </a:rPr>
              <a:t>ИИ как поверхность</a:t>
            </a:r>
            <a:endParaRPr lang="en-001" dirty="0">
              <a:solidFill>
                <a:schemeClr val="bg1">
                  <a:alpha val="10000"/>
                </a:schemeClr>
              </a:solidFill>
            </a:endParaRPr>
          </a:p>
        </p:txBody>
      </p:sp>
      <p:sp>
        <p:nvSpPr>
          <p:cNvPr id="46" name="Объект 4">
            <a:extLst>
              <a:ext uri="{FF2B5EF4-FFF2-40B4-BE49-F238E27FC236}">
                <a16:creationId xmlns:a16="http://schemas.microsoft.com/office/drawing/2014/main" id="{9729F6A8-449F-1B68-840E-C8646D1A926C}"/>
              </a:ext>
            </a:extLst>
          </p:cNvPr>
          <p:cNvSpPr txBox="1">
            <a:spLocks/>
          </p:cNvSpPr>
          <p:nvPr/>
        </p:nvSpPr>
        <p:spPr>
          <a:xfrm>
            <a:off x="18963802" y="1147851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0" lvl="2" indent="0" algn="ctr">
              <a:lnSpc>
                <a:spcPct val="89000"/>
              </a:lnSpc>
              <a:spcBef>
                <a:spcPct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23000">
                <a:ln w="25400">
                  <a:solidFill>
                    <a:srgbClr val="324164"/>
                  </a:solidFill>
                </a:ln>
                <a:noFill/>
                <a:latin typeface="+mj-lt"/>
              </a:defRPr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lvl="2"/>
            <a:r>
              <a:rPr lang="ru-RU" dirty="0"/>
              <a:t>01</a:t>
            </a:r>
          </a:p>
        </p:txBody>
      </p:sp>
      <p:sp>
        <p:nvSpPr>
          <p:cNvPr id="48" name="Объект 4">
            <a:extLst>
              <a:ext uri="{FF2B5EF4-FFF2-40B4-BE49-F238E27FC236}">
                <a16:creationId xmlns:a16="http://schemas.microsoft.com/office/drawing/2014/main" id="{F41852CD-5BF0-5428-F0BC-98BA2C9A25B8}"/>
              </a:ext>
            </a:extLst>
          </p:cNvPr>
          <p:cNvSpPr txBox="1">
            <a:spLocks/>
          </p:cNvSpPr>
          <p:nvPr/>
        </p:nvSpPr>
        <p:spPr>
          <a:xfrm>
            <a:off x="18963802" y="4476133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0" lvl="2" indent="0" algn="ctr">
              <a:lnSpc>
                <a:spcPct val="89000"/>
              </a:lnSpc>
              <a:spcBef>
                <a:spcPct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23000">
                <a:ln w="25400">
                  <a:solidFill>
                    <a:schemeClr val="accent3"/>
                  </a:solidFill>
                </a:ln>
                <a:noFill/>
                <a:latin typeface="+mj-lt"/>
              </a:defRPr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lvl="2"/>
            <a:r>
              <a:rPr lang="ru-RU" dirty="0"/>
              <a:t>02</a:t>
            </a:r>
          </a:p>
        </p:txBody>
      </p:sp>
      <p:sp>
        <p:nvSpPr>
          <p:cNvPr id="50" name="Объект 4">
            <a:extLst>
              <a:ext uri="{FF2B5EF4-FFF2-40B4-BE49-F238E27FC236}">
                <a16:creationId xmlns:a16="http://schemas.microsoft.com/office/drawing/2014/main" id="{8CA27887-9905-D580-421D-081B3E019FD9}"/>
              </a:ext>
            </a:extLst>
          </p:cNvPr>
          <p:cNvSpPr txBox="1">
            <a:spLocks/>
          </p:cNvSpPr>
          <p:nvPr/>
        </p:nvSpPr>
        <p:spPr>
          <a:xfrm>
            <a:off x="18963802" y="7804415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algn="ctr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23000" dirty="0">
                <a:ln w="25400">
                  <a:solidFill>
                    <a:srgbClr val="324164"/>
                  </a:solidFill>
                </a:ln>
                <a:noFill/>
                <a:latin typeface="+mj-lt"/>
              </a:rPr>
              <a:t>03</a:t>
            </a:r>
          </a:p>
        </p:txBody>
      </p:sp>
      <p:sp>
        <p:nvSpPr>
          <p:cNvPr id="52" name="Объект 4">
            <a:extLst>
              <a:ext uri="{FF2B5EF4-FFF2-40B4-BE49-F238E27FC236}">
                <a16:creationId xmlns:a16="http://schemas.microsoft.com/office/drawing/2014/main" id="{F526EBCE-108E-D4EB-55E0-96A555E31486}"/>
              </a:ext>
            </a:extLst>
          </p:cNvPr>
          <p:cNvSpPr txBox="1">
            <a:spLocks/>
          </p:cNvSpPr>
          <p:nvPr/>
        </p:nvSpPr>
        <p:spPr>
          <a:xfrm>
            <a:off x="18963802" y="11132698"/>
            <a:ext cx="5837237" cy="315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marL="0" lvl="2" indent="0" algn="ctr" defTabSz="457200">
              <a:lnSpc>
                <a:spcPct val="89000"/>
              </a:lnSpc>
              <a:spcBef>
                <a:spcPct val="0"/>
              </a:spcBef>
              <a:buNone/>
            </a:pPr>
            <a:r>
              <a:rPr lang="ru-RU" sz="23000" dirty="0">
                <a:ln w="25400">
                  <a:solidFill>
                    <a:srgbClr val="324164"/>
                  </a:solidFill>
                </a:ln>
                <a:noFill/>
                <a:latin typeface="+mj-lt"/>
              </a:rPr>
              <a:t>04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B42B42E6-3181-3158-1357-F6BC2291E15A}"/>
              </a:ext>
            </a:extLst>
          </p:cNvPr>
          <p:cNvSpPr/>
          <p:nvPr/>
        </p:nvSpPr>
        <p:spPr>
          <a:xfrm>
            <a:off x="20306913" y="3397206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46BF87AF-98AA-4E8A-7E6A-488FFE988092}"/>
              </a:ext>
            </a:extLst>
          </p:cNvPr>
          <p:cNvSpPr/>
          <p:nvPr/>
        </p:nvSpPr>
        <p:spPr>
          <a:xfrm>
            <a:off x="20306913" y="6725488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6B624A2C-F5F5-364F-CBA0-F60465ED16B6}"/>
              </a:ext>
            </a:extLst>
          </p:cNvPr>
          <p:cNvSpPr/>
          <p:nvPr/>
        </p:nvSpPr>
        <p:spPr>
          <a:xfrm>
            <a:off x="20306913" y="10059762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C8249741-5AB3-C330-1F7C-1538729D8B1F}"/>
              </a:ext>
            </a:extLst>
          </p:cNvPr>
          <p:cNvSpPr/>
          <p:nvPr/>
        </p:nvSpPr>
        <p:spPr>
          <a:xfrm>
            <a:off x="20306913" y="13388335"/>
            <a:ext cx="3769112" cy="278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0049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Yandex Ads_dark">
  <a:themeElements>
    <a:clrScheme name="Пользовательские 47">
      <a:dk1>
        <a:srgbClr val="A0AFC8"/>
      </a:dk1>
      <a:lt1>
        <a:srgbClr val="FFFFFF"/>
      </a:lt1>
      <a:dk2>
        <a:srgbClr val="0F141E"/>
      </a:dk2>
      <a:lt2>
        <a:srgbClr val="1D2333"/>
      </a:lt2>
      <a:accent1>
        <a:srgbClr val="4B3CFF"/>
      </a:accent1>
      <a:accent2>
        <a:srgbClr val="3286FF"/>
      </a:accent2>
      <a:accent3>
        <a:srgbClr val="00FAFF"/>
      </a:accent3>
      <a:accent4>
        <a:srgbClr val="7D32FF"/>
      </a:accent4>
      <a:accent5>
        <a:srgbClr val="FF3296"/>
      </a:accent5>
      <a:accent6>
        <a:srgbClr val="FF825A"/>
      </a:accent6>
      <a:hlink>
        <a:srgbClr val="A0AEC8"/>
      </a:hlink>
      <a:folHlink>
        <a:srgbClr val="A0AEC8"/>
      </a:folHlink>
    </a:clrScheme>
    <a:fontScheme name="Другая 1">
      <a:majorFont>
        <a:latin typeface="YS Display Bold"/>
        <a:ea typeface=""/>
        <a:cs typeface=""/>
      </a:majorFont>
      <a:minorFont>
        <a:latin typeface="YS Text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0" tIns="0" rIns="0" bIns="0" rtlCol="0" anchor="t"/>
      <a:lstStyle>
        <a:defPPr algn="l">
          <a:lnSpc>
            <a:spcPct val="104000"/>
          </a:lnSpc>
          <a:spcAft>
            <a:spcPts val="2400"/>
          </a:spcAft>
          <a:defRPr sz="2800" dirty="0">
            <a:solidFill>
              <a:schemeClr val="tx1"/>
            </a:solidFill>
            <a:sym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algn="l">
          <a:lnSpc>
            <a:spcPct val="104000"/>
          </a:lnSpc>
          <a:spcAft>
            <a:spcPts val="2400"/>
          </a:spcAft>
          <a:defRPr sz="3200" dirty="0" smtClean="0"/>
        </a:defPPr>
      </a:lstStyle>
    </a:txDef>
  </a:objectDefaults>
  <a:extraClrSchemeLst/>
  <a:custClrLst>
    <a:custClr name="Custom Color 1">
      <a:srgbClr val="4B3CFF"/>
    </a:custClr>
    <a:custClr name="Custom Color 2">
      <a:srgbClr val="3287FF"/>
    </a:custClr>
    <a:custClr name="Custom Color 3">
      <a:srgbClr val="00D7DC"/>
    </a:custClr>
    <a:custClr name="Custom Color 4">
      <a:srgbClr val="35BF73"/>
    </a:custClr>
    <a:custClr name="Custom Color 5">
      <a:srgbClr val="F5C300"/>
    </a:custClr>
    <a:custClr name="Custom Color 6">
      <a:srgbClr val="FF825A"/>
    </a:custClr>
    <a:custClr name="Custom Color 7">
      <a:srgbClr val="FF3296"/>
    </a:custClr>
    <a:custClr name="Custom Color 8">
      <a:srgbClr val="B98CFF"/>
    </a:custClr>
    <a:custClr name="Custom Color 9">
      <a:srgbClr val="4600AF"/>
    </a:custClr>
    <a:custClr name="Custom Color 10">
      <a:srgbClr val="6E82AA"/>
    </a:custClr>
    <a:custClr name="Custom Color 11">
      <a:srgbClr val="4B3CFF"/>
    </a:custClr>
    <a:custClr name="Custom Color 12">
      <a:srgbClr val="3700F0"/>
    </a:custClr>
    <a:custClr name="Custom Color 13">
      <a:srgbClr val="2D00BE"/>
    </a:custClr>
    <a:custClr name="Custom Color 14">
      <a:srgbClr val="1E0096"/>
    </a:custClr>
    <a:custClr name="Custom Color 15">
      <a:srgbClr val="0F0073"/>
    </a:custClr>
    <a:custClr name="Custom Color 16">
      <a:srgbClr val="7D32FF"/>
    </a:custClr>
    <a:custClr name="Custom Color 17">
      <a:srgbClr val="6A00EC"/>
    </a:custClr>
    <a:custClr name="Custom Color 18">
      <a:srgbClr val="5A00D2"/>
    </a:custClr>
    <a:custClr name="Custom Color 19">
      <a:srgbClr val="4600AF"/>
    </a:custClr>
    <a:custClr name="Custom Color 20">
      <a:srgbClr val="320082"/>
    </a:custClr>
    <a:custClr name="Custom Color 21">
      <a:srgbClr val="A0AFC8"/>
    </a:custClr>
    <a:custClr name="Custom Color 22">
      <a:srgbClr val="6E82AA"/>
    </a:custClr>
    <a:custClr name="Custom Color 23">
      <a:srgbClr val="46557D"/>
    </a:custClr>
    <a:custClr name="Custom Color 24">
      <a:srgbClr val="324164"/>
    </a:custClr>
    <a:custClr name="Custom Color 25">
      <a:srgbClr val="25314B"/>
    </a:custClr>
    <a:custClr name="Custom Color 26">
      <a:srgbClr val="A2FF67"/>
    </a:custClr>
    <a:custClr name="Custom Color 27">
      <a:srgbClr val="FA0055"/>
    </a:custClr>
    <a:custClr name="Custom Color 28">
      <a:srgbClr val="9B5FFF"/>
    </a:custClr>
  </a:custClrLst>
  <a:extLst>
    <a:ext uri="{05A4C25C-085E-4340-85A3-A5531E510DB2}">
      <thm15:themeFamily xmlns:thm15="http://schemas.microsoft.com/office/thememl/2012/main" name="2_Yandex Ads Black" id="{E04A702F-4F6C-4B72-9ECE-D5E462654BE5}" vid="{D0D95936-273B-422E-A3A5-CE8BEBC1A17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 Office</Template>
  <TotalTime>22906</TotalTime>
  <Words>1667</Words>
  <Application>Microsoft Macintosh PowerPoint</Application>
  <PresentationFormat>Произвольный</PresentationFormat>
  <Paragraphs>390</Paragraphs>
  <Slides>23</Slides>
  <Notes>2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2" baseType="lpstr">
      <vt:lpstr>Системный шрифт, обычный</vt:lpstr>
      <vt:lpstr>Arial</vt:lpstr>
      <vt:lpstr>Arial Black</vt:lpstr>
      <vt:lpstr>Play</vt:lpstr>
      <vt:lpstr>YS Display Bold</vt:lpstr>
      <vt:lpstr>YS Text Medium</vt:lpstr>
      <vt:lpstr>YS Text Regular</vt:lpstr>
      <vt:lpstr>Yandex Ads_dark</vt:lpstr>
      <vt:lpstr>Слайд think-cell</vt:lpstr>
      <vt:lpstr>ИИ как новая  инфраструктура рын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движение в Алисе AI</vt:lpstr>
      <vt:lpstr>Презентация PowerPoint</vt:lpstr>
      <vt:lpstr>ИИ-агенты  Алисы AI</vt:lpstr>
      <vt:lpstr>Презентация PowerPoint</vt:lpstr>
      <vt:lpstr>Презентация PowerPoint</vt:lpstr>
      <vt:lpstr>Презентация PowerPoint</vt:lpstr>
      <vt:lpstr>Презентация PowerPoint</vt:lpstr>
      <vt:lpstr>Объявления рекламодателей  уже в чатах  с Алисой AI</vt:lpstr>
      <vt:lpstr>Презентация PowerPoint</vt:lpstr>
      <vt:lpstr>Презентация PowerPoint</vt:lpstr>
      <vt:lpstr>Презентация PowerPoint</vt:lpstr>
      <vt:lpstr>ИИ уже  не преимущество. Преимущество —  уметь им управлять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 Потапченко</dc:creator>
  <cp:lastModifiedBy>Анна Кривоногова</cp:lastModifiedBy>
  <cp:revision>400</cp:revision>
  <dcterms:created xsi:type="dcterms:W3CDTF">2021-10-28T17:05:17Z</dcterms:created>
  <dcterms:modified xsi:type="dcterms:W3CDTF">2026-06-25T14:48:20Z</dcterms:modified>
</cp:coreProperties>
</file>